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2.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2"/>
  </p:notesMasterIdLst>
  <p:handoutMasterIdLst>
    <p:handoutMasterId r:id="rId83"/>
  </p:handoutMasterIdLst>
  <p:sldIdLst>
    <p:sldId id="256" r:id="rId2"/>
    <p:sldId id="257" r:id="rId3"/>
    <p:sldId id="298" r:id="rId4"/>
    <p:sldId id="293" r:id="rId5"/>
    <p:sldId id="258" r:id="rId6"/>
    <p:sldId id="294" r:id="rId7"/>
    <p:sldId id="295" r:id="rId8"/>
    <p:sldId id="296" r:id="rId9"/>
    <p:sldId id="297" r:id="rId10"/>
    <p:sldId id="299" r:id="rId11"/>
    <p:sldId id="302" r:id="rId12"/>
    <p:sldId id="303" r:id="rId13"/>
    <p:sldId id="304" r:id="rId14"/>
    <p:sldId id="305" r:id="rId15"/>
    <p:sldId id="306" r:id="rId16"/>
    <p:sldId id="307" r:id="rId17"/>
    <p:sldId id="308" r:id="rId18"/>
    <p:sldId id="300" r:id="rId19"/>
    <p:sldId id="309" r:id="rId20"/>
    <p:sldId id="310" r:id="rId21"/>
    <p:sldId id="311" r:id="rId22"/>
    <p:sldId id="312" r:id="rId23"/>
    <p:sldId id="313" r:id="rId24"/>
    <p:sldId id="314" r:id="rId25"/>
    <p:sldId id="315" r:id="rId26"/>
    <p:sldId id="370" r:id="rId27"/>
    <p:sldId id="371" r:id="rId28"/>
    <p:sldId id="372" r:id="rId29"/>
    <p:sldId id="373" r:id="rId30"/>
    <p:sldId id="374" r:id="rId31"/>
    <p:sldId id="375" r:id="rId32"/>
    <p:sldId id="376" r:id="rId33"/>
    <p:sldId id="377" r:id="rId34"/>
    <p:sldId id="378" r:id="rId35"/>
    <p:sldId id="379" r:id="rId36"/>
    <p:sldId id="380" r:id="rId37"/>
    <p:sldId id="381" r:id="rId38"/>
    <p:sldId id="382" r:id="rId39"/>
    <p:sldId id="383" r:id="rId40"/>
    <p:sldId id="384" r:id="rId41"/>
    <p:sldId id="385" r:id="rId42"/>
    <p:sldId id="332" r:id="rId43"/>
    <p:sldId id="333" r:id="rId44"/>
    <p:sldId id="339" r:id="rId45"/>
    <p:sldId id="335" r:id="rId46"/>
    <p:sldId id="340" r:id="rId47"/>
    <p:sldId id="337" r:id="rId48"/>
    <p:sldId id="265" r:id="rId49"/>
    <p:sldId id="341" r:id="rId50"/>
    <p:sldId id="342" r:id="rId51"/>
    <p:sldId id="301" r:id="rId52"/>
    <p:sldId id="386" r:id="rId53"/>
    <p:sldId id="413" r:id="rId54"/>
    <p:sldId id="388" r:id="rId55"/>
    <p:sldId id="389" r:id="rId56"/>
    <p:sldId id="390" r:id="rId57"/>
    <p:sldId id="391" r:id="rId58"/>
    <p:sldId id="393" r:id="rId59"/>
    <p:sldId id="394" r:id="rId60"/>
    <p:sldId id="395" r:id="rId61"/>
    <p:sldId id="396" r:id="rId62"/>
    <p:sldId id="397" r:id="rId63"/>
    <p:sldId id="398" r:id="rId64"/>
    <p:sldId id="400" r:id="rId65"/>
    <p:sldId id="401" r:id="rId66"/>
    <p:sldId id="402" r:id="rId67"/>
    <p:sldId id="403" r:id="rId68"/>
    <p:sldId id="404" r:id="rId69"/>
    <p:sldId id="405" r:id="rId70"/>
    <p:sldId id="407" r:id="rId71"/>
    <p:sldId id="408" r:id="rId72"/>
    <p:sldId id="409" r:id="rId73"/>
    <p:sldId id="410" r:id="rId74"/>
    <p:sldId id="411" r:id="rId75"/>
    <p:sldId id="412" r:id="rId76"/>
    <p:sldId id="360" r:id="rId77"/>
    <p:sldId id="346" r:id="rId78"/>
    <p:sldId id="347" r:id="rId79"/>
    <p:sldId id="348" r:id="rId80"/>
    <p:sldId id="292" r:id="rId81"/>
  </p:sldIdLst>
  <p:sldSz cx="9144000" cy="5143500" type="screen16x9"/>
  <p:notesSz cx="6858000" cy="9144000"/>
  <p:custDataLst>
    <p:tags r:id="rId84"/>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48A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100" d="100"/>
          <a:sy n="100" d="100"/>
        </p:scale>
        <p:origin x="-1086" y="-1302"/>
      </p:cViewPr>
      <p:guideLst>
        <p:guide orient="horz" pos="1620"/>
        <p:guide pos="2880"/>
      </p:guideLst>
    </p:cSldViewPr>
  </p:slideViewPr>
  <p:notesTextViewPr>
    <p:cViewPr>
      <p:scale>
        <a:sx n="1" d="1"/>
        <a:sy n="1" d="1"/>
      </p:scale>
      <p:origin x="0" y="0"/>
    </p:cViewPr>
  </p:notesTextViewPr>
  <p:sorterViewPr>
    <p:cViewPr>
      <p:scale>
        <a:sx n="58" d="100"/>
        <a:sy n="58" d="100"/>
      </p:scale>
      <p:origin x="0" y="0"/>
    </p:cViewPr>
  </p:sorterViewPr>
  <p:notesViewPr>
    <p:cSldViewPr snapToGrid="0">
      <p:cViewPr varScale="1">
        <p:scale>
          <a:sx n="99" d="100"/>
          <a:sy n="99" d="100"/>
        </p:scale>
        <p:origin x="-2616"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6178A9-2612-4C8B-8F24-BFA74EBCB491}" type="doc">
      <dgm:prSet loTypeId="urn:microsoft.com/office/officeart/2005/8/layout/hierarchy1" loCatId="hierarchy" qsTypeId="urn:microsoft.com/office/officeart/2005/8/quickstyle/3d1" qsCatId="3D" csTypeId="urn:microsoft.com/office/officeart/2005/8/colors/colorful1#1" csCatId="colorful" phldr="1"/>
      <dgm:spPr/>
      <dgm:t>
        <a:bodyPr/>
        <a:lstStyle/>
        <a:p>
          <a:endParaRPr lang="zh-CN" altLang="en-US"/>
        </a:p>
      </dgm:t>
    </dgm:pt>
    <dgm:pt modelId="{D1E28AA0-4350-4C84-AADB-74801CA755C5}">
      <dgm:prSet phldrT="[文本]" custT="1"/>
      <dgm:spPr/>
      <dgm:t>
        <a:bodyPr/>
        <a:lstStyle/>
        <a:p>
          <a:r>
            <a:rPr lang="zh-CN" altLang="en-US"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课题经费预算</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gm:t>
    </dgm:pt>
    <dgm:pt modelId="{FB040932-FFB4-4B50-A265-C3FA9397BDC5}" type="parTrans" cxnId="{13D97260-BEFB-46EF-A357-8F30A8F6D63A}">
      <dgm:prSet/>
      <dgm:spPr/>
      <dgm:t>
        <a:bodyPr/>
        <a:lstStyle/>
        <a:p>
          <a:endParaRPr lang="zh-CN" altLang="en-US" sz="1600"/>
        </a:p>
      </dgm:t>
    </dgm:pt>
    <dgm:pt modelId="{BFA3AC14-CCF2-42B6-A7EE-66F555967831}" type="sibTrans" cxnId="{13D97260-BEFB-46EF-A357-8F30A8F6D63A}">
      <dgm:prSet/>
      <dgm:spPr/>
      <dgm:t>
        <a:bodyPr/>
        <a:lstStyle/>
        <a:p>
          <a:endParaRPr lang="zh-CN" altLang="en-US" sz="1600"/>
        </a:p>
      </dgm:t>
    </dgm:pt>
    <dgm:pt modelId="{AEEF9DA9-E463-461A-B2ED-665E4E022663}">
      <dgm:prSet phldrT="[文本]" custT="1"/>
      <dgm:spPr/>
      <dgm:t>
        <a:bodyPr/>
        <a:lstStyle/>
        <a:p>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经费支出预算</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gm:t>
    </dgm:pt>
    <dgm:pt modelId="{D5A32BAE-6C1F-4ACE-B382-BEFAF37B0A00}" type="parTrans" cxnId="{67DD1775-F0CD-441A-BFA3-C7B4AAF1AD92}">
      <dgm:prSet/>
      <dgm:spPr/>
      <dgm:t>
        <a:bodyPr/>
        <a:lstStyle/>
        <a:p>
          <a:endParaRPr lang="zh-CN" altLang="en-US" sz="1600"/>
        </a:p>
      </dgm:t>
    </dgm:pt>
    <dgm:pt modelId="{F13CD81B-D6B2-4832-93DD-934F4088379F}" type="sibTrans" cxnId="{67DD1775-F0CD-441A-BFA3-C7B4AAF1AD92}">
      <dgm:prSet/>
      <dgm:spPr/>
      <dgm:t>
        <a:bodyPr/>
        <a:lstStyle/>
        <a:p>
          <a:endParaRPr lang="zh-CN" altLang="en-US" sz="1600"/>
        </a:p>
      </dgm:t>
    </dgm:pt>
    <dgm:pt modelId="{ADC00E90-B55E-4B4F-80B3-BECE9BA1A34B}">
      <dgm:prSet phldrT="[文本]" custT="1"/>
      <dgm:spPr/>
      <dgm:t>
        <a:bodyPr/>
        <a:lstStyle/>
        <a:p>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直接费用</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gm:t>
    </dgm:pt>
    <dgm:pt modelId="{DDCB1FF6-5FFD-4372-AF2C-B18FD8DED577}" type="parTrans" cxnId="{4B2B43BC-3CC9-44AB-9571-2B8E6DDE0CBD}">
      <dgm:prSet/>
      <dgm:spPr/>
      <dgm:t>
        <a:bodyPr/>
        <a:lstStyle/>
        <a:p>
          <a:endParaRPr lang="zh-CN" altLang="en-US" sz="1600"/>
        </a:p>
      </dgm:t>
    </dgm:pt>
    <dgm:pt modelId="{BA184F7B-23A3-43FD-BAAC-60AFB342080A}" type="sibTrans" cxnId="{4B2B43BC-3CC9-44AB-9571-2B8E6DDE0CBD}">
      <dgm:prSet/>
      <dgm:spPr/>
      <dgm:t>
        <a:bodyPr/>
        <a:lstStyle/>
        <a:p>
          <a:endParaRPr lang="zh-CN" altLang="en-US" sz="1600"/>
        </a:p>
      </dgm:t>
    </dgm:pt>
    <dgm:pt modelId="{D75CCC6B-398F-476D-A50D-4C77AE95EC99}">
      <dgm:prSet phldrT="[文本]" custT="1"/>
      <dgm:spPr/>
      <dgm:t>
        <a:bodyPr/>
        <a:lstStyle/>
        <a:p>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间接费用</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gm:t>
    </dgm:pt>
    <dgm:pt modelId="{7C42AB16-8394-408A-8D19-950BDFF130F4}" type="parTrans" cxnId="{0420023A-C9C1-45C7-848A-1971C856EF57}">
      <dgm:prSet/>
      <dgm:spPr/>
      <dgm:t>
        <a:bodyPr/>
        <a:lstStyle/>
        <a:p>
          <a:endParaRPr lang="zh-CN" altLang="en-US" sz="1600"/>
        </a:p>
      </dgm:t>
    </dgm:pt>
    <dgm:pt modelId="{A2EF1D78-40F3-4034-8F82-ECC9288544AE}" type="sibTrans" cxnId="{0420023A-C9C1-45C7-848A-1971C856EF57}">
      <dgm:prSet/>
      <dgm:spPr/>
      <dgm:t>
        <a:bodyPr/>
        <a:lstStyle/>
        <a:p>
          <a:endParaRPr lang="zh-CN" altLang="en-US" sz="1600"/>
        </a:p>
      </dgm:t>
    </dgm:pt>
    <dgm:pt modelId="{786FD718-CACE-4927-ADBE-C46785E56265}">
      <dgm:prSet phldrT="[文本]" custT="1"/>
      <dgm:spPr/>
      <dgm:t>
        <a:bodyPr/>
        <a:lstStyle/>
        <a:p>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经费来源预算</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gm:t>
    </dgm:pt>
    <dgm:pt modelId="{D97D6346-4E35-40B7-B5EC-FC097C138EF5}" type="parTrans" cxnId="{C48334C0-E874-4B9A-9D64-70F45C0B5F3D}">
      <dgm:prSet/>
      <dgm:spPr/>
      <dgm:t>
        <a:bodyPr/>
        <a:lstStyle/>
        <a:p>
          <a:endParaRPr lang="zh-CN" altLang="en-US" sz="1600"/>
        </a:p>
      </dgm:t>
    </dgm:pt>
    <dgm:pt modelId="{4BD23D31-0D85-48CC-819D-2D7E9F54F01C}" type="sibTrans" cxnId="{C48334C0-E874-4B9A-9D64-70F45C0B5F3D}">
      <dgm:prSet/>
      <dgm:spPr/>
      <dgm:t>
        <a:bodyPr/>
        <a:lstStyle/>
        <a:p>
          <a:endParaRPr lang="zh-CN" altLang="en-US" sz="1600"/>
        </a:p>
      </dgm:t>
    </dgm:pt>
    <dgm:pt modelId="{1AF7F619-B2B3-41A0-A3E3-565A39428CFF}">
      <dgm:prSet phldrT="[文本]" custT="1"/>
      <dgm:spPr/>
      <dgm:t>
        <a:bodyPr/>
        <a:lstStyle/>
        <a:p>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专项经费</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gm:t>
    </dgm:pt>
    <dgm:pt modelId="{A205F453-0DFA-4AD8-AD0B-453FE7A8490E}" type="parTrans" cxnId="{AC300B56-8F7B-48D2-B2E6-D7CF23BD1F46}">
      <dgm:prSet/>
      <dgm:spPr/>
      <dgm:t>
        <a:bodyPr/>
        <a:lstStyle/>
        <a:p>
          <a:endParaRPr lang="zh-CN" altLang="en-US" sz="1600"/>
        </a:p>
      </dgm:t>
    </dgm:pt>
    <dgm:pt modelId="{87DCF142-1059-4A8B-B6C4-81FA81026AC4}" type="sibTrans" cxnId="{AC300B56-8F7B-48D2-B2E6-D7CF23BD1F46}">
      <dgm:prSet/>
      <dgm:spPr/>
      <dgm:t>
        <a:bodyPr/>
        <a:lstStyle/>
        <a:p>
          <a:endParaRPr lang="zh-CN" altLang="en-US" sz="1600"/>
        </a:p>
      </dgm:t>
    </dgm:pt>
    <dgm:pt modelId="{EA714F15-924C-42C6-8143-E048219E6DAD}">
      <dgm:prSet phldrT="[文本]" custT="1"/>
      <dgm:spPr/>
      <dgm:t>
        <a:bodyPr/>
        <a:lstStyle/>
        <a:p>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自筹经费</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gm:t>
    </dgm:pt>
    <dgm:pt modelId="{7B389013-0DC8-41AC-86BC-1C86CF1EEED4}" type="parTrans" cxnId="{881BAE2F-998D-4B72-89FC-1AC298971BAB}">
      <dgm:prSet/>
      <dgm:spPr/>
      <dgm:t>
        <a:bodyPr/>
        <a:lstStyle/>
        <a:p>
          <a:endParaRPr lang="zh-CN" altLang="en-US"/>
        </a:p>
      </dgm:t>
    </dgm:pt>
    <dgm:pt modelId="{48B93A67-F60E-4426-827A-C18CCED96C97}" type="sibTrans" cxnId="{881BAE2F-998D-4B72-89FC-1AC298971BAB}">
      <dgm:prSet/>
      <dgm:spPr/>
      <dgm:t>
        <a:bodyPr/>
        <a:lstStyle/>
        <a:p>
          <a:endParaRPr lang="zh-CN" altLang="en-US"/>
        </a:p>
      </dgm:t>
    </dgm:pt>
    <dgm:pt modelId="{A6903AF1-BBB4-40BC-9719-505DB96D226D}" type="pres">
      <dgm:prSet presAssocID="{936178A9-2612-4C8B-8F24-BFA74EBCB491}" presName="hierChild1" presStyleCnt="0">
        <dgm:presLayoutVars>
          <dgm:chPref val="1"/>
          <dgm:dir/>
          <dgm:animOne val="branch"/>
          <dgm:animLvl val="lvl"/>
          <dgm:resizeHandles/>
        </dgm:presLayoutVars>
      </dgm:prSet>
      <dgm:spPr/>
      <dgm:t>
        <a:bodyPr/>
        <a:lstStyle/>
        <a:p>
          <a:endParaRPr lang="zh-CN" altLang="en-US"/>
        </a:p>
      </dgm:t>
    </dgm:pt>
    <dgm:pt modelId="{A71BE59F-D8B2-410C-9A93-DB158E37812F}" type="pres">
      <dgm:prSet presAssocID="{D1E28AA0-4350-4C84-AADB-74801CA755C5}" presName="hierRoot1" presStyleCnt="0"/>
      <dgm:spPr/>
    </dgm:pt>
    <dgm:pt modelId="{A552C653-9DD7-4126-94CC-DD0DCA3157B5}" type="pres">
      <dgm:prSet presAssocID="{D1E28AA0-4350-4C84-AADB-74801CA755C5}" presName="composite" presStyleCnt="0"/>
      <dgm:spPr/>
    </dgm:pt>
    <dgm:pt modelId="{B41B44AB-D549-470F-A94B-E9B9A7E8F1B3}" type="pres">
      <dgm:prSet presAssocID="{D1E28AA0-4350-4C84-AADB-74801CA755C5}" presName="background" presStyleLbl="node0" presStyleIdx="0" presStyleCnt="1"/>
      <dgm:spPr/>
    </dgm:pt>
    <dgm:pt modelId="{53C721DF-6882-4034-B224-42FCAA2E8E30}" type="pres">
      <dgm:prSet presAssocID="{D1E28AA0-4350-4C84-AADB-74801CA755C5}" presName="text" presStyleLbl="fgAcc0" presStyleIdx="0" presStyleCnt="1">
        <dgm:presLayoutVars>
          <dgm:chPref val="3"/>
        </dgm:presLayoutVars>
      </dgm:prSet>
      <dgm:spPr/>
      <dgm:t>
        <a:bodyPr/>
        <a:lstStyle/>
        <a:p>
          <a:endParaRPr lang="zh-CN" altLang="en-US"/>
        </a:p>
      </dgm:t>
    </dgm:pt>
    <dgm:pt modelId="{45E73878-3BC4-474E-85BC-9A9CD8692A62}" type="pres">
      <dgm:prSet presAssocID="{D1E28AA0-4350-4C84-AADB-74801CA755C5}" presName="hierChild2" presStyleCnt="0"/>
      <dgm:spPr/>
    </dgm:pt>
    <dgm:pt modelId="{97BA32B6-989A-4F51-A055-F766CCF43DA6}" type="pres">
      <dgm:prSet presAssocID="{D5A32BAE-6C1F-4ACE-B382-BEFAF37B0A00}" presName="Name10" presStyleLbl="parChTrans1D2" presStyleIdx="0" presStyleCnt="2"/>
      <dgm:spPr/>
      <dgm:t>
        <a:bodyPr/>
        <a:lstStyle/>
        <a:p>
          <a:endParaRPr lang="zh-CN" altLang="en-US"/>
        </a:p>
      </dgm:t>
    </dgm:pt>
    <dgm:pt modelId="{EFDFBACD-7780-4124-95B3-2EE7A135270A}" type="pres">
      <dgm:prSet presAssocID="{AEEF9DA9-E463-461A-B2ED-665E4E022663}" presName="hierRoot2" presStyleCnt="0"/>
      <dgm:spPr/>
    </dgm:pt>
    <dgm:pt modelId="{589822ED-407F-4BF1-A810-D88AB0869028}" type="pres">
      <dgm:prSet presAssocID="{AEEF9DA9-E463-461A-B2ED-665E4E022663}" presName="composite2" presStyleCnt="0"/>
      <dgm:spPr/>
    </dgm:pt>
    <dgm:pt modelId="{C406AC3A-46FC-436A-B054-AD0F69571E9D}" type="pres">
      <dgm:prSet presAssocID="{AEEF9DA9-E463-461A-B2ED-665E4E022663}" presName="background2" presStyleLbl="node2" presStyleIdx="0" presStyleCnt="2"/>
      <dgm:spPr/>
    </dgm:pt>
    <dgm:pt modelId="{BF00F526-DA92-4549-9651-70203CF5825C}" type="pres">
      <dgm:prSet presAssocID="{AEEF9DA9-E463-461A-B2ED-665E4E022663}" presName="text2" presStyleLbl="fgAcc2" presStyleIdx="0" presStyleCnt="2">
        <dgm:presLayoutVars>
          <dgm:chPref val="3"/>
        </dgm:presLayoutVars>
      </dgm:prSet>
      <dgm:spPr/>
      <dgm:t>
        <a:bodyPr/>
        <a:lstStyle/>
        <a:p>
          <a:endParaRPr lang="zh-CN" altLang="en-US"/>
        </a:p>
      </dgm:t>
    </dgm:pt>
    <dgm:pt modelId="{1500707D-8E82-4300-98E7-DD6556CA2A87}" type="pres">
      <dgm:prSet presAssocID="{AEEF9DA9-E463-461A-B2ED-665E4E022663}" presName="hierChild3" presStyleCnt="0"/>
      <dgm:spPr/>
    </dgm:pt>
    <dgm:pt modelId="{2D9E6645-198F-476C-B429-825EE4E3E8D1}" type="pres">
      <dgm:prSet presAssocID="{DDCB1FF6-5FFD-4372-AF2C-B18FD8DED577}" presName="Name17" presStyleLbl="parChTrans1D3" presStyleIdx="0" presStyleCnt="4"/>
      <dgm:spPr/>
      <dgm:t>
        <a:bodyPr/>
        <a:lstStyle/>
        <a:p>
          <a:endParaRPr lang="zh-CN" altLang="en-US"/>
        </a:p>
      </dgm:t>
    </dgm:pt>
    <dgm:pt modelId="{702C9DD9-0C13-4C51-BBB3-A111A693C16F}" type="pres">
      <dgm:prSet presAssocID="{ADC00E90-B55E-4B4F-80B3-BECE9BA1A34B}" presName="hierRoot3" presStyleCnt="0"/>
      <dgm:spPr/>
    </dgm:pt>
    <dgm:pt modelId="{3F689794-F878-4246-9073-446A274B35D1}" type="pres">
      <dgm:prSet presAssocID="{ADC00E90-B55E-4B4F-80B3-BECE9BA1A34B}" presName="composite3" presStyleCnt="0"/>
      <dgm:spPr/>
    </dgm:pt>
    <dgm:pt modelId="{EC3B3E9E-A171-46E4-A662-5A3CEF5833AE}" type="pres">
      <dgm:prSet presAssocID="{ADC00E90-B55E-4B4F-80B3-BECE9BA1A34B}" presName="background3" presStyleLbl="node3" presStyleIdx="0" presStyleCnt="4"/>
      <dgm:spPr/>
    </dgm:pt>
    <dgm:pt modelId="{0BDB510D-E374-4D58-953A-516FB7401C80}" type="pres">
      <dgm:prSet presAssocID="{ADC00E90-B55E-4B4F-80B3-BECE9BA1A34B}" presName="text3" presStyleLbl="fgAcc3" presStyleIdx="0" presStyleCnt="4">
        <dgm:presLayoutVars>
          <dgm:chPref val="3"/>
        </dgm:presLayoutVars>
      </dgm:prSet>
      <dgm:spPr/>
      <dgm:t>
        <a:bodyPr/>
        <a:lstStyle/>
        <a:p>
          <a:endParaRPr lang="zh-CN" altLang="en-US"/>
        </a:p>
      </dgm:t>
    </dgm:pt>
    <dgm:pt modelId="{AD3764BF-2390-44D3-8A4F-2C2CAEB50063}" type="pres">
      <dgm:prSet presAssocID="{ADC00E90-B55E-4B4F-80B3-BECE9BA1A34B}" presName="hierChild4" presStyleCnt="0"/>
      <dgm:spPr/>
    </dgm:pt>
    <dgm:pt modelId="{C315A791-912D-4F18-B4CC-4DA8E7D90829}" type="pres">
      <dgm:prSet presAssocID="{7C42AB16-8394-408A-8D19-950BDFF130F4}" presName="Name17" presStyleLbl="parChTrans1D3" presStyleIdx="1" presStyleCnt="4"/>
      <dgm:spPr/>
      <dgm:t>
        <a:bodyPr/>
        <a:lstStyle/>
        <a:p>
          <a:endParaRPr lang="zh-CN" altLang="en-US"/>
        </a:p>
      </dgm:t>
    </dgm:pt>
    <dgm:pt modelId="{B16DBFCE-E540-4643-BB26-A436F847C1E4}" type="pres">
      <dgm:prSet presAssocID="{D75CCC6B-398F-476D-A50D-4C77AE95EC99}" presName="hierRoot3" presStyleCnt="0"/>
      <dgm:spPr/>
    </dgm:pt>
    <dgm:pt modelId="{EA8F51D2-65C5-4876-991F-0AAED12BD4E5}" type="pres">
      <dgm:prSet presAssocID="{D75CCC6B-398F-476D-A50D-4C77AE95EC99}" presName="composite3" presStyleCnt="0"/>
      <dgm:spPr/>
    </dgm:pt>
    <dgm:pt modelId="{802E0847-22E8-4BE1-B78A-24D8F0705300}" type="pres">
      <dgm:prSet presAssocID="{D75CCC6B-398F-476D-A50D-4C77AE95EC99}" presName="background3" presStyleLbl="node3" presStyleIdx="1" presStyleCnt="4"/>
      <dgm:spPr/>
    </dgm:pt>
    <dgm:pt modelId="{CF04CEB2-3423-45DE-998A-FCFCF128FE54}" type="pres">
      <dgm:prSet presAssocID="{D75CCC6B-398F-476D-A50D-4C77AE95EC99}" presName="text3" presStyleLbl="fgAcc3" presStyleIdx="1" presStyleCnt="4">
        <dgm:presLayoutVars>
          <dgm:chPref val="3"/>
        </dgm:presLayoutVars>
      </dgm:prSet>
      <dgm:spPr/>
      <dgm:t>
        <a:bodyPr/>
        <a:lstStyle/>
        <a:p>
          <a:endParaRPr lang="zh-CN" altLang="en-US"/>
        </a:p>
      </dgm:t>
    </dgm:pt>
    <dgm:pt modelId="{CA6ADF50-0808-4E19-B24C-759F327A77AD}" type="pres">
      <dgm:prSet presAssocID="{D75CCC6B-398F-476D-A50D-4C77AE95EC99}" presName="hierChild4" presStyleCnt="0"/>
      <dgm:spPr/>
    </dgm:pt>
    <dgm:pt modelId="{1662F680-62F3-4109-BCEF-599E9A856EA9}" type="pres">
      <dgm:prSet presAssocID="{D97D6346-4E35-40B7-B5EC-FC097C138EF5}" presName="Name10" presStyleLbl="parChTrans1D2" presStyleIdx="1" presStyleCnt="2"/>
      <dgm:spPr/>
      <dgm:t>
        <a:bodyPr/>
        <a:lstStyle/>
        <a:p>
          <a:endParaRPr lang="zh-CN" altLang="en-US"/>
        </a:p>
      </dgm:t>
    </dgm:pt>
    <dgm:pt modelId="{76905536-97C1-4978-A038-BF5CF8B15B0A}" type="pres">
      <dgm:prSet presAssocID="{786FD718-CACE-4927-ADBE-C46785E56265}" presName="hierRoot2" presStyleCnt="0"/>
      <dgm:spPr/>
    </dgm:pt>
    <dgm:pt modelId="{48644E91-9528-485A-AA1D-49155BB97F71}" type="pres">
      <dgm:prSet presAssocID="{786FD718-CACE-4927-ADBE-C46785E56265}" presName="composite2" presStyleCnt="0"/>
      <dgm:spPr/>
    </dgm:pt>
    <dgm:pt modelId="{87BAC484-6AE1-4F58-8AB2-3D6B9717426B}" type="pres">
      <dgm:prSet presAssocID="{786FD718-CACE-4927-ADBE-C46785E56265}" presName="background2" presStyleLbl="node2" presStyleIdx="1" presStyleCnt="2"/>
      <dgm:spPr/>
    </dgm:pt>
    <dgm:pt modelId="{18742FDA-C35D-49A8-925D-CBE9C7F4926E}" type="pres">
      <dgm:prSet presAssocID="{786FD718-CACE-4927-ADBE-C46785E56265}" presName="text2" presStyleLbl="fgAcc2" presStyleIdx="1" presStyleCnt="2">
        <dgm:presLayoutVars>
          <dgm:chPref val="3"/>
        </dgm:presLayoutVars>
      </dgm:prSet>
      <dgm:spPr/>
      <dgm:t>
        <a:bodyPr/>
        <a:lstStyle/>
        <a:p>
          <a:endParaRPr lang="zh-CN" altLang="en-US"/>
        </a:p>
      </dgm:t>
    </dgm:pt>
    <dgm:pt modelId="{01209C6C-3EB4-4049-BFE8-35C55D7F8434}" type="pres">
      <dgm:prSet presAssocID="{786FD718-CACE-4927-ADBE-C46785E56265}" presName="hierChild3" presStyleCnt="0"/>
      <dgm:spPr/>
    </dgm:pt>
    <dgm:pt modelId="{F75A3F1A-946A-40E7-89FF-42AA28405721}" type="pres">
      <dgm:prSet presAssocID="{A205F453-0DFA-4AD8-AD0B-453FE7A8490E}" presName="Name17" presStyleLbl="parChTrans1D3" presStyleIdx="2" presStyleCnt="4"/>
      <dgm:spPr/>
      <dgm:t>
        <a:bodyPr/>
        <a:lstStyle/>
        <a:p>
          <a:endParaRPr lang="zh-CN" altLang="en-US"/>
        </a:p>
      </dgm:t>
    </dgm:pt>
    <dgm:pt modelId="{3F249C7D-CFD4-4DC7-A9EE-406D8E9F2BE5}" type="pres">
      <dgm:prSet presAssocID="{1AF7F619-B2B3-41A0-A3E3-565A39428CFF}" presName="hierRoot3" presStyleCnt="0"/>
      <dgm:spPr/>
    </dgm:pt>
    <dgm:pt modelId="{C389A36E-767D-4E84-BBC2-FA6F2D8C759E}" type="pres">
      <dgm:prSet presAssocID="{1AF7F619-B2B3-41A0-A3E3-565A39428CFF}" presName="composite3" presStyleCnt="0"/>
      <dgm:spPr/>
    </dgm:pt>
    <dgm:pt modelId="{8067E3FD-8888-4929-AC70-6F9C0386E9E2}" type="pres">
      <dgm:prSet presAssocID="{1AF7F619-B2B3-41A0-A3E3-565A39428CFF}" presName="background3" presStyleLbl="node3" presStyleIdx="2" presStyleCnt="4"/>
      <dgm:spPr/>
    </dgm:pt>
    <dgm:pt modelId="{C14C23E4-BBBB-4EB1-81DC-945DB4DB9E80}" type="pres">
      <dgm:prSet presAssocID="{1AF7F619-B2B3-41A0-A3E3-565A39428CFF}" presName="text3" presStyleLbl="fgAcc3" presStyleIdx="2" presStyleCnt="4">
        <dgm:presLayoutVars>
          <dgm:chPref val="3"/>
        </dgm:presLayoutVars>
      </dgm:prSet>
      <dgm:spPr/>
      <dgm:t>
        <a:bodyPr/>
        <a:lstStyle/>
        <a:p>
          <a:endParaRPr lang="zh-CN" altLang="en-US"/>
        </a:p>
      </dgm:t>
    </dgm:pt>
    <dgm:pt modelId="{FB9A491C-7711-46BD-BB66-939B4CFB5FC6}" type="pres">
      <dgm:prSet presAssocID="{1AF7F619-B2B3-41A0-A3E3-565A39428CFF}" presName="hierChild4" presStyleCnt="0"/>
      <dgm:spPr/>
    </dgm:pt>
    <dgm:pt modelId="{3FA4B05D-6A93-4D0A-BD34-2F2FA42CE1F8}" type="pres">
      <dgm:prSet presAssocID="{7B389013-0DC8-41AC-86BC-1C86CF1EEED4}" presName="Name17" presStyleLbl="parChTrans1D3" presStyleIdx="3" presStyleCnt="4"/>
      <dgm:spPr/>
      <dgm:t>
        <a:bodyPr/>
        <a:lstStyle/>
        <a:p>
          <a:endParaRPr lang="zh-CN" altLang="en-US"/>
        </a:p>
      </dgm:t>
    </dgm:pt>
    <dgm:pt modelId="{F6EA5D03-963F-439B-B212-854FBE1F7C3E}" type="pres">
      <dgm:prSet presAssocID="{EA714F15-924C-42C6-8143-E048219E6DAD}" presName="hierRoot3" presStyleCnt="0"/>
      <dgm:spPr/>
    </dgm:pt>
    <dgm:pt modelId="{FA4C921C-0F3C-4DF3-99D0-B7C8AF4CC56E}" type="pres">
      <dgm:prSet presAssocID="{EA714F15-924C-42C6-8143-E048219E6DAD}" presName="composite3" presStyleCnt="0"/>
      <dgm:spPr/>
    </dgm:pt>
    <dgm:pt modelId="{42C9365C-3EE6-47D1-A659-08D47D96818A}" type="pres">
      <dgm:prSet presAssocID="{EA714F15-924C-42C6-8143-E048219E6DAD}" presName="background3" presStyleLbl="node3" presStyleIdx="3" presStyleCnt="4"/>
      <dgm:spPr/>
    </dgm:pt>
    <dgm:pt modelId="{96D7715C-E6E9-4838-8E90-94521A3C4FFB}" type="pres">
      <dgm:prSet presAssocID="{EA714F15-924C-42C6-8143-E048219E6DAD}" presName="text3" presStyleLbl="fgAcc3" presStyleIdx="3" presStyleCnt="4">
        <dgm:presLayoutVars>
          <dgm:chPref val="3"/>
        </dgm:presLayoutVars>
      </dgm:prSet>
      <dgm:spPr/>
      <dgm:t>
        <a:bodyPr/>
        <a:lstStyle/>
        <a:p>
          <a:endParaRPr lang="zh-CN" altLang="en-US"/>
        </a:p>
      </dgm:t>
    </dgm:pt>
    <dgm:pt modelId="{18059DD3-7614-41ED-8CED-C4DB12600285}" type="pres">
      <dgm:prSet presAssocID="{EA714F15-924C-42C6-8143-E048219E6DAD}" presName="hierChild4" presStyleCnt="0"/>
      <dgm:spPr/>
    </dgm:pt>
  </dgm:ptLst>
  <dgm:cxnLst>
    <dgm:cxn modelId="{3E3E6101-9554-42E9-B244-16CD89B827A6}" type="presOf" srcId="{D97D6346-4E35-40B7-B5EC-FC097C138EF5}" destId="{1662F680-62F3-4109-BCEF-599E9A856EA9}" srcOrd="0" destOrd="0" presId="urn:microsoft.com/office/officeart/2005/8/layout/hierarchy1"/>
    <dgm:cxn modelId="{67DD1775-F0CD-441A-BFA3-C7B4AAF1AD92}" srcId="{D1E28AA0-4350-4C84-AADB-74801CA755C5}" destId="{AEEF9DA9-E463-461A-B2ED-665E4E022663}" srcOrd="0" destOrd="0" parTransId="{D5A32BAE-6C1F-4ACE-B382-BEFAF37B0A00}" sibTransId="{F13CD81B-D6B2-4832-93DD-934F4088379F}"/>
    <dgm:cxn modelId="{67A5983F-8E7B-448E-8D4D-54F9E7CCED3B}" type="presOf" srcId="{786FD718-CACE-4927-ADBE-C46785E56265}" destId="{18742FDA-C35D-49A8-925D-CBE9C7F4926E}" srcOrd="0" destOrd="0" presId="urn:microsoft.com/office/officeart/2005/8/layout/hierarchy1"/>
    <dgm:cxn modelId="{E6E8928B-DF94-40AE-BD4A-8A74C8D4A18C}" type="presOf" srcId="{D1E28AA0-4350-4C84-AADB-74801CA755C5}" destId="{53C721DF-6882-4034-B224-42FCAA2E8E30}" srcOrd="0" destOrd="0" presId="urn:microsoft.com/office/officeart/2005/8/layout/hierarchy1"/>
    <dgm:cxn modelId="{13D97260-BEFB-46EF-A357-8F30A8F6D63A}" srcId="{936178A9-2612-4C8B-8F24-BFA74EBCB491}" destId="{D1E28AA0-4350-4C84-AADB-74801CA755C5}" srcOrd="0" destOrd="0" parTransId="{FB040932-FFB4-4B50-A265-C3FA9397BDC5}" sibTransId="{BFA3AC14-CCF2-42B6-A7EE-66F555967831}"/>
    <dgm:cxn modelId="{4A1D6AA2-E015-433E-A2F5-D91F2E7BA596}" type="presOf" srcId="{A205F453-0DFA-4AD8-AD0B-453FE7A8490E}" destId="{F75A3F1A-946A-40E7-89FF-42AA28405721}" srcOrd="0" destOrd="0" presId="urn:microsoft.com/office/officeart/2005/8/layout/hierarchy1"/>
    <dgm:cxn modelId="{881BAE2F-998D-4B72-89FC-1AC298971BAB}" srcId="{786FD718-CACE-4927-ADBE-C46785E56265}" destId="{EA714F15-924C-42C6-8143-E048219E6DAD}" srcOrd="1" destOrd="0" parTransId="{7B389013-0DC8-41AC-86BC-1C86CF1EEED4}" sibTransId="{48B93A67-F60E-4426-827A-C18CCED96C97}"/>
    <dgm:cxn modelId="{4B2B43BC-3CC9-44AB-9571-2B8E6DDE0CBD}" srcId="{AEEF9DA9-E463-461A-B2ED-665E4E022663}" destId="{ADC00E90-B55E-4B4F-80B3-BECE9BA1A34B}" srcOrd="0" destOrd="0" parTransId="{DDCB1FF6-5FFD-4372-AF2C-B18FD8DED577}" sibTransId="{BA184F7B-23A3-43FD-BAAC-60AFB342080A}"/>
    <dgm:cxn modelId="{AC300B56-8F7B-48D2-B2E6-D7CF23BD1F46}" srcId="{786FD718-CACE-4927-ADBE-C46785E56265}" destId="{1AF7F619-B2B3-41A0-A3E3-565A39428CFF}" srcOrd="0" destOrd="0" parTransId="{A205F453-0DFA-4AD8-AD0B-453FE7A8490E}" sibTransId="{87DCF142-1059-4A8B-B6C4-81FA81026AC4}"/>
    <dgm:cxn modelId="{C78ECB8A-1817-444E-B62A-E7188FAB5208}" type="presOf" srcId="{AEEF9DA9-E463-461A-B2ED-665E4E022663}" destId="{BF00F526-DA92-4549-9651-70203CF5825C}" srcOrd="0" destOrd="0" presId="urn:microsoft.com/office/officeart/2005/8/layout/hierarchy1"/>
    <dgm:cxn modelId="{5EF4A44C-E364-43F1-AB6E-2D117A77E5F1}" type="presOf" srcId="{EA714F15-924C-42C6-8143-E048219E6DAD}" destId="{96D7715C-E6E9-4838-8E90-94521A3C4FFB}" srcOrd="0" destOrd="0" presId="urn:microsoft.com/office/officeart/2005/8/layout/hierarchy1"/>
    <dgm:cxn modelId="{5A8FE2DA-0751-41B2-848D-E08E6BA381A8}" type="presOf" srcId="{936178A9-2612-4C8B-8F24-BFA74EBCB491}" destId="{A6903AF1-BBB4-40BC-9719-505DB96D226D}" srcOrd="0" destOrd="0" presId="urn:microsoft.com/office/officeart/2005/8/layout/hierarchy1"/>
    <dgm:cxn modelId="{348B9EF8-7FA9-4657-B1E1-179FC63F9952}" type="presOf" srcId="{7C42AB16-8394-408A-8D19-950BDFF130F4}" destId="{C315A791-912D-4F18-B4CC-4DA8E7D90829}" srcOrd="0" destOrd="0" presId="urn:microsoft.com/office/officeart/2005/8/layout/hierarchy1"/>
    <dgm:cxn modelId="{13D53044-6896-412E-93D6-DE0E0115C9A5}" type="presOf" srcId="{7B389013-0DC8-41AC-86BC-1C86CF1EEED4}" destId="{3FA4B05D-6A93-4D0A-BD34-2F2FA42CE1F8}" srcOrd="0" destOrd="0" presId="urn:microsoft.com/office/officeart/2005/8/layout/hierarchy1"/>
    <dgm:cxn modelId="{8900866D-3966-4445-9B80-3F448DA760CD}" type="presOf" srcId="{D5A32BAE-6C1F-4ACE-B382-BEFAF37B0A00}" destId="{97BA32B6-989A-4F51-A055-F766CCF43DA6}" srcOrd="0" destOrd="0" presId="urn:microsoft.com/office/officeart/2005/8/layout/hierarchy1"/>
    <dgm:cxn modelId="{0420023A-C9C1-45C7-848A-1971C856EF57}" srcId="{AEEF9DA9-E463-461A-B2ED-665E4E022663}" destId="{D75CCC6B-398F-476D-A50D-4C77AE95EC99}" srcOrd="1" destOrd="0" parTransId="{7C42AB16-8394-408A-8D19-950BDFF130F4}" sibTransId="{A2EF1D78-40F3-4034-8F82-ECC9288544AE}"/>
    <dgm:cxn modelId="{33472F74-F925-4533-A126-D079F81464C1}" type="presOf" srcId="{ADC00E90-B55E-4B4F-80B3-BECE9BA1A34B}" destId="{0BDB510D-E374-4D58-953A-516FB7401C80}" srcOrd="0" destOrd="0" presId="urn:microsoft.com/office/officeart/2005/8/layout/hierarchy1"/>
    <dgm:cxn modelId="{BCE93C8F-90E3-4D77-9EE9-86A9FAD0B1AD}" type="presOf" srcId="{D75CCC6B-398F-476D-A50D-4C77AE95EC99}" destId="{CF04CEB2-3423-45DE-998A-FCFCF128FE54}" srcOrd="0" destOrd="0" presId="urn:microsoft.com/office/officeart/2005/8/layout/hierarchy1"/>
    <dgm:cxn modelId="{28130489-880A-4772-BFBF-8E8C05CD918C}" type="presOf" srcId="{1AF7F619-B2B3-41A0-A3E3-565A39428CFF}" destId="{C14C23E4-BBBB-4EB1-81DC-945DB4DB9E80}" srcOrd="0" destOrd="0" presId="urn:microsoft.com/office/officeart/2005/8/layout/hierarchy1"/>
    <dgm:cxn modelId="{C48334C0-E874-4B9A-9D64-70F45C0B5F3D}" srcId="{D1E28AA0-4350-4C84-AADB-74801CA755C5}" destId="{786FD718-CACE-4927-ADBE-C46785E56265}" srcOrd="1" destOrd="0" parTransId="{D97D6346-4E35-40B7-B5EC-FC097C138EF5}" sibTransId="{4BD23D31-0D85-48CC-819D-2D7E9F54F01C}"/>
    <dgm:cxn modelId="{3856422A-5B4A-40CA-8B51-1E5E69EF2BEA}" type="presOf" srcId="{DDCB1FF6-5FFD-4372-AF2C-B18FD8DED577}" destId="{2D9E6645-198F-476C-B429-825EE4E3E8D1}" srcOrd="0" destOrd="0" presId="urn:microsoft.com/office/officeart/2005/8/layout/hierarchy1"/>
    <dgm:cxn modelId="{478C2793-0B9D-48D6-B849-AA37E7678616}" type="presParOf" srcId="{A6903AF1-BBB4-40BC-9719-505DB96D226D}" destId="{A71BE59F-D8B2-410C-9A93-DB158E37812F}" srcOrd="0" destOrd="0" presId="urn:microsoft.com/office/officeart/2005/8/layout/hierarchy1"/>
    <dgm:cxn modelId="{A6165D0A-5EE0-47D8-8E53-8D73AE725D43}" type="presParOf" srcId="{A71BE59F-D8B2-410C-9A93-DB158E37812F}" destId="{A552C653-9DD7-4126-94CC-DD0DCA3157B5}" srcOrd="0" destOrd="0" presId="urn:microsoft.com/office/officeart/2005/8/layout/hierarchy1"/>
    <dgm:cxn modelId="{2FDE37C5-2117-4278-BBDC-ECF4A71EF7DF}" type="presParOf" srcId="{A552C653-9DD7-4126-94CC-DD0DCA3157B5}" destId="{B41B44AB-D549-470F-A94B-E9B9A7E8F1B3}" srcOrd="0" destOrd="0" presId="urn:microsoft.com/office/officeart/2005/8/layout/hierarchy1"/>
    <dgm:cxn modelId="{4DDCEEBE-25B5-4B5E-9E15-FD94E88BF467}" type="presParOf" srcId="{A552C653-9DD7-4126-94CC-DD0DCA3157B5}" destId="{53C721DF-6882-4034-B224-42FCAA2E8E30}" srcOrd="1" destOrd="0" presId="urn:microsoft.com/office/officeart/2005/8/layout/hierarchy1"/>
    <dgm:cxn modelId="{F7BAE15E-F4A6-4F14-9B56-203B99E6820C}" type="presParOf" srcId="{A71BE59F-D8B2-410C-9A93-DB158E37812F}" destId="{45E73878-3BC4-474E-85BC-9A9CD8692A62}" srcOrd="1" destOrd="0" presId="urn:microsoft.com/office/officeart/2005/8/layout/hierarchy1"/>
    <dgm:cxn modelId="{97CAB841-28A9-4E18-84D3-77274A30A6C4}" type="presParOf" srcId="{45E73878-3BC4-474E-85BC-9A9CD8692A62}" destId="{97BA32B6-989A-4F51-A055-F766CCF43DA6}" srcOrd="0" destOrd="0" presId="urn:microsoft.com/office/officeart/2005/8/layout/hierarchy1"/>
    <dgm:cxn modelId="{CFBA2EDE-D034-4C80-A466-F9970CDB4F0F}" type="presParOf" srcId="{45E73878-3BC4-474E-85BC-9A9CD8692A62}" destId="{EFDFBACD-7780-4124-95B3-2EE7A135270A}" srcOrd="1" destOrd="0" presId="urn:microsoft.com/office/officeart/2005/8/layout/hierarchy1"/>
    <dgm:cxn modelId="{E95A4256-74D5-4189-B020-34A92B38FFDE}" type="presParOf" srcId="{EFDFBACD-7780-4124-95B3-2EE7A135270A}" destId="{589822ED-407F-4BF1-A810-D88AB0869028}" srcOrd="0" destOrd="0" presId="urn:microsoft.com/office/officeart/2005/8/layout/hierarchy1"/>
    <dgm:cxn modelId="{B600F86B-6B38-45D6-B231-5074E47AA7CC}" type="presParOf" srcId="{589822ED-407F-4BF1-A810-D88AB0869028}" destId="{C406AC3A-46FC-436A-B054-AD0F69571E9D}" srcOrd="0" destOrd="0" presId="urn:microsoft.com/office/officeart/2005/8/layout/hierarchy1"/>
    <dgm:cxn modelId="{B6358D46-1370-4A6C-90EB-5923F23ADC7B}" type="presParOf" srcId="{589822ED-407F-4BF1-A810-D88AB0869028}" destId="{BF00F526-DA92-4549-9651-70203CF5825C}" srcOrd="1" destOrd="0" presId="urn:microsoft.com/office/officeart/2005/8/layout/hierarchy1"/>
    <dgm:cxn modelId="{C3E47F21-450C-4DA5-87ED-30AEE2C76B7E}" type="presParOf" srcId="{EFDFBACD-7780-4124-95B3-2EE7A135270A}" destId="{1500707D-8E82-4300-98E7-DD6556CA2A87}" srcOrd="1" destOrd="0" presId="urn:microsoft.com/office/officeart/2005/8/layout/hierarchy1"/>
    <dgm:cxn modelId="{179F7A24-5D46-4147-8858-78BA0873016D}" type="presParOf" srcId="{1500707D-8E82-4300-98E7-DD6556CA2A87}" destId="{2D9E6645-198F-476C-B429-825EE4E3E8D1}" srcOrd="0" destOrd="0" presId="urn:microsoft.com/office/officeart/2005/8/layout/hierarchy1"/>
    <dgm:cxn modelId="{4356DB87-58D7-4AFD-960E-0D1CFE395004}" type="presParOf" srcId="{1500707D-8E82-4300-98E7-DD6556CA2A87}" destId="{702C9DD9-0C13-4C51-BBB3-A111A693C16F}" srcOrd="1" destOrd="0" presId="urn:microsoft.com/office/officeart/2005/8/layout/hierarchy1"/>
    <dgm:cxn modelId="{450C5E0D-FAF0-4AB9-AEBF-4A094BE33C46}" type="presParOf" srcId="{702C9DD9-0C13-4C51-BBB3-A111A693C16F}" destId="{3F689794-F878-4246-9073-446A274B35D1}" srcOrd="0" destOrd="0" presId="urn:microsoft.com/office/officeart/2005/8/layout/hierarchy1"/>
    <dgm:cxn modelId="{F5EB9677-AA99-40A9-89F4-A4D713C5A801}" type="presParOf" srcId="{3F689794-F878-4246-9073-446A274B35D1}" destId="{EC3B3E9E-A171-46E4-A662-5A3CEF5833AE}" srcOrd="0" destOrd="0" presId="urn:microsoft.com/office/officeart/2005/8/layout/hierarchy1"/>
    <dgm:cxn modelId="{8460B19B-234A-46C8-BCF1-F6BAE016CF79}" type="presParOf" srcId="{3F689794-F878-4246-9073-446A274B35D1}" destId="{0BDB510D-E374-4D58-953A-516FB7401C80}" srcOrd="1" destOrd="0" presId="urn:microsoft.com/office/officeart/2005/8/layout/hierarchy1"/>
    <dgm:cxn modelId="{EC63C5FE-55A4-4C40-B474-9163F03749EE}" type="presParOf" srcId="{702C9DD9-0C13-4C51-BBB3-A111A693C16F}" destId="{AD3764BF-2390-44D3-8A4F-2C2CAEB50063}" srcOrd="1" destOrd="0" presId="urn:microsoft.com/office/officeart/2005/8/layout/hierarchy1"/>
    <dgm:cxn modelId="{2069A986-25A4-4F1E-9F65-C563852807CF}" type="presParOf" srcId="{1500707D-8E82-4300-98E7-DD6556CA2A87}" destId="{C315A791-912D-4F18-B4CC-4DA8E7D90829}" srcOrd="2" destOrd="0" presId="urn:microsoft.com/office/officeart/2005/8/layout/hierarchy1"/>
    <dgm:cxn modelId="{D7A528DF-7956-4FF0-B004-AA41D9CF4DEC}" type="presParOf" srcId="{1500707D-8E82-4300-98E7-DD6556CA2A87}" destId="{B16DBFCE-E540-4643-BB26-A436F847C1E4}" srcOrd="3" destOrd="0" presId="urn:microsoft.com/office/officeart/2005/8/layout/hierarchy1"/>
    <dgm:cxn modelId="{8157C829-EF8A-4121-B4A9-9FF298DD6C34}" type="presParOf" srcId="{B16DBFCE-E540-4643-BB26-A436F847C1E4}" destId="{EA8F51D2-65C5-4876-991F-0AAED12BD4E5}" srcOrd="0" destOrd="0" presId="urn:microsoft.com/office/officeart/2005/8/layout/hierarchy1"/>
    <dgm:cxn modelId="{C06AB76E-0A18-4F00-8D94-A2DCFFF1D874}" type="presParOf" srcId="{EA8F51D2-65C5-4876-991F-0AAED12BD4E5}" destId="{802E0847-22E8-4BE1-B78A-24D8F0705300}" srcOrd="0" destOrd="0" presId="urn:microsoft.com/office/officeart/2005/8/layout/hierarchy1"/>
    <dgm:cxn modelId="{B5957F9B-1DF4-4621-BA8C-EC691EC7D569}" type="presParOf" srcId="{EA8F51D2-65C5-4876-991F-0AAED12BD4E5}" destId="{CF04CEB2-3423-45DE-998A-FCFCF128FE54}" srcOrd="1" destOrd="0" presId="urn:microsoft.com/office/officeart/2005/8/layout/hierarchy1"/>
    <dgm:cxn modelId="{C168C175-1C48-4FE3-857F-862800E82220}" type="presParOf" srcId="{B16DBFCE-E540-4643-BB26-A436F847C1E4}" destId="{CA6ADF50-0808-4E19-B24C-759F327A77AD}" srcOrd="1" destOrd="0" presId="urn:microsoft.com/office/officeart/2005/8/layout/hierarchy1"/>
    <dgm:cxn modelId="{D4A59A49-2C9F-4F47-AE99-BE7E73457CF4}" type="presParOf" srcId="{45E73878-3BC4-474E-85BC-9A9CD8692A62}" destId="{1662F680-62F3-4109-BCEF-599E9A856EA9}" srcOrd="2" destOrd="0" presId="urn:microsoft.com/office/officeart/2005/8/layout/hierarchy1"/>
    <dgm:cxn modelId="{0EC56415-A1C3-4E3E-A925-1CAFE7F37FB9}" type="presParOf" srcId="{45E73878-3BC4-474E-85BC-9A9CD8692A62}" destId="{76905536-97C1-4978-A038-BF5CF8B15B0A}" srcOrd="3" destOrd="0" presId="urn:microsoft.com/office/officeart/2005/8/layout/hierarchy1"/>
    <dgm:cxn modelId="{BB5D7004-DC04-48C5-9618-5EE48DE0F624}" type="presParOf" srcId="{76905536-97C1-4978-A038-BF5CF8B15B0A}" destId="{48644E91-9528-485A-AA1D-49155BB97F71}" srcOrd="0" destOrd="0" presId="urn:microsoft.com/office/officeart/2005/8/layout/hierarchy1"/>
    <dgm:cxn modelId="{64D4AF73-4DBF-4187-8389-797A2254F739}" type="presParOf" srcId="{48644E91-9528-485A-AA1D-49155BB97F71}" destId="{87BAC484-6AE1-4F58-8AB2-3D6B9717426B}" srcOrd="0" destOrd="0" presId="urn:microsoft.com/office/officeart/2005/8/layout/hierarchy1"/>
    <dgm:cxn modelId="{64CF9BB9-3688-4DD2-808E-8B3BDA5BC998}" type="presParOf" srcId="{48644E91-9528-485A-AA1D-49155BB97F71}" destId="{18742FDA-C35D-49A8-925D-CBE9C7F4926E}" srcOrd="1" destOrd="0" presId="urn:microsoft.com/office/officeart/2005/8/layout/hierarchy1"/>
    <dgm:cxn modelId="{564CD42B-EDDD-4954-A13D-0591A33E10F8}" type="presParOf" srcId="{76905536-97C1-4978-A038-BF5CF8B15B0A}" destId="{01209C6C-3EB4-4049-BFE8-35C55D7F8434}" srcOrd="1" destOrd="0" presId="urn:microsoft.com/office/officeart/2005/8/layout/hierarchy1"/>
    <dgm:cxn modelId="{A3B372D9-4105-473D-AFBE-D18109BAFA47}" type="presParOf" srcId="{01209C6C-3EB4-4049-BFE8-35C55D7F8434}" destId="{F75A3F1A-946A-40E7-89FF-42AA28405721}" srcOrd="0" destOrd="0" presId="urn:microsoft.com/office/officeart/2005/8/layout/hierarchy1"/>
    <dgm:cxn modelId="{7D0A0D3A-DAE2-4CAF-B944-AE7C543B1002}" type="presParOf" srcId="{01209C6C-3EB4-4049-BFE8-35C55D7F8434}" destId="{3F249C7D-CFD4-4DC7-A9EE-406D8E9F2BE5}" srcOrd="1" destOrd="0" presId="urn:microsoft.com/office/officeart/2005/8/layout/hierarchy1"/>
    <dgm:cxn modelId="{89470288-33B2-4A51-81F6-F49A3323FD3A}" type="presParOf" srcId="{3F249C7D-CFD4-4DC7-A9EE-406D8E9F2BE5}" destId="{C389A36E-767D-4E84-BBC2-FA6F2D8C759E}" srcOrd="0" destOrd="0" presId="urn:microsoft.com/office/officeart/2005/8/layout/hierarchy1"/>
    <dgm:cxn modelId="{1D131BB7-49C7-4BFC-BF40-DFC281BAE800}" type="presParOf" srcId="{C389A36E-767D-4E84-BBC2-FA6F2D8C759E}" destId="{8067E3FD-8888-4929-AC70-6F9C0386E9E2}" srcOrd="0" destOrd="0" presId="urn:microsoft.com/office/officeart/2005/8/layout/hierarchy1"/>
    <dgm:cxn modelId="{5C554CA8-C8C5-44C0-BF73-5CFFD7DA7EB5}" type="presParOf" srcId="{C389A36E-767D-4E84-BBC2-FA6F2D8C759E}" destId="{C14C23E4-BBBB-4EB1-81DC-945DB4DB9E80}" srcOrd="1" destOrd="0" presId="urn:microsoft.com/office/officeart/2005/8/layout/hierarchy1"/>
    <dgm:cxn modelId="{B8985B34-575A-4C17-8D8F-589CE9E9943C}" type="presParOf" srcId="{3F249C7D-CFD4-4DC7-A9EE-406D8E9F2BE5}" destId="{FB9A491C-7711-46BD-BB66-939B4CFB5FC6}" srcOrd="1" destOrd="0" presId="urn:microsoft.com/office/officeart/2005/8/layout/hierarchy1"/>
    <dgm:cxn modelId="{0D503595-207E-4D9C-9556-1D4C18A7887A}" type="presParOf" srcId="{01209C6C-3EB4-4049-BFE8-35C55D7F8434}" destId="{3FA4B05D-6A93-4D0A-BD34-2F2FA42CE1F8}" srcOrd="2" destOrd="0" presId="urn:microsoft.com/office/officeart/2005/8/layout/hierarchy1"/>
    <dgm:cxn modelId="{76B877FB-7EA8-4F03-A677-1BDDCC9F7AD8}" type="presParOf" srcId="{01209C6C-3EB4-4049-BFE8-35C55D7F8434}" destId="{F6EA5D03-963F-439B-B212-854FBE1F7C3E}" srcOrd="3" destOrd="0" presId="urn:microsoft.com/office/officeart/2005/8/layout/hierarchy1"/>
    <dgm:cxn modelId="{D9D6A189-709D-4918-99AC-5EF2E2A6893E}" type="presParOf" srcId="{F6EA5D03-963F-439B-B212-854FBE1F7C3E}" destId="{FA4C921C-0F3C-4DF3-99D0-B7C8AF4CC56E}" srcOrd="0" destOrd="0" presId="urn:microsoft.com/office/officeart/2005/8/layout/hierarchy1"/>
    <dgm:cxn modelId="{359D1B3D-F405-44BF-AD0C-CA2AB274407B}" type="presParOf" srcId="{FA4C921C-0F3C-4DF3-99D0-B7C8AF4CC56E}" destId="{42C9365C-3EE6-47D1-A659-08D47D96818A}" srcOrd="0" destOrd="0" presId="urn:microsoft.com/office/officeart/2005/8/layout/hierarchy1"/>
    <dgm:cxn modelId="{EB5B96D5-0480-456A-8FE9-CCB76862882A}" type="presParOf" srcId="{FA4C921C-0F3C-4DF3-99D0-B7C8AF4CC56E}" destId="{96D7715C-E6E9-4838-8E90-94521A3C4FFB}" srcOrd="1" destOrd="0" presId="urn:microsoft.com/office/officeart/2005/8/layout/hierarchy1"/>
    <dgm:cxn modelId="{C45E3C94-C21B-4AE0-BD75-311E39BAEA8B}" type="presParOf" srcId="{F6EA5D03-963F-439B-B212-854FBE1F7C3E}" destId="{18059DD3-7614-41ED-8CED-C4DB12600285}"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6B9943FC-8495-47D5-A557-BDAD397A64D8}" type="presOf" srcId="{B9C095A4-09B3-4524-A547-0933F3DD34F1}" destId="{5E517795-696C-4478-8F77-24582CDCDF88}" srcOrd="0" destOrd="0" presId="urn:microsoft.com/office/officeart/2005/8/layout/cycle2"/>
    <dgm:cxn modelId="{BC3B6D88-E37A-450D-A544-DC98E36543C9}" type="presOf" srcId="{20D4FDE3-C196-41C9-8DB2-EF038981D495}" destId="{B1CEE351-6D90-4A79-B4AC-9CB274EA73AC}"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6F236983-D192-4FFC-B5B3-E53CD0B7D904}" type="presOf" srcId="{315727AA-F8CB-4FAC-81F0-3D8F3BB1B56E}" destId="{1AFE4D34-A1BE-488A-9816-71CABDC842F3}" srcOrd="1" destOrd="0" presId="urn:microsoft.com/office/officeart/2005/8/layout/cycle2"/>
    <dgm:cxn modelId="{9ACA790C-B1A9-44D2-B20A-5AFD8B963F55}" type="presOf" srcId="{7630EC86-B5D2-4E6A-906C-EC36BCBD2F9B}" destId="{56E98031-14F7-4FF4-8CB0-C66FC7DF872F}" srcOrd="1" destOrd="0" presId="urn:microsoft.com/office/officeart/2005/8/layout/cycle2"/>
    <dgm:cxn modelId="{9993DF1C-9971-4969-B534-58CF3FC4CED0}" type="presOf" srcId="{0E50710D-2BD5-4826-B9D1-2870E5EAFE57}" destId="{80B8A62C-CA65-4F7F-B3E1-E47A6F8DBF28}" srcOrd="0" destOrd="0" presId="urn:microsoft.com/office/officeart/2005/8/layout/cycle2"/>
    <dgm:cxn modelId="{32A14019-98BF-46B4-A45D-3FDEA0E2FFDB}" type="presOf" srcId="{C1163CC9-4ECF-4D31-855C-26A2B3DCC5C4}" destId="{4C7C445F-E1C6-4F7A-821E-F674A343F87A}"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D41D9458-6CD8-45B8-B5D4-1FAC30F96EF5}" type="presOf" srcId="{D5290F46-685B-42D9-A176-CA6370062CB6}" destId="{342C44B1-3496-43E6-B7A3-2E7DE47A0EB1}" srcOrd="0" destOrd="0" presId="urn:microsoft.com/office/officeart/2005/8/layout/cycle2"/>
    <dgm:cxn modelId="{6D532CBC-5911-43C4-B305-D9238F8D8737}" type="presOf" srcId="{20D4FDE3-C196-41C9-8DB2-EF038981D495}" destId="{48C0BD33-5F17-45F5-9058-93C87A9DDC1F}" srcOrd="0" destOrd="0" presId="urn:microsoft.com/office/officeart/2005/8/layout/cycle2"/>
    <dgm:cxn modelId="{3AE3764F-BCF7-4B95-8D13-757B01112433}" type="presOf" srcId="{DCEF1A9F-ED00-4444-8E7D-348279B7611D}" destId="{A40E58EC-493C-4310-A857-E6D93F3F5222}" srcOrd="1" destOrd="0" presId="urn:microsoft.com/office/officeart/2005/8/layout/cycle2"/>
    <dgm:cxn modelId="{0B487A59-8D72-4B92-A646-1AB8FAE357B7}" type="presOf" srcId="{275AFB5B-A843-4E45-89A6-0D625719EC18}" destId="{AEC3BFE0-4A84-4A7A-9D2A-077ED9AD905B}" srcOrd="0" destOrd="0" presId="urn:microsoft.com/office/officeart/2005/8/layout/cycle2"/>
    <dgm:cxn modelId="{4D9718BE-A5A7-4319-83CC-8CAF7CA74526}" type="presOf" srcId="{91162D75-99DA-487C-940D-DAE8D13C4447}" destId="{157C4094-4D48-4CA4-8FE3-C846251355F5}" srcOrd="0" destOrd="0" presId="urn:microsoft.com/office/officeart/2005/8/layout/cycle2"/>
    <dgm:cxn modelId="{C63D541F-86DE-421C-B663-4C1358A400DF}" type="presOf" srcId="{1A1A6082-1BF4-40F3-BF25-E2599BB53BFA}" destId="{CF57B3AA-9D23-4D82-8D72-1A4D072C9CF6}" srcOrd="0" destOrd="0" presId="urn:microsoft.com/office/officeart/2005/8/layout/cycle2"/>
    <dgm:cxn modelId="{1D7A7302-6366-4BBF-B85B-75D4BE9FE107}" type="presOf" srcId="{BF32EDA5-B1A7-4C67-9DEE-B0EFED1F5B2B}" destId="{798A8C5B-4663-468B-BDAB-5BC0D323EF4E}" srcOrd="0" destOrd="0" presId="urn:microsoft.com/office/officeart/2005/8/layout/cycle2"/>
    <dgm:cxn modelId="{B9168B08-8EA7-4B1D-86CC-ACC1ED985693}" type="presOf" srcId="{A48FC8E7-DEF6-47DD-9FD7-A42C236E411D}" destId="{9851BCFD-6C0F-44EE-A90D-93FA72FAD479}" srcOrd="0" destOrd="0" presId="urn:microsoft.com/office/officeart/2005/8/layout/cycle2"/>
    <dgm:cxn modelId="{EEBD60D6-A384-464A-B9AA-3C4D8D3C1095}" type="presOf" srcId="{36CA222D-1275-4473-881C-488A61C55835}" destId="{9347F69F-9A85-4B8D-9DE5-233494D2AF22}"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5ACAFF83-E3CE-4642-AFC6-BB97B5E95AB0}" type="presOf" srcId="{36CA222D-1275-4473-881C-488A61C55835}" destId="{7EFAF541-47AF-4C3C-9CFE-C8EF5507A27C}" srcOrd="1" destOrd="0" presId="urn:microsoft.com/office/officeart/2005/8/layout/cycle2"/>
    <dgm:cxn modelId="{E277C7B3-3A97-4488-9992-8899C89C2FF5}" type="presOf" srcId="{E2CB592C-1787-44C9-8686-4F00CBFA5CB1}" destId="{00C6A176-9825-494C-8FDD-D407F0EF76CB}" srcOrd="0" destOrd="0" presId="urn:microsoft.com/office/officeart/2005/8/layout/cycle2"/>
    <dgm:cxn modelId="{15A36572-6C26-465F-BDAE-6469C0516D4D}" type="presOf" srcId="{E8860603-B54B-464D-847C-F39AD96130A4}" destId="{83195273-D2D4-405D-A258-93AFE8C7BE7A}" srcOrd="0" destOrd="0" presId="urn:microsoft.com/office/officeart/2005/8/layout/cycle2"/>
    <dgm:cxn modelId="{BBB46829-F36C-45D4-B53F-63951BF6225F}" type="presOf" srcId="{4AB5C3AA-E12D-487A-99B0-D76EFF1AB462}" destId="{B05F7D2C-D848-4E12-98C6-11FDD917CB93}"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5CB0B44A-3868-45BC-9E4F-77873A3E09EE}" type="presOf" srcId="{BF32EDA5-B1A7-4C67-9DEE-B0EFED1F5B2B}" destId="{6C754846-F75A-4A89-A242-6671D8DDC5A9}" srcOrd="1" destOrd="0" presId="urn:microsoft.com/office/officeart/2005/8/layout/cycle2"/>
    <dgm:cxn modelId="{56E49285-5DC7-451F-8677-7D571CA0CD1F}" type="presOf" srcId="{0E50710D-2BD5-4826-B9D1-2870E5EAFE57}" destId="{D0FD9655-5A6C-4F6C-98FD-3B2D55F73505}" srcOrd="1" destOrd="0" presId="urn:microsoft.com/office/officeart/2005/8/layout/cycle2"/>
    <dgm:cxn modelId="{FAA59445-BC7A-4EB4-BA31-7E1A8E80D195}" type="presOf" srcId="{A48FC8E7-DEF6-47DD-9FD7-A42C236E411D}" destId="{587F2F10-0AE6-474A-8CEB-4172CC329BE3}"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5C2D4E31-E2C8-4DD0-89D5-8E8766670769}" type="presOf" srcId="{E2CB592C-1787-44C9-8686-4F00CBFA5CB1}" destId="{45B6EB01-0DBC-44EB-8631-D6071B6D84B4}" srcOrd="1" destOrd="0" presId="urn:microsoft.com/office/officeart/2005/8/layout/cycle2"/>
    <dgm:cxn modelId="{C0A9CCAF-F45D-4F83-BAFA-24B014F4E46B}" type="presOf" srcId="{4D369322-CA3E-425E-AC5C-D9DEAEAC5E3C}" destId="{9B0B857B-DA14-4DB2-9764-FAEA0033B125}"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56EB729F-7124-4F88-A989-3FFE8E36CF05}" type="presOf" srcId="{7630EC86-B5D2-4E6A-906C-EC36BCBD2F9B}" destId="{8F1FDF32-78E0-4ED1-970D-21E8309CEF5A}" srcOrd="0" destOrd="0" presId="urn:microsoft.com/office/officeart/2005/8/layout/cycle2"/>
    <dgm:cxn modelId="{2793C216-9AE4-462A-B74A-A90E2B66A564}" type="presOf" srcId="{FE0AF671-58B1-40F8-8B7A-983E652E7D40}" destId="{0314D0E1-52B0-4957-906A-3DED1FE20AB6}" srcOrd="0" destOrd="0" presId="urn:microsoft.com/office/officeart/2005/8/layout/cycle2"/>
    <dgm:cxn modelId="{702A2E8D-B3CD-438D-80F4-9B0B80ECF540}" type="presOf" srcId="{DCEF1A9F-ED00-4444-8E7D-348279B7611D}" destId="{BB722067-4A31-4156-9489-71E129EF8E43}" srcOrd="0" destOrd="0" presId="urn:microsoft.com/office/officeart/2005/8/layout/cycle2"/>
    <dgm:cxn modelId="{0C702138-8EC5-45B9-87F6-1135481B7AD5}" type="presOf" srcId="{EA880416-D651-45A6-84F2-C54398F7B105}" destId="{AA562BA4-1362-4B11-BE12-AAF95F9B0655}" srcOrd="0" destOrd="0" presId="urn:microsoft.com/office/officeart/2005/8/layout/cycle2"/>
    <dgm:cxn modelId="{72A101FC-C1C4-46B5-9330-A04C56C282B0}" type="presOf" srcId="{1A1A6082-1BF4-40F3-BF25-E2599BB53BFA}" destId="{2546BF50-5AD8-40D0-A01F-A649CF2327DE}" srcOrd="1"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E670AF17-9ACB-494D-A27B-6F30CE4DAB49}" type="presOf" srcId="{D5290F46-685B-42D9-A176-CA6370062CB6}" destId="{EFE96AD8-1B36-480F-B9D4-5217307D065E}" srcOrd="1" destOrd="0" presId="urn:microsoft.com/office/officeart/2005/8/layout/cycle2"/>
    <dgm:cxn modelId="{A0712EE8-4167-4006-A850-798612D99FC4}" type="presOf" srcId="{B9D5BAA1-0541-416B-9895-A63D7BC366EC}" destId="{6B1C954F-37B9-4616-8073-9C538A00A4CD}"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A925227A-6A42-4F99-A364-7DAF647051B5}" type="presOf" srcId="{315727AA-F8CB-4FAC-81F0-3D8F3BB1B56E}" destId="{FEA59801-9672-4D23-8192-A605C46BE70F}" srcOrd="0" destOrd="0" presId="urn:microsoft.com/office/officeart/2005/8/layout/cycle2"/>
    <dgm:cxn modelId="{2A2909F1-E8A2-40D2-8816-38B11B34F126}" type="presOf" srcId="{C3EFBD6A-E3EC-4E4A-B112-75A580157B18}" destId="{9336A9F3-2A53-40E9-8F9F-8E4C967B12C1}" srcOrd="0" destOrd="0" presId="urn:microsoft.com/office/officeart/2005/8/layout/cycle2"/>
    <dgm:cxn modelId="{EE25FB41-E602-4D71-863E-AFE71A1BD42E}" type="presOf" srcId="{6A94E007-355E-4DF8-8BC8-31F5F07906F8}" destId="{23AEF67E-B71E-4BFF-8274-B39880BE8995}" srcOrd="0" destOrd="0" presId="urn:microsoft.com/office/officeart/2005/8/layout/cycle2"/>
    <dgm:cxn modelId="{7DD48FA7-A138-4277-931C-46CB304967CC}" type="presParOf" srcId="{0314D0E1-52B0-4957-906A-3DED1FE20AB6}" destId="{6B1C954F-37B9-4616-8073-9C538A00A4CD}" srcOrd="0" destOrd="0" presId="urn:microsoft.com/office/officeart/2005/8/layout/cycle2"/>
    <dgm:cxn modelId="{11132573-AF24-457C-9C51-879A506169BF}" type="presParOf" srcId="{0314D0E1-52B0-4957-906A-3DED1FE20AB6}" destId="{CF57B3AA-9D23-4D82-8D72-1A4D072C9CF6}" srcOrd="1" destOrd="0" presId="urn:microsoft.com/office/officeart/2005/8/layout/cycle2"/>
    <dgm:cxn modelId="{91315805-D57F-425A-9CAA-FB30782F0345}" type="presParOf" srcId="{CF57B3AA-9D23-4D82-8D72-1A4D072C9CF6}" destId="{2546BF50-5AD8-40D0-A01F-A649CF2327DE}" srcOrd="0" destOrd="0" presId="urn:microsoft.com/office/officeart/2005/8/layout/cycle2"/>
    <dgm:cxn modelId="{BFBC7B97-DC55-48B6-AF64-FE9E0BA456E5}" type="presParOf" srcId="{0314D0E1-52B0-4957-906A-3DED1FE20AB6}" destId="{83195273-D2D4-405D-A258-93AFE8C7BE7A}" srcOrd="2" destOrd="0" presId="urn:microsoft.com/office/officeart/2005/8/layout/cycle2"/>
    <dgm:cxn modelId="{DD462826-941F-482D-A3E9-D1FEC652A4BD}" type="presParOf" srcId="{0314D0E1-52B0-4957-906A-3DED1FE20AB6}" destId="{798A8C5B-4663-468B-BDAB-5BC0D323EF4E}" srcOrd="3" destOrd="0" presId="urn:microsoft.com/office/officeart/2005/8/layout/cycle2"/>
    <dgm:cxn modelId="{E594ED33-5FF5-4B4F-85C7-0FBCE0787090}" type="presParOf" srcId="{798A8C5B-4663-468B-BDAB-5BC0D323EF4E}" destId="{6C754846-F75A-4A89-A242-6671D8DDC5A9}" srcOrd="0" destOrd="0" presId="urn:microsoft.com/office/officeart/2005/8/layout/cycle2"/>
    <dgm:cxn modelId="{C5E64BD5-957B-4436-B086-15B9170BDB8E}" type="presParOf" srcId="{0314D0E1-52B0-4957-906A-3DED1FE20AB6}" destId="{B05F7D2C-D848-4E12-98C6-11FDD917CB93}" srcOrd="4" destOrd="0" presId="urn:microsoft.com/office/officeart/2005/8/layout/cycle2"/>
    <dgm:cxn modelId="{82EED6C5-F93A-47C5-8AE1-95CF0F2AF4BC}" type="presParOf" srcId="{0314D0E1-52B0-4957-906A-3DED1FE20AB6}" destId="{342C44B1-3496-43E6-B7A3-2E7DE47A0EB1}" srcOrd="5" destOrd="0" presId="urn:microsoft.com/office/officeart/2005/8/layout/cycle2"/>
    <dgm:cxn modelId="{5B7C045A-82E6-4F43-9D93-E235EE92FA4E}" type="presParOf" srcId="{342C44B1-3496-43E6-B7A3-2E7DE47A0EB1}" destId="{EFE96AD8-1B36-480F-B9D4-5217307D065E}" srcOrd="0" destOrd="0" presId="urn:microsoft.com/office/officeart/2005/8/layout/cycle2"/>
    <dgm:cxn modelId="{190BB666-3EDD-4A3E-B4BC-7A607F983A9D}" type="presParOf" srcId="{0314D0E1-52B0-4957-906A-3DED1FE20AB6}" destId="{AEC3BFE0-4A84-4A7A-9D2A-077ED9AD905B}" srcOrd="6" destOrd="0" presId="urn:microsoft.com/office/officeart/2005/8/layout/cycle2"/>
    <dgm:cxn modelId="{F81917D3-500E-48C3-BEF4-001FEB85F4DB}" type="presParOf" srcId="{0314D0E1-52B0-4957-906A-3DED1FE20AB6}" destId="{BB722067-4A31-4156-9489-71E129EF8E43}" srcOrd="7" destOrd="0" presId="urn:microsoft.com/office/officeart/2005/8/layout/cycle2"/>
    <dgm:cxn modelId="{742CB814-E49C-4B3B-AB24-4ECC6D1E15FF}" type="presParOf" srcId="{BB722067-4A31-4156-9489-71E129EF8E43}" destId="{A40E58EC-493C-4310-A857-E6D93F3F5222}" srcOrd="0" destOrd="0" presId="urn:microsoft.com/office/officeart/2005/8/layout/cycle2"/>
    <dgm:cxn modelId="{099207E9-9AED-4849-95B1-82647CFD7EC9}" type="presParOf" srcId="{0314D0E1-52B0-4957-906A-3DED1FE20AB6}" destId="{157C4094-4D48-4CA4-8FE3-C846251355F5}" srcOrd="8" destOrd="0" presId="urn:microsoft.com/office/officeart/2005/8/layout/cycle2"/>
    <dgm:cxn modelId="{A4DDEDC9-1D09-48D7-A0A3-014FE309F04D}" type="presParOf" srcId="{0314D0E1-52B0-4957-906A-3DED1FE20AB6}" destId="{9347F69F-9A85-4B8D-9DE5-233494D2AF22}" srcOrd="9" destOrd="0" presId="urn:microsoft.com/office/officeart/2005/8/layout/cycle2"/>
    <dgm:cxn modelId="{7282DBF0-956B-4E56-B187-09E28027CC01}" type="presParOf" srcId="{9347F69F-9A85-4B8D-9DE5-233494D2AF22}" destId="{7EFAF541-47AF-4C3C-9CFE-C8EF5507A27C}" srcOrd="0" destOrd="0" presId="urn:microsoft.com/office/officeart/2005/8/layout/cycle2"/>
    <dgm:cxn modelId="{D0234621-99A7-494E-82A1-617F61EF663D}" type="presParOf" srcId="{0314D0E1-52B0-4957-906A-3DED1FE20AB6}" destId="{5E517795-696C-4478-8F77-24582CDCDF88}" srcOrd="10" destOrd="0" presId="urn:microsoft.com/office/officeart/2005/8/layout/cycle2"/>
    <dgm:cxn modelId="{C240724F-52C4-44E2-BE4C-81E7B8422B4E}" type="presParOf" srcId="{0314D0E1-52B0-4957-906A-3DED1FE20AB6}" destId="{48C0BD33-5F17-45F5-9058-93C87A9DDC1F}" srcOrd="11" destOrd="0" presId="urn:microsoft.com/office/officeart/2005/8/layout/cycle2"/>
    <dgm:cxn modelId="{140248AF-3EDD-4DFF-A9B9-97FA6CDA4469}" type="presParOf" srcId="{48C0BD33-5F17-45F5-9058-93C87A9DDC1F}" destId="{B1CEE351-6D90-4A79-B4AC-9CB274EA73AC}" srcOrd="0" destOrd="0" presId="urn:microsoft.com/office/officeart/2005/8/layout/cycle2"/>
    <dgm:cxn modelId="{EF6126E0-B9E9-4390-B916-FE6AC13E0B71}" type="presParOf" srcId="{0314D0E1-52B0-4957-906A-3DED1FE20AB6}" destId="{23AEF67E-B71E-4BFF-8274-B39880BE8995}" srcOrd="12" destOrd="0" presId="urn:microsoft.com/office/officeart/2005/8/layout/cycle2"/>
    <dgm:cxn modelId="{07C57B66-70D2-488E-9B36-35FC3E78850A}" type="presParOf" srcId="{0314D0E1-52B0-4957-906A-3DED1FE20AB6}" destId="{9851BCFD-6C0F-44EE-A90D-93FA72FAD479}" srcOrd="13" destOrd="0" presId="urn:microsoft.com/office/officeart/2005/8/layout/cycle2"/>
    <dgm:cxn modelId="{88D549C0-09A3-46CD-AD21-6093519B3651}" type="presParOf" srcId="{9851BCFD-6C0F-44EE-A90D-93FA72FAD479}" destId="{587F2F10-0AE6-474A-8CEB-4172CC329BE3}" srcOrd="0" destOrd="0" presId="urn:microsoft.com/office/officeart/2005/8/layout/cycle2"/>
    <dgm:cxn modelId="{4F2CD667-5307-4040-884F-B70007271CF5}" type="presParOf" srcId="{0314D0E1-52B0-4957-906A-3DED1FE20AB6}" destId="{9336A9F3-2A53-40E9-8F9F-8E4C967B12C1}" srcOrd="14" destOrd="0" presId="urn:microsoft.com/office/officeart/2005/8/layout/cycle2"/>
    <dgm:cxn modelId="{DFBA5A0C-EF7A-47D2-B3DD-1CA0C2B80636}" type="presParOf" srcId="{0314D0E1-52B0-4957-906A-3DED1FE20AB6}" destId="{80B8A62C-CA65-4F7F-B3E1-E47A6F8DBF28}" srcOrd="15" destOrd="0" presId="urn:microsoft.com/office/officeart/2005/8/layout/cycle2"/>
    <dgm:cxn modelId="{343C90C4-0D13-4857-801C-F9A1EB68E2D6}" type="presParOf" srcId="{80B8A62C-CA65-4F7F-B3E1-E47A6F8DBF28}" destId="{D0FD9655-5A6C-4F6C-98FD-3B2D55F73505}" srcOrd="0" destOrd="0" presId="urn:microsoft.com/office/officeart/2005/8/layout/cycle2"/>
    <dgm:cxn modelId="{81E8A843-8601-44E7-AFF9-C53499B5F52D}" type="presParOf" srcId="{0314D0E1-52B0-4957-906A-3DED1FE20AB6}" destId="{AA562BA4-1362-4B11-BE12-AAF95F9B0655}" srcOrd="16" destOrd="0" presId="urn:microsoft.com/office/officeart/2005/8/layout/cycle2"/>
    <dgm:cxn modelId="{D30D5DE8-6AE8-4B69-AD9B-042C444B0443}" type="presParOf" srcId="{0314D0E1-52B0-4957-906A-3DED1FE20AB6}" destId="{8F1FDF32-78E0-4ED1-970D-21E8309CEF5A}" srcOrd="17" destOrd="0" presId="urn:microsoft.com/office/officeart/2005/8/layout/cycle2"/>
    <dgm:cxn modelId="{4AE3D4FA-D98B-452A-B728-32CF7CB28A45}" type="presParOf" srcId="{8F1FDF32-78E0-4ED1-970D-21E8309CEF5A}" destId="{56E98031-14F7-4FF4-8CB0-C66FC7DF872F}" srcOrd="0" destOrd="0" presId="urn:microsoft.com/office/officeart/2005/8/layout/cycle2"/>
    <dgm:cxn modelId="{9013C323-A4FD-4FED-857D-163E03838479}" type="presParOf" srcId="{0314D0E1-52B0-4957-906A-3DED1FE20AB6}" destId="{4C7C445F-E1C6-4F7A-821E-F674A343F87A}" srcOrd="18" destOrd="0" presId="urn:microsoft.com/office/officeart/2005/8/layout/cycle2"/>
    <dgm:cxn modelId="{A52071FD-9CBF-4504-B0A8-90A8A148F544}" type="presParOf" srcId="{0314D0E1-52B0-4957-906A-3DED1FE20AB6}" destId="{00C6A176-9825-494C-8FDD-D407F0EF76CB}" srcOrd="19" destOrd="0" presId="urn:microsoft.com/office/officeart/2005/8/layout/cycle2"/>
    <dgm:cxn modelId="{EF7C947F-2B7C-41D6-A655-7BF9DD00DE94}" type="presParOf" srcId="{00C6A176-9825-494C-8FDD-D407F0EF76CB}" destId="{45B6EB01-0DBC-44EB-8631-D6071B6D84B4}" srcOrd="0" destOrd="0" presId="urn:microsoft.com/office/officeart/2005/8/layout/cycle2"/>
    <dgm:cxn modelId="{7957517A-822C-4FCF-A79F-51DEE3852F64}" type="presParOf" srcId="{0314D0E1-52B0-4957-906A-3DED1FE20AB6}" destId="{9B0B857B-DA14-4DB2-9764-FAEA0033B125}" srcOrd="20" destOrd="0" presId="urn:microsoft.com/office/officeart/2005/8/layout/cycle2"/>
    <dgm:cxn modelId="{E0FF1DD7-A742-4123-8AF0-BF97F0929891}" type="presParOf" srcId="{0314D0E1-52B0-4957-906A-3DED1FE20AB6}" destId="{FEA59801-9672-4D23-8192-A605C46BE70F}" srcOrd="21" destOrd="0" presId="urn:microsoft.com/office/officeart/2005/8/layout/cycle2"/>
    <dgm:cxn modelId="{9F8AD073-B857-4C04-A46A-3FB7292C59EF}"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3FAABCB4-A6F7-4022-AA5E-E0E4E8B50ADF}" type="presOf" srcId="{4D369322-CA3E-425E-AC5C-D9DEAEAC5E3C}" destId="{9B0B857B-DA14-4DB2-9764-FAEA0033B125}" srcOrd="0" destOrd="0" presId="urn:microsoft.com/office/officeart/2005/8/layout/cycle2"/>
    <dgm:cxn modelId="{EC0574D5-12AE-4C19-8760-0B28F5FC1C89}" type="presOf" srcId="{EA880416-D651-45A6-84F2-C54398F7B105}" destId="{AA562BA4-1362-4B11-BE12-AAF95F9B0655}" srcOrd="0" destOrd="0" presId="urn:microsoft.com/office/officeart/2005/8/layout/cycle2"/>
    <dgm:cxn modelId="{3ACAD881-9802-4CA9-A9B5-3341B6F1BE41}" type="presOf" srcId="{36CA222D-1275-4473-881C-488A61C55835}" destId="{7EFAF541-47AF-4C3C-9CFE-C8EF5507A27C}"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45708A07-3CC4-4090-9815-6FE48B1C71E5}" type="presOf" srcId="{E2CB592C-1787-44C9-8686-4F00CBFA5CB1}" destId="{45B6EB01-0DBC-44EB-8631-D6071B6D84B4}" srcOrd="1" destOrd="0" presId="urn:microsoft.com/office/officeart/2005/8/layout/cycle2"/>
    <dgm:cxn modelId="{8C838396-21F9-472B-B09C-750FD8088451}" type="presOf" srcId="{91162D75-99DA-487C-940D-DAE8D13C4447}" destId="{157C4094-4D48-4CA4-8FE3-C846251355F5}" srcOrd="0" destOrd="0" presId="urn:microsoft.com/office/officeart/2005/8/layout/cycle2"/>
    <dgm:cxn modelId="{F8DE0C38-A63E-4E78-A031-16D747EB2691}" type="presOf" srcId="{BF32EDA5-B1A7-4C67-9DEE-B0EFED1F5B2B}" destId="{6C754846-F75A-4A89-A242-6671D8DDC5A9}" srcOrd="1" destOrd="0" presId="urn:microsoft.com/office/officeart/2005/8/layout/cycle2"/>
    <dgm:cxn modelId="{C929E760-0D27-43AF-9896-153B454D4754}" type="presOf" srcId="{C1163CC9-4ECF-4D31-855C-26A2B3DCC5C4}" destId="{4C7C445F-E1C6-4F7A-821E-F674A343F87A}" srcOrd="0" destOrd="0" presId="urn:microsoft.com/office/officeart/2005/8/layout/cycle2"/>
    <dgm:cxn modelId="{4FDD0E53-43EF-47EE-9B58-A1A15DE8A4D2}" type="presOf" srcId="{4AB5C3AA-E12D-487A-99B0-D76EFF1AB462}" destId="{B05F7D2C-D848-4E12-98C6-11FDD917CB93}"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2CEA6342-9D9A-4BAC-87A2-7404AEBFD522}" type="presOf" srcId="{D5290F46-685B-42D9-A176-CA6370062CB6}" destId="{342C44B1-3496-43E6-B7A3-2E7DE47A0EB1}" srcOrd="0" destOrd="0" presId="urn:microsoft.com/office/officeart/2005/8/layout/cycle2"/>
    <dgm:cxn modelId="{9FB52318-6CB9-4278-B0CB-BEF0EC2A3DDE}" type="presOf" srcId="{1A1A6082-1BF4-40F3-BF25-E2599BB53BFA}" destId="{CF57B3AA-9D23-4D82-8D72-1A4D072C9CF6}" srcOrd="0" destOrd="0" presId="urn:microsoft.com/office/officeart/2005/8/layout/cycle2"/>
    <dgm:cxn modelId="{8C8E13F4-542D-4605-A230-445880157CD8}" type="presOf" srcId="{275AFB5B-A843-4E45-89A6-0D625719EC18}" destId="{AEC3BFE0-4A84-4A7A-9D2A-077ED9AD905B}" srcOrd="0" destOrd="0" presId="urn:microsoft.com/office/officeart/2005/8/layout/cycle2"/>
    <dgm:cxn modelId="{AB38E991-E9E6-4C60-9063-6CAD58DB5749}" type="presOf" srcId="{7630EC86-B5D2-4E6A-906C-EC36BCBD2F9B}" destId="{8F1FDF32-78E0-4ED1-970D-21E8309CEF5A}" srcOrd="0" destOrd="0" presId="urn:microsoft.com/office/officeart/2005/8/layout/cycle2"/>
    <dgm:cxn modelId="{8411719C-34F3-4669-AABC-A29EA013C343}" type="presOf" srcId="{A48FC8E7-DEF6-47DD-9FD7-A42C236E411D}" destId="{9851BCFD-6C0F-44EE-A90D-93FA72FAD479}" srcOrd="0" destOrd="0" presId="urn:microsoft.com/office/officeart/2005/8/layout/cycle2"/>
    <dgm:cxn modelId="{B263B56F-20BB-40C4-BD83-5AF0AF96A2C2}" type="presOf" srcId="{36CA222D-1275-4473-881C-488A61C55835}" destId="{9347F69F-9A85-4B8D-9DE5-233494D2AF22}"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BC94D6F-6F11-4DA7-B0F6-6C99AA7D3A0E}" type="presOf" srcId="{B9C095A4-09B3-4524-A547-0933F3DD34F1}" destId="{5E517795-696C-4478-8F77-24582CDCDF88}" srcOrd="0"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DA018E47-39DB-41FD-9C18-BE3AB6C1E498}" type="presOf" srcId="{1A1A6082-1BF4-40F3-BF25-E2599BB53BFA}" destId="{2546BF50-5AD8-40D0-A01F-A649CF2327DE}" srcOrd="1" destOrd="0" presId="urn:microsoft.com/office/officeart/2005/8/layout/cycle2"/>
    <dgm:cxn modelId="{9F52EECC-96C6-445D-A36E-4CDDF460BA4E}" type="presOf" srcId="{315727AA-F8CB-4FAC-81F0-3D8F3BB1B56E}" destId="{1AFE4D34-A1BE-488A-9816-71CABDC842F3}" srcOrd="1" destOrd="0" presId="urn:microsoft.com/office/officeart/2005/8/layout/cycle2"/>
    <dgm:cxn modelId="{2358C35D-46BB-445C-86B3-A3803383B6A0}" type="presOf" srcId="{0E50710D-2BD5-4826-B9D1-2870E5EAFE57}" destId="{D0FD9655-5A6C-4F6C-98FD-3B2D55F73505}" srcOrd="1" destOrd="0" presId="urn:microsoft.com/office/officeart/2005/8/layout/cycle2"/>
    <dgm:cxn modelId="{2CF67E33-F116-4DC1-A5AF-48120C2D38CF}" type="presOf" srcId="{315727AA-F8CB-4FAC-81F0-3D8F3BB1B56E}" destId="{FEA59801-9672-4D23-8192-A605C46BE70F}" srcOrd="0" destOrd="0" presId="urn:microsoft.com/office/officeart/2005/8/layout/cycle2"/>
    <dgm:cxn modelId="{7F64F904-20FD-4FFD-967D-24CBAF58EA3A}" type="presOf" srcId="{20D4FDE3-C196-41C9-8DB2-EF038981D495}" destId="{48C0BD33-5F17-45F5-9058-93C87A9DDC1F}" srcOrd="0" destOrd="0" presId="urn:microsoft.com/office/officeart/2005/8/layout/cycle2"/>
    <dgm:cxn modelId="{DC0EBDE6-323D-4BC6-B52F-8C7E355AD64E}" type="presOf" srcId="{7630EC86-B5D2-4E6A-906C-EC36BCBD2F9B}" destId="{56E98031-14F7-4FF4-8CB0-C66FC7DF872F}" srcOrd="1"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9A3C2B1E-44F9-469C-A7BC-5A1AD392331C}" srcId="{FE0AF671-58B1-40F8-8B7A-983E652E7D40}" destId="{C3EFBD6A-E3EC-4E4A-B112-75A580157B18}" srcOrd="7" destOrd="0" parTransId="{3612719D-4FCA-4865-A190-987513537793}" sibTransId="{0E50710D-2BD5-4826-B9D1-2870E5EAFE57}"/>
    <dgm:cxn modelId="{AEB7EDE5-1D16-475A-B61C-CBF7CFCC2F0F}" srcId="{FE0AF671-58B1-40F8-8B7A-983E652E7D40}" destId="{C1163CC9-4ECF-4D31-855C-26A2B3DCC5C4}" srcOrd="9" destOrd="0" parTransId="{B8FEF4D3-4E21-4BAE-801E-7205F8E8EF77}" sibTransId="{E2CB592C-1787-44C9-8686-4F00CBFA5CB1}"/>
    <dgm:cxn modelId="{785EECD6-9C39-4639-B096-2394DF26EFC1}" type="presOf" srcId="{E2CB592C-1787-44C9-8686-4F00CBFA5CB1}" destId="{00C6A176-9825-494C-8FDD-D407F0EF76CB}" srcOrd="0" destOrd="0" presId="urn:microsoft.com/office/officeart/2005/8/layout/cycle2"/>
    <dgm:cxn modelId="{8B027B88-632F-4533-9919-1B20CC3F132B}" type="presOf" srcId="{0E50710D-2BD5-4826-B9D1-2870E5EAFE57}" destId="{80B8A62C-CA65-4F7F-B3E1-E47A6F8DBF28}" srcOrd="0" destOrd="0" presId="urn:microsoft.com/office/officeart/2005/8/layout/cycle2"/>
    <dgm:cxn modelId="{D7AB290C-2F92-4E1F-99A5-22C838E5D201}" type="presOf" srcId="{6A94E007-355E-4DF8-8BC8-31F5F07906F8}" destId="{23AEF67E-B71E-4BFF-8274-B39880BE8995}" srcOrd="0" destOrd="0" presId="urn:microsoft.com/office/officeart/2005/8/layout/cycle2"/>
    <dgm:cxn modelId="{AB77A26A-28C0-4525-A5CD-871A33BE7616}" type="presOf" srcId="{C3EFBD6A-E3EC-4E4A-B112-75A580157B18}" destId="{9336A9F3-2A53-40E9-8F9F-8E4C967B12C1}"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554D6912-F100-4D1D-921C-4CC25C829512}" type="presOf" srcId="{FE0AF671-58B1-40F8-8B7A-983E652E7D40}" destId="{0314D0E1-52B0-4957-906A-3DED1FE20AB6}" srcOrd="0" destOrd="0" presId="urn:microsoft.com/office/officeart/2005/8/layout/cycle2"/>
    <dgm:cxn modelId="{68EB82BD-FC9B-4B3C-91CE-1F163320E241}" type="presOf" srcId="{20D4FDE3-C196-41C9-8DB2-EF038981D495}" destId="{B1CEE351-6D90-4A79-B4AC-9CB274EA73AC}" srcOrd="1"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6FCCB2EC-5EEB-4DFC-8A74-67B5E64291F3}" type="presOf" srcId="{DCEF1A9F-ED00-4444-8E7D-348279B7611D}" destId="{BB722067-4A31-4156-9489-71E129EF8E43}" srcOrd="0" destOrd="0" presId="urn:microsoft.com/office/officeart/2005/8/layout/cycle2"/>
    <dgm:cxn modelId="{93A53102-0C8E-4B24-82B8-66B56A880318}" type="presOf" srcId="{BF32EDA5-B1A7-4C67-9DEE-B0EFED1F5B2B}" destId="{798A8C5B-4663-468B-BDAB-5BC0D323EF4E}" srcOrd="0" destOrd="0" presId="urn:microsoft.com/office/officeart/2005/8/layout/cycle2"/>
    <dgm:cxn modelId="{9A6DAE8A-E129-4D50-8FF6-BB683961C817}" type="presOf" srcId="{A48FC8E7-DEF6-47DD-9FD7-A42C236E411D}" destId="{587F2F10-0AE6-474A-8CEB-4172CC329BE3}" srcOrd="1" destOrd="0" presId="urn:microsoft.com/office/officeart/2005/8/layout/cycle2"/>
    <dgm:cxn modelId="{D9EF8AFB-0ABD-4A3E-AB8B-5D85F4172E00}" type="presOf" srcId="{DCEF1A9F-ED00-4444-8E7D-348279B7611D}" destId="{A40E58EC-493C-4310-A857-E6D93F3F5222}" srcOrd="1"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D7DBB280-9631-4A49-9D5F-17FF102245DC}" type="presOf" srcId="{D5290F46-685B-42D9-A176-CA6370062CB6}" destId="{EFE96AD8-1B36-480F-B9D4-5217307D065E}" srcOrd="1" destOrd="0" presId="urn:microsoft.com/office/officeart/2005/8/layout/cycle2"/>
    <dgm:cxn modelId="{26A89DDA-6B6A-4D99-B810-FF1F7998CD02}" type="presOf" srcId="{E8860603-B54B-464D-847C-F39AD96130A4}" destId="{83195273-D2D4-405D-A258-93AFE8C7BE7A}"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6360873E-1ADE-406F-9454-24358FBD1EE8}" type="presOf" srcId="{B9D5BAA1-0541-416B-9895-A63D7BC366EC}" destId="{6B1C954F-37B9-4616-8073-9C538A00A4CD}" srcOrd="0" destOrd="0" presId="urn:microsoft.com/office/officeart/2005/8/layout/cycle2"/>
    <dgm:cxn modelId="{5A6C5C09-6F67-4089-9564-68B2C2AD1671}" type="presParOf" srcId="{0314D0E1-52B0-4957-906A-3DED1FE20AB6}" destId="{6B1C954F-37B9-4616-8073-9C538A00A4CD}" srcOrd="0" destOrd="0" presId="urn:microsoft.com/office/officeart/2005/8/layout/cycle2"/>
    <dgm:cxn modelId="{7DED012B-FA02-4F30-817D-78F88EACD4C4}" type="presParOf" srcId="{0314D0E1-52B0-4957-906A-3DED1FE20AB6}" destId="{CF57B3AA-9D23-4D82-8D72-1A4D072C9CF6}" srcOrd="1" destOrd="0" presId="urn:microsoft.com/office/officeart/2005/8/layout/cycle2"/>
    <dgm:cxn modelId="{D14B3C2C-6110-4AFC-BC27-A45B7CEA5346}" type="presParOf" srcId="{CF57B3AA-9D23-4D82-8D72-1A4D072C9CF6}" destId="{2546BF50-5AD8-40D0-A01F-A649CF2327DE}" srcOrd="0" destOrd="0" presId="urn:microsoft.com/office/officeart/2005/8/layout/cycle2"/>
    <dgm:cxn modelId="{A03FB53E-C8C6-4267-A6BC-A64299449E8F}" type="presParOf" srcId="{0314D0E1-52B0-4957-906A-3DED1FE20AB6}" destId="{83195273-D2D4-405D-A258-93AFE8C7BE7A}" srcOrd="2" destOrd="0" presId="urn:microsoft.com/office/officeart/2005/8/layout/cycle2"/>
    <dgm:cxn modelId="{704E3256-E144-4A17-BBBE-FBC8D55D2AE0}" type="presParOf" srcId="{0314D0E1-52B0-4957-906A-3DED1FE20AB6}" destId="{798A8C5B-4663-468B-BDAB-5BC0D323EF4E}" srcOrd="3" destOrd="0" presId="urn:microsoft.com/office/officeart/2005/8/layout/cycle2"/>
    <dgm:cxn modelId="{DF01389E-3768-4CBE-9FB0-44151EB4E839}" type="presParOf" srcId="{798A8C5B-4663-468B-BDAB-5BC0D323EF4E}" destId="{6C754846-F75A-4A89-A242-6671D8DDC5A9}" srcOrd="0" destOrd="0" presId="urn:microsoft.com/office/officeart/2005/8/layout/cycle2"/>
    <dgm:cxn modelId="{4FD00B16-F3A7-4E7D-8C18-CFDDA8336B8B}" type="presParOf" srcId="{0314D0E1-52B0-4957-906A-3DED1FE20AB6}" destId="{B05F7D2C-D848-4E12-98C6-11FDD917CB93}" srcOrd="4" destOrd="0" presId="urn:microsoft.com/office/officeart/2005/8/layout/cycle2"/>
    <dgm:cxn modelId="{EC2B3B54-E16E-4229-BFEF-64562CB14F71}" type="presParOf" srcId="{0314D0E1-52B0-4957-906A-3DED1FE20AB6}" destId="{342C44B1-3496-43E6-B7A3-2E7DE47A0EB1}" srcOrd="5" destOrd="0" presId="urn:microsoft.com/office/officeart/2005/8/layout/cycle2"/>
    <dgm:cxn modelId="{84E40CE3-E2C7-4036-9284-D087AE7F9163}" type="presParOf" srcId="{342C44B1-3496-43E6-B7A3-2E7DE47A0EB1}" destId="{EFE96AD8-1B36-480F-B9D4-5217307D065E}" srcOrd="0" destOrd="0" presId="urn:microsoft.com/office/officeart/2005/8/layout/cycle2"/>
    <dgm:cxn modelId="{4EDBB7A4-3116-4E2D-8003-B5E41944BD23}" type="presParOf" srcId="{0314D0E1-52B0-4957-906A-3DED1FE20AB6}" destId="{AEC3BFE0-4A84-4A7A-9D2A-077ED9AD905B}" srcOrd="6" destOrd="0" presId="urn:microsoft.com/office/officeart/2005/8/layout/cycle2"/>
    <dgm:cxn modelId="{1B010696-94AB-4AB1-AE71-9C38484DBF7A}" type="presParOf" srcId="{0314D0E1-52B0-4957-906A-3DED1FE20AB6}" destId="{BB722067-4A31-4156-9489-71E129EF8E43}" srcOrd="7" destOrd="0" presId="urn:microsoft.com/office/officeart/2005/8/layout/cycle2"/>
    <dgm:cxn modelId="{A06EF71A-2B2B-4D59-BF8D-53C96E101C5E}" type="presParOf" srcId="{BB722067-4A31-4156-9489-71E129EF8E43}" destId="{A40E58EC-493C-4310-A857-E6D93F3F5222}" srcOrd="0" destOrd="0" presId="urn:microsoft.com/office/officeart/2005/8/layout/cycle2"/>
    <dgm:cxn modelId="{7F1ECF30-B0FB-49CF-8889-04E19F9A6A3C}" type="presParOf" srcId="{0314D0E1-52B0-4957-906A-3DED1FE20AB6}" destId="{157C4094-4D48-4CA4-8FE3-C846251355F5}" srcOrd="8" destOrd="0" presId="urn:microsoft.com/office/officeart/2005/8/layout/cycle2"/>
    <dgm:cxn modelId="{350080BE-9FC7-4630-B018-1FE708FEC1BA}" type="presParOf" srcId="{0314D0E1-52B0-4957-906A-3DED1FE20AB6}" destId="{9347F69F-9A85-4B8D-9DE5-233494D2AF22}" srcOrd="9" destOrd="0" presId="urn:microsoft.com/office/officeart/2005/8/layout/cycle2"/>
    <dgm:cxn modelId="{7A6D915C-8056-440A-96A1-59E5CB2119C3}" type="presParOf" srcId="{9347F69F-9A85-4B8D-9DE5-233494D2AF22}" destId="{7EFAF541-47AF-4C3C-9CFE-C8EF5507A27C}" srcOrd="0" destOrd="0" presId="urn:microsoft.com/office/officeart/2005/8/layout/cycle2"/>
    <dgm:cxn modelId="{8E260AB3-F466-446F-B7AC-5D77643B9C49}" type="presParOf" srcId="{0314D0E1-52B0-4957-906A-3DED1FE20AB6}" destId="{5E517795-696C-4478-8F77-24582CDCDF88}" srcOrd="10" destOrd="0" presId="urn:microsoft.com/office/officeart/2005/8/layout/cycle2"/>
    <dgm:cxn modelId="{7557EBB7-F48C-40BE-9921-1053DD460BEC}" type="presParOf" srcId="{0314D0E1-52B0-4957-906A-3DED1FE20AB6}" destId="{48C0BD33-5F17-45F5-9058-93C87A9DDC1F}" srcOrd="11" destOrd="0" presId="urn:microsoft.com/office/officeart/2005/8/layout/cycle2"/>
    <dgm:cxn modelId="{FBEADC77-B8FA-494F-88AA-9504BB76E762}" type="presParOf" srcId="{48C0BD33-5F17-45F5-9058-93C87A9DDC1F}" destId="{B1CEE351-6D90-4A79-B4AC-9CB274EA73AC}" srcOrd="0" destOrd="0" presId="urn:microsoft.com/office/officeart/2005/8/layout/cycle2"/>
    <dgm:cxn modelId="{9E132A76-117E-4DC8-8F8A-5CE8A51DCE28}" type="presParOf" srcId="{0314D0E1-52B0-4957-906A-3DED1FE20AB6}" destId="{23AEF67E-B71E-4BFF-8274-B39880BE8995}" srcOrd="12" destOrd="0" presId="urn:microsoft.com/office/officeart/2005/8/layout/cycle2"/>
    <dgm:cxn modelId="{6FF54026-55D4-48A9-A3EB-6B853E2A4DF4}" type="presParOf" srcId="{0314D0E1-52B0-4957-906A-3DED1FE20AB6}" destId="{9851BCFD-6C0F-44EE-A90D-93FA72FAD479}" srcOrd="13" destOrd="0" presId="urn:microsoft.com/office/officeart/2005/8/layout/cycle2"/>
    <dgm:cxn modelId="{993FE233-43E2-4D54-B496-4108F69606E4}" type="presParOf" srcId="{9851BCFD-6C0F-44EE-A90D-93FA72FAD479}" destId="{587F2F10-0AE6-474A-8CEB-4172CC329BE3}" srcOrd="0" destOrd="0" presId="urn:microsoft.com/office/officeart/2005/8/layout/cycle2"/>
    <dgm:cxn modelId="{99787097-2611-448B-8CDB-623F4FCDB5E9}" type="presParOf" srcId="{0314D0E1-52B0-4957-906A-3DED1FE20AB6}" destId="{9336A9F3-2A53-40E9-8F9F-8E4C967B12C1}" srcOrd="14" destOrd="0" presId="urn:microsoft.com/office/officeart/2005/8/layout/cycle2"/>
    <dgm:cxn modelId="{8EA6C2D7-9876-427B-B501-D7A42A426F43}" type="presParOf" srcId="{0314D0E1-52B0-4957-906A-3DED1FE20AB6}" destId="{80B8A62C-CA65-4F7F-B3E1-E47A6F8DBF28}" srcOrd="15" destOrd="0" presId="urn:microsoft.com/office/officeart/2005/8/layout/cycle2"/>
    <dgm:cxn modelId="{D5C034D1-442C-4244-9AA6-E3310DEF3121}" type="presParOf" srcId="{80B8A62C-CA65-4F7F-B3E1-E47A6F8DBF28}" destId="{D0FD9655-5A6C-4F6C-98FD-3B2D55F73505}" srcOrd="0" destOrd="0" presId="urn:microsoft.com/office/officeart/2005/8/layout/cycle2"/>
    <dgm:cxn modelId="{EE479D68-C48E-421E-924E-9C890D6DA37D}" type="presParOf" srcId="{0314D0E1-52B0-4957-906A-3DED1FE20AB6}" destId="{AA562BA4-1362-4B11-BE12-AAF95F9B0655}" srcOrd="16" destOrd="0" presId="urn:microsoft.com/office/officeart/2005/8/layout/cycle2"/>
    <dgm:cxn modelId="{89C4155C-73BD-486F-958D-68AA291DBD03}" type="presParOf" srcId="{0314D0E1-52B0-4957-906A-3DED1FE20AB6}" destId="{8F1FDF32-78E0-4ED1-970D-21E8309CEF5A}" srcOrd="17" destOrd="0" presId="urn:microsoft.com/office/officeart/2005/8/layout/cycle2"/>
    <dgm:cxn modelId="{35462DBE-7129-435F-9329-EC1DF001AC19}" type="presParOf" srcId="{8F1FDF32-78E0-4ED1-970D-21E8309CEF5A}" destId="{56E98031-14F7-4FF4-8CB0-C66FC7DF872F}" srcOrd="0" destOrd="0" presId="urn:microsoft.com/office/officeart/2005/8/layout/cycle2"/>
    <dgm:cxn modelId="{4ECA13C4-01C5-4B8C-A6C9-3CBBA6CAF76D}" type="presParOf" srcId="{0314D0E1-52B0-4957-906A-3DED1FE20AB6}" destId="{4C7C445F-E1C6-4F7A-821E-F674A343F87A}" srcOrd="18" destOrd="0" presId="urn:microsoft.com/office/officeart/2005/8/layout/cycle2"/>
    <dgm:cxn modelId="{92DD5245-7BAB-4825-951A-75C752058F8F}" type="presParOf" srcId="{0314D0E1-52B0-4957-906A-3DED1FE20AB6}" destId="{00C6A176-9825-494C-8FDD-D407F0EF76CB}" srcOrd="19" destOrd="0" presId="urn:microsoft.com/office/officeart/2005/8/layout/cycle2"/>
    <dgm:cxn modelId="{6E006512-30C2-497A-A352-A69E95F43F3B}" type="presParOf" srcId="{00C6A176-9825-494C-8FDD-D407F0EF76CB}" destId="{45B6EB01-0DBC-44EB-8631-D6071B6D84B4}" srcOrd="0" destOrd="0" presId="urn:microsoft.com/office/officeart/2005/8/layout/cycle2"/>
    <dgm:cxn modelId="{F34B94ED-AC77-42BB-875F-6C964B455DC1}" type="presParOf" srcId="{0314D0E1-52B0-4957-906A-3DED1FE20AB6}" destId="{9B0B857B-DA14-4DB2-9764-FAEA0033B125}" srcOrd="20" destOrd="0" presId="urn:microsoft.com/office/officeart/2005/8/layout/cycle2"/>
    <dgm:cxn modelId="{4016DAF9-FF63-4640-A95A-B870882C550D}" type="presParOf" srcId="{0314D0E1-52B0-4957-906A-3DED1FE20AB6}" destId="{FEA59801-9672-4D23-8192-A605C46BE70F}" srcOrd="21" destOrd="0" presId="urn:microsoft.com/office/officeart/2005/8/layout/cycle2"/>
    <dgm:cxn modelId="{1F148613-1C7B-40C6-A901-5433A8303BE6}"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182E124E-5EAF-4E31-B61B-08ADE2AB02EA}" type="presOf" srcId="{A48FC8E7-DEF6-47DD-9FD7-A42C236E411D}" destId="{587F2F10-0AE6-474A-8CEB-4172CC329BE3}" srcOrd="1" destOrd="0" presId="urn:microsoft.com/office/officeart/2005/8/layout/cycle2"/>
    <dgm:cxn modelId="{7FFC465C-8960-4260-B73E-6418F3E08A80}" type="presOf" srcId="{6A94E007-355E-4DF8-8BC8-31F5F07906F8}" destId="{23AEF67E-B71E-4BFF-8274-B39880BE8995}" srcOrd="0" destOrd="0" presId="urn:microsoft.com/office/officeart/2005/8/layout/cycle2"/>
    <dgm:cxn modelId="{7DE91868-C6D3-461F-847F-9F1E42213D7E}" type="presOf" srcId="{20D4FDE3-C196-41C9-8DB2-EF038981D495}" destId="{B1CEE351-6D90-4A79-B4AC-9CB274EA73AC}"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2DD32CBC-D43E-4CA8-B255-30DA4A1C029E}" type="presOf" srcId="{D5290F46-685B-42D9-A176-CA6370062CB6}" destId="{EFE96AD8-1B36-480F-B9D4-5217307D065E}" srcOrd="1" destOrd="0" presId="urn:microsoft.com/office/officeart/2005/8/layout/cycle2"/>
    <dgm:cxn modelId="{3AD748A0-86C8-4171-A52F-942AA194C032}" type="presOf" srcId="{E2CB592C-1787-44C9-8686-4F00CBFA5CB1}" destId="{45B6EB01-0DBC-44EB-8631-D6071B6D84B4}"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BEFBC83F-48B9-4156-B4D3-9914CFA6A17C}" type="presOf" srcId="{1A1A6082-1BF4-40F3-BF25-E2599BB53BFA}" destId="{2546BF50-5AD8-40D0-A01F-A649CF2327DE}" srcOrd="1" destOrd="0" presId="urn:microsoft.com/office/officeart/2005/8/layout/cycle2"/>
    <dgm:cxn modelId="{59142B72-5AD8-43DA-A0A9-6D547E835279}" type="presOf" srcId="{0E50710D-2BD5-4826-B9D1-2870E5EAFE57}" destId="{80B8A62C-CA65-4F7F-B3E1-E47A6F8DBF28}" srcOrd="0" destOrd="0" presId="urn:microsoft.com/office/officeart/2005/8/layout/cycle2"/>
    <dgm:cxn modelId="{0018152C-ACEB-45CF-A5FE-02745DDEB35E}" type="presOf" srcId="{BF32EDA5-B1A7-4C67-9DEE-B0EFED1F5B2B}" destId="{6C754846-F75A-4A89-A242-6671D8DDC5A9}" srcOrd="1" destOrd="0" presId="urn:microsoft.com/office/officeart/2005/8/layout/cycle2"/>
    <dgm:cxn modelId="{13D1ECF6-BA60-422A-880C-9B69FF70EEFB}" type="presOf" srcId="{0E50710D-2BD5-4826-B9D1-2870E5EAFE57}" destId="{D0FD9655-5A6C-4F6C-98FD-3B2D55F73505}" srcOrd="1" destOrd="0" presId="urn:microsoft.com/office/officeart/2005/8/layout/cycle2"/>
    <dgm:cxn modelId="{48E1C06C-EF15-4056-BFD8-FA5EECAB80B1}" type="presOf" srcId="{BF32EDA5-B1A7-4C67-9DEE-B0EFED1F5B2B}" destId="{798A8C5B-4663-468B-BDAB-5BC0D323EF4E}" srcOrd="0" destOrd="0" presId="urn:microsoft.com/office/officeart/2005/8/layout/cycle2"/>
    <dgm:cxn modelId="{D5634468-477C-4F21-8A9E-C3342381C1D0}" type="presOf" srcId="{DCEF1A9F-ED00-4444-8E7D-348279B7611D}" destId="{A40E58EC-493C-4310-A857-E6D93F3F5222}" srcOrd="1" destOrd="0" presId="urn:microsoft.com/office/officeart/2005/8/layout/cycle2"/>
    <dgm:cxn modelId="{BEF1B147-02EC-4B49-8E05-5FCD4648D455}" type="presOf" srcId="{275AFB5B-A843-4E45-89A6-0D625719EC18}" destId="{AEC3BFE0-4A84-4A7A-9D2A-077ED9AD905B}"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E4AB6278-9AA6-4D51-8E8B-D49402160E12}" type="presOf" srcId="{36CA222D-1275-4473-881C-488A61C55835}" destId="{7EFAF541-47AF-4C3C-9CFE-C8EF5507A27C}" srcOrd="1" destOrd="0" presId="urn:microsoft.com/office/officeart/2005/8/layout/cycle2"/>
    <dgm:cxn modelId="{C2DBA388-AC38-4A3C-ACD0-BECD869D614C}" type="presOf" srcId="{E8860603-B54B-464D-847C-F39AD96130A4}" destId="{83195273-D2D4-405D-A258-93AFE8C7BE7A}" srcOrd="0" destOrd="0" presId="urn:microsoft.com/office/officeart/2005/8/layout/cycle2"/>
    <dgm:cxn modelId="{81298DE6-5D80-467E-B813-EDC6E6536AFD}" type="presOf" srcId="{36CA222D-1275-4473-881C-488A61C55835}" destId="{9347F69F-9A85-4B8D-9DE5-233494D2AF22}" srcOrd="0" destOrd="0" presId="urn:microsoft.com/office/officeart/2005/8/layout/cycle2"/>
    <dgm:cxn modelId="{98F1F1F4-5734-4CC6-BCDD-93ED72AE2990}" type="presOf" srcId="{4D369322-CA3E-425E-AC5C-D9DEAEAC5E3C}" destId="{9B0B857B-DA14-4DB2-9764-FAEA0033B125}" srcOrd="0" destOrd="0" presId="urn:microsoft.com/office/officeart/2005/8/layout/cycle2"/>
    <dgm:cxn modelId="{D188DDBE-A1DC-4C84-BAEE-BA3B1DADA7D5}" type="presOf" srcId="{B9D5BAA1-0541-416B-9895-A63D7BC366EC}" destId="{6B1C954F-37B9-4616-8073-9C538A00A4CD}" srcOrd="0" destOrd="0" presId="urn:microsoft.com/office/officeart/2005/8/layout/cycle2"/>
    <dgm:cxn modelId="{BBF6597E-4883-4A36-93D6-C200154C45BA}" type="presOf" srcId="{7630EC86-B5D2-4E6A-906C-EC36BCBD2F9B}" destId="{56E98031-14F7-4FF4-8CB0-C66FC7DF872F}" srcOrd="1" destOrd="0" presId="urn:microsoft.com/office/officeart/2005/8/layout/cycle2"/>
    <dgm:cxn modelId="{CAC0120F-0F2B-4AAA-906C-EBF674A568AC}" type="presOf" srcId="{A48FC8E7-DEF6-47DD-9FD7-A42C236E411D}" destId="{9851BCFD-6C0F-44EE-A90D-93FA72FAD479}" srcOrd="0" destOrd="0" presId="urn:microsoft.com/office/officeart/2005/8/layout/cycle2"/>
    <dgm:cxn modelId="{A7865607-9104-4991-9795-3CE8831ADD28}" type="presOf" srcId="{FE0AF671-58B1-40F8-8B7A-983E652E7D40}" destId="{0314D0E1-52B0-4957-906A-3DED1FE20AB6}"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5654AABB-A1A6-4A1B-BB51-8041E8EA6DE9}" type="presOf" srcId="{E2CB592C-1787-44C9-8686-4F00CBFA5CB1}" destId="{00C6A176-9825-494C-8FDD-D407F0EF76CB}" srcOrd="0" destOrd="0" presId="urn:microsoft.com/office/officeart/2005/8/layout/cycle2"/>
    <dgm:cxn modelId="{50F66BED-C9D4-4622-A7D1-7DBF02EB52AD}" type="presOf" srcId="{315727AA-F8CB-4FAC-81F0-3D8F3BB1B56E}" destId="{FEA59801-9672-4D23-8192-A605C46BE70F}" srcOrd="0" destOrd="0" presId="urn:microsoft.com/office/officeart/2005/8/layout/cycle2"/>
    <dgm:cxn modelId="{ECB94A47-5166-4410-BFBD-FA0E16542C7F}" type="presOf" srcId="{315727AA-F8CB-4FAC-81F0-3D8F3BB1B56E}" destId="{1AFE4D34-A1BE-488A-9816-71CABDC842F3}" srcOrd="1" destOrd="0" presId="urn:microsoft.com/office/officeart/2005/8/layout/cycle2"/>
    <dgm:cxn modelId="{A477D269-5497-4F94-B5B5-07334BA47EC1}" type="presOf" srcId="{D5290F46-685B-42D9-A176-CA6370062CB6}" destId="{342C44B1-3496-43E6-B7A3-2E7DE47A0EB1}" srcOrd="0" destOrd="0" presId="urn:microsoft.com/office/officeart/2005/8/layout/cycle2"/>
    <dgm:cxn modelId="{16334DB0-5A13-48D9-AF86-E20091A68C02}" type="presOf" srcId="{7630EC86-B5D2-4E6A-906C-EC36BCBD2F9B}" destId="{8F1FDF32-78E0-4ED1-970D-21E8309CEF5A}" srcOrd="0" destOrd="0" presId="urn:microsoft.com/office/officeart/2005/8/layout/cycle2"/>
    <dgm:cxn modelId="{2F1D0235-07B1-4DD8-9EB7-235B72DE0E46}" type="presOf" srcId="{20D4FDE3-C196-41C9-8DB2-EF038981D495}" destId="{48C0BD33-5F17-45F5-9058-93C87A9DDC1F}" srcOrd="0" destOrd="0" presId="urn:microsoft.com/office/officeart/2005/8/layout/cycle2"/>
    <dgm:cxn modelId="{290C7723-3B01-42FC-87F3-A2643524AAD9}" type="presOf" srcId="{91162D75-99DA-487C-940D-DAE8D13C4447}" destId="{157C4094-4D48-4CA4-8FE3-C846251355F5}"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18C3D8FE-BE3A-4CDB-AEFC-C76C7D72DADC}" srcId="{FE0AF671-58B1-40F8-8B7A-983E652E7D40}" destId="{4D369322-CA3E-425E-AC5C-D9DEAEAC5E3C}" srcOrd="10" destOrd="0" parTransId="{2F3F6BF3-18D4-4D23-9378-A2C8486CF639}" sibTransId="{315727AA-F8CB-4FAC-81F0-3D8F3BB1B56E}"/>
    <dgm:cxn modelId="{8EF88D39-48BB-4671-9DA0-C18F60812CFF}" type="presOf" srcId="{4AB5C3AA-E12D-487A-99B0-D76EFF1AB462}" destId="{B05F7D2C-D848-4E12-98C6-11FDD917CB93}" srcOrd="0" destOrd="0" presId="urn:microsoft.com/office/officeart/2005/8/layout/cycle2"/>
    <dgm:cxn modelId="{1E35A350-8CA1-43DF-ADB2-0B9238C3BE83}" type="presOf" srcId="{C1163CC9-4ECF-4D31-855C-26A2B3DCC5C4}" destId="{4C7C445F-E1C6-4F7A-821E-F674A343F87A}" srcOrd="0" destOrd="0" presId="urn:microsoft.com/office/officeart/2005/8/layout/cycle2"/>
    <dgm:cxn modelId="{61014165-4AEB-437F-8C03-9F9E448F8FD9}" type="presOf" srcId="{C3EFBD6A-E3EC-4E4A-B112-75A580157B18}" destId="{9336A9F3-2A53-40E9-8F9F-8E4C967B12C1}" srcOrd="0" destOrd="0" presId="urn:microsoft.com/office/officeart/2005/8/layout/cycle2"/>
    <dgm:cxn modelId="{5C7E8612-1B6D-4D20-BE1A-6F79440067E5}" type="presOf" srcId="{EA880416-D651-45A6-84F2-C54398F7B105}" destId="{AA562BA4-1362-4B11-BE12-AAF95F9B0655}" srcOrd="0" destOrd="0" presId="urn:microsoft.com/office/officeart/2005/8/layout/cycle2"/>
    <dgm:cxn modelId="{D01B428A-E9F6-458F-A967-922A83553031}" type="presOf" srcId="{1A1A6082-1BF4-40F3-BF25-E2599BB53BFA}" destId="{CF57B3AA-9D23-4D82-8D72-1A4D072C9CF6}" srcOrd="0" destOrd="0" presId="urn:microsoft.com/office/officeart/2005/8/layout/cycle2"/>
    <dgm:cxn modelId="{B9D44E10-38BE-47DF-B07D-FF4359A4043D}" type="presOf" srcId="{DCEF1A9F-ED00-4444-8E7D-348279B7611D}" destId="{BB722067-4A31-4156-9489-71E129EF8E43}"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AAEDF184-247A-4C4E-AA12-B3CB635433D7}" type="presOf" srcId="{B9C095A4-09B3-4524-A547-0933F3DD34F1}" destId="{5E517795-696C-4478-8F77-24582CDCDF88}"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FB5D08DD-96A5-4CAB-A129-02271E24E332}" type="presParOf" srcId="{0314D0E1-52B0-4957-906A-3DED1FE20AB6}" destId="{6B1C954F-37B9-4616-8073-9C538A00A4CD}" srcOrd="0" destOrd="0" presId="urn:microsoft.com/office/officeart/2005/8/layout/cycle2"/>
    <dgm:cxn modelId="{7ED02DB7-1DCA-400D-BCB1-7432563F4F8E}" type="presParOf" srcId="{0314D0E1-52B0-4957-906A-3DED1FE20AB6}" destId="{CF57B3AA-9D23-4D82-8D72-1A4D072C9CF6}" srcOrd="1" destOrd="0" presId="urn:microsoft.com/office/officeart/2005/8/layout/cycle2"/>
    <dgm:cxn modelId="{0587A5A9-298D-41BE-AA83-C2EF35FF9ED6}" type="presParOf" srcId="{CF57B3AA-9D23-4D82-8D72-1A4D072C9CF6}" destId="{2546BF50-5AD8-40D0-A01F-A649CF2327DE}" srcOrd="0" destOrd="0" presId="urn:microsoft.com/office/officeart/2005/8/layout/cycle2"/>
    <dgm:cxn modelId="{CD3F62B8-97C6-4560-A06A-B4C86BD11573}" type="presParOf" srcId="{0314D0E1-52B0-4957-906A-3DED1FE20AB6}" destId="{83195273-D2D4-405D-A258-93AFE8C7BE7A}" srcOrd="2" destOrd="0" presId="urn:microsoft.com/office/officeart/2005/8/layout/cycle2"/>
    <dgm:cxn modelId="{2387D1A8-07B5-4F88-9DFC-3B13CBB0F69F}" type="presParOf" srcId="{0314D0E1-52B0-4957-906A-3DED1FE20AB6}" destId="{798A8C5B-4663-468B-BDAB-5BC0D323EF4E}" srcOrd="3" destOrd="0" presId="urn:microsoft.com/office/officeart/2005/8/layout/cycle2"/>
    <dgm:cxn modelId="{34DB0DDA-2427-49B9-A08D-2F897D4833E1}" type="presParOf" srcId="{798A8C5B-4663-468B-BDAB-5BC0D323EF4E}" destId="{6C754846-F75A-4A89-A242-6671D8DDC5A9}" srcOrd="0" destOrd="0" presId="urn:microsoft.com/office/officeart/2005/8/layout/cycle2"/>
    <dgm:cxn modelId="{6ADA13D9-DE6B-471A-9783-01CD42C81603}" type="presParOf" srcId="{0314D0E1-52B0-4957-906A-3DED1FE20AB6}" destId="{B05F7D2C-D848-4E12-98C6-11FDD917CB93}" srcOrd="4" destOrd="0" presId="urn:microsoft.com/office/officeart/2005/8/layout/cycle2"/>
    <dgm:cxn modelId="{DACB7EEC-3E63-45B9-9D86-A9B8E84E0BA5}" type="presParOf" srcId="{0314D0E1-52B0-4957-906A-3DED1FE20AB6}" destId="{342C44B1-3496-43E6-B7A3-2E7DE47A0EB1}" srcOrd="5" destOrd="0" presId="urn:microsoft.com/office/officeart/2005/8/layout/cycle2"/>
    <dgm:cxn modelId="{06566F7B-069C-4B6F-9F1E-EB5A2D26E2FA}" type="presParOf" srcId="{342C44B1-3496-43E6-B7A3-2E7DE47A0EB1}" destId="{EFE96AD8-1B36-480F-B9D4-5217307D065E}" srcOrd="0" destOrd="0" presId="urn:microsoft.com/office/officeart/2005/8/layout/cycle2"/>
    <dgm:cxn modelId="{D5D68AFC-116C-41D7-A273-424CA5D87AC0}" type="presParOf" srcId="{0314D0E1-52B0-4957-906A-3DED1FE20AB6}" destId="{AEC3BFE0-4A84-4A7A-9D2A-077ED9AD905B}" srcOrd="6" destOrd="0" presId="urn:microsoft.com/office/officeart/2005/8/layout/cycle2"/>
    <dgm:cxn modelId="{077B78D8-CB4B-42FF-A7C9-430571131B6D}" type="presParOf" srcId="{0314D0E1-52B0-4957-906A-3DED1FE20AB6}" destId="{BB722067-4A31-4156-9489-71E129EF8E43}" srcOrd="7" destOrd="0" presId="urn:microsoft.com/office/officeart/2005/8/layout/cycle2"/>
    <dgm:cxn modelId="{18D14D9D-3D46-4F66-B662-801906B04A77}" type="presParOf" srcId="{BB722067-4A31-4156-9489-71E129EF8E43}" destId="{A40E58EC-493C-4310-A857-E6D93F3F5222}" srcOrd="0" destOrd="0" presId="urn:microsoft.com/office/officeart/2005/8/layout/cycle2"/>
    <dgm:cxn modelId="{8A1589E1-9D1C-416D-B088-B85568931C0D}" type="presParOf" srcId="{0314D0E1-52B0-4957-906A-3DED1FE20AB6}" destId="{157C4094-4D48-4CA4-8FE3-C846251355F5}" srcOrd="8" destOrd="0" presId="urn:microsoft.com/office/officeart/2005/8/layout/cycle2"/>
    <dgm:cxn modelId="{F09E6FB1-77D9-431A-9ECB-27F3826E3E0C}" type="presParOf" srcId="{0314D0E1-52B0-4957-906A-3DED1FE20AB6}" destId="{9347F69F-9A85-4B8D-9DE5-233494D2AF22}" srcOrd="9" destOrd="0" presId="urn:microsoft.com/office/officeart/2005/8/layout/cycle2"/>
    <dgm:cxn modelId="{61042D30-E665-45DF-A309-E3090AA34B06}" type="presParOf" srcId="{9347F69F-9A85-4B8D-9DE5-233494D2AF22}" destId="{7EFAF541-47AF-4C3C-9CFE-C8EF5507A27C}" srcOrd="0" destOrd="0" presId="urn:microsoft.com/office/officeart/2005/8/layout/cycle2"/>
    <dgm:cxn modelId="{AB743987-AFEF-4016-BA84-0FA64B5BF2DB}" type="presParOf" srcId="{0314D0E1-52B0-4957-906A-3DED1FE20AB6}" destId="{5E517795-696C-4478-8F77-24582CDCDF88}" srcOrd="10" destOrd="0" presId="urn:microsoft.com/office/officeart/2005/8/layout/cycle2"/>
    <dgm:cxn modelId="{DAA70619-3000-41FF-9A62-AC766F7ED0F6}" type="presParOf" srcId="{0314D0E1-52B0-4957-906A-3DED1FE20AB6}" destId="{48C0BD33-5F17-45F5-9058-93C87A9DDC1F}" srcOrd="11" destOrd="0" presId="urn:microsoft.com/office/officeart/2005/8/layout/cycle2"/>
    <dgm:cxn modelId="{A491DB7D-0AB9-496F-BA86-E6345D61DE7C}" type="presParOf" srcId="{48C0BD33-5F17-45F5-9058-93C87A9DDC1F}" destId="{B1CEE351-6D90-4A79-B4AC-9CB274EA73AC}" srcOrd="0" destOrd="0" presId="urn:microsoft.com/office/officeart/2005/8/layout/cycle2"/>
    <dgm:cxn modelId="{56C9D98C-23CB-47F2-AB7E-B74A23A83497}" type="presParOf" srcId="{0314D0E1-52B0-4957-906A-3DED1FE20AB6}" destId="{23AEF67E-B71E-4BFF-8274-B39880BE8995}" srcOrd="12" destOrd="0" presId="urn:microsoft.com/office/officeart/2005/8/layout/cycle2"/>
    <dgm:cxn modelId="{B02BE17B-3328-4BB9-876E-4940C4963616}" type="presParOf" srcId="{0314D0E1-52B0-4957-906A-3DED1FE20AB6}" destId="{9851BCFD-6C0F-44EE-A90D-93FA72FAD479}" srcOrd="13" destOrd="0" presId="urn:microsoft.com/office/officeart/2005/8/layout/cycle2"/>
    <dgm:cxn modelId="{0305F004-26E1-4112-A0A7-36F609E91021}" type="presParOf" srcId="{9851BCFD-6C0F-44EE-A90D-93FA72FAD479}" destId="{587F2F10-0AE6-474A-8CEB-4172CC329BE3}" srcOrd="0" destOrd="0" presId="urn:microsoft.com/office/officeart/2005/8/layout/cycle2"/>
    <dgm:cxn modelId="{4919411B-837A-4D25-9DD7-FF77CA4E1E06}" type="presParOf" srcId="{0314D0E1-52B0-4957-906A-3DED1FE20AB6}" destId="{9336A9F3-2A53-40E9-8F9F-8E4C967B12C1}" srcOrd="14" destOrd="0" presId="urn:microsoft.com/office/officeart/2005/8/layout/cycle2"/>
    <dgm:cxn modelId="{932AAA7C-4F1A-4668-8F36-5B9274AE250E}" type="presParOf" srcId="{0314D0E1-52B0-4957-906A-3DED1FE20AB6}" destId="{80B8A62C-CA65-4F7F-B3E1-E47A6F8DBF28}" srcOrd="15" destOrd="0" presId="urn:microsoft.com/office/officeart/2005/8/layout/cycle2"/>
    <dgm:cxn modelId="{A53C3FC9-CBFD-4FB4-94E6-42B0688CB50F}" type="presParOf" srcId="{80B8A62C-CA65-4F7F-B3E1-E47A6F8DBF28}" destId="{D0FD9655-5A6C-4F6C-98FD-3B2D55F73505}" srcOrd="0" destOrd="0" presId="urn:microsoft.com/office/officeart/2005/8/layout/cycle2"/>
    <dgm:cxn modelId="{F52527F5-BC44-41E2-BFD3-4C8492A382CB}" type="presParOf" srcId="{0314D0E1-52B0-4957-906A-3DED1FE20AB6}" destId="{AA562BA4-1362-4B11-BE12-AAF95F9B0655}" srcOrd="16" destOrd="0" presId="urn:microsoft.com/office/officeart/2005/8/layout/cycle2"/>
    <dgm:cxn modelId="{8A2FF61A-E1AD-4A10-A491-32B8E9764970}" type="presParOf" srcId="{0314D0E1-52B0-4957-906A-3DED1FE20AB6}" destId="{8F1FDF32-78E0-4ED1-970D-21E8309CEF5A}" srcOrd="17" destOrd="0" presId="urn:microsoft.com/office/officeart/2005/8/layout/cycle2"/>
    <dgm:cxn modelId="{27FAECEF-736D-4863-93B8-F486FBE0CD7B}" type="presParOf" srcId="{8F1FDF32-78E0-4ED1-970D-21E8309CEF5A}" destId="{56E98031-14F7-4FF4-8CB0-C66FC7DF872F}" srcOrd="0" destOrd="0" presId="urn:microsoft.com/office/officeart/2005/8/layout/cycle2"/>
    <dgm:cxn modelId="{48E877B9-6CEB-4065-82EC-71CD5A569779}" type="presParOf" srcId="{0314D0E1-52B0-4957-906A-3DED1FE20AB6}" destId="{4C7C445F-E1C6-4F7A-821E-F674A343F87A}" srcOrd="18" destOrd="0" presId="urn:microsoft.com/office/officeart/2005/8/layout/cycle2"/>
    <dgm:cxn modelId="{7A80D6D6-43E5-48DA-B686-7C5A2AC14666}" type="presParOf" srcId="{0314D0E1-52B0-4957-906A-3DED1FE20AB6}" destId="{00C6A176-9825-494C-8FDD-D407F0EF76CB}" srcOrd="19" destOrd="0" presId="urn:microsoft.com/office/officeart/2005/8/layout/cycle2"/>
    <dgm:cxn modelId="{36EBA15E-DB9E-4215-8AD8-C0C6C176B9AE}" type="presParOf" srcId="{00C6A176-9825-494C-8FDD-D407F0EF76CB}" destId="{45B6EB01-0DBC-44EB-8631-D6071B6D84B4}" srcOrd="0" destOrd="0" presId="urn:microsoft.com/office/officeart/2005/8/layout/cycle2"/>
    <dgm:cxn modelId="{C28BBC91-6E67-47E6-843D-5F2079EB4F2F}" type="presParOf" srcId="{0314D0E1-52B0-4957-906A-3DED1FE20AB6}" destId="{9B0B857B-DA14-4DB2-9764-FAEA0033B125}" srcOrd="20" destOrd="0" presId="urn:microsoft.com/office/officeart/2005/8/layout/cycle2"/>
    <dgm:cxn modelId="{61F6C2DF-A407-45D5-A009-725A2D7290A4}" type="presParOf" srcId="{0314D0E1-52B0-4957-906A-3DED1FE20AB6}" destId="{FEA59801-9672-4D23-8192-A605C46BE70F}" srcOrd="21" destOrd="0" presId="urn:microsoft.com/office/officeart/2005/8/layout/cycle2"/>
    <dgm:cxn modelId="{19B81B75-9CA0-4BDB-9210-80F3042A8771}"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BB651C03-0CE0-48A5-9717-2D8F3D51356F}" type="presOf" srcId="{4D369322-CA3E-425E-AC5C-D9DEAEAC5E3C}" destId="{9B0B857B-DA14-4DB2-9764-FAEA0033B125}" srcOrd="0" destOrd="0" presId="urn:microsoft.com/office/officeart/2005/8/layout/cycle2"/>
    <dgm:cxn modelId="{15370B23-4558-4674-AD6E-55AF53204578}" type="presOf" srcId="{20D4FDE3-C196-41C9-8DB2-EF038981D495}" destId="{48C0BD33-5F17-45F5-9058-93C87A9DDC1F}" srcOrd="0"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58EDE127-5C44-4304-9378-05D6F7B79EF9}" type="presOf" srcId="{DCEF1A9F-ED00-4444-8E7D-348279B7611D}" destId="{BB722067-4A31-4156-9489-71E129EF8E43}" srcOrd="0" destOrd="0" presId="urn:microsoft.com/office/officeart/2005/8/layout/cycle2"/>
    <dgm:cxn modelId="{FAA9CC09-254A-4231-851A-BB2B43789A77}" type="presOf" srcId="{275AFB5B-A843-4E45-89A6-0D625719EC18}" destId="{AEC3BFE0-4A84-4A7A-9D2A-077ED9AD905B}" srcOrd="0" destOrd="0" presId="urn:microsoft.com/office/officeart/2005/8/layout/cycle2"/>
    <dgm:cxn modelId="{AADBEE25-24AC-4A84-9E6C-17728AB5F1F8}" type="presOf" srcId="{91162D75-99DA-487C-940D-DAE8D13C4447}" destId="{157C4094-4D48-4CA4-8FE3-C846251355F5}" srcOrd="0" destOrd="0" presId="urn:microsoft.com/office/officeart/2005/8/layout/cycle2"/>
    <dgm:cxn modelId="{90FDFEF2-FD0F-4DE4-BF7E-0B660BEBCF9F}" type="presOf" srcId="{BF32EDA5-B1A7-4C67-9DEE-B0EFED1F5B2B}" destId="{798A8C5B-4663-468B-BDAB-5BC0D323EF4E}" srcOrd="0" destOrd="0" presId="urn:microsoft.com/office/officeart/2005/8/layout/cycle2"/>
    <dgm:cxn modelId="{3E41B5D8-43B7-426D-84B4-1CA4F8C59C68}" type="presOf" srcId="{FE0AF671-58B1-40F8-8B7A-983E652E7D40}" destId="{0314D0E1-52B0-4957-906A-3DED1FE20AB6}"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5E1D35B1-5C4C-4B0D-B014-D36458DD126E}" type="presOf" srcId="{BF32EDA5-B1A7-4C67-9DEE-B0EFED1F5B2B}" destId="{6C754846-F75A-4A89-A242-6671D8DDC5A9}" srcOrd="1" destOrd="0" presId="urn:microsoft.com/office/officeart/2005/8/layout/cycle2"/>
    <dgm:cxn modelId="{8932AC0C-BF55-4B85-9326-2DE3F2A0C053}" type="presOf" srcId="{0E50710D-2BD5-4826-B9D1-2870E5EAFE57}" destId="{D0FD9655-5A6C-4F6C-98FD-3B2D55F73505}" srcOrd="1" destOrd="0" presId="urn:microsoft.com/office/officeart/2005/8/layout/cycle2"/>
    <dgm:cxn modelId="{80803BF4-57E2-47B8-BD19-FBC9DEFDB444}" type="presOf" srcId="{36CA222D-1275-4473-881C-488A61C55835}" destId="{9347F69F-9A85-4B8D-9DE5-233494D2AF22}" srcOrd="0" destOrd="0" presId="urn:microsoft.com/office/officeart/2005/8/layout/cycle2"/>
    <dgm:cxn modelId="{9439A490-6540-4167-8F54-B354AE5C4685}" type="presOf" srcId="{B9D5BAA1-0541-416B-9895-A63D7BC366EC}" destId="{6B1C954F-37B9-4616-8073-9C538A00A4CD}" srcOrd="0" destOrd="0" presId="urn:microsoft.com/office/officeart/2005/8/layout/cycle2"/>
    <dgm:cxn modelId="{758C007D-B72D-4625-96FC-9CF494F000D0}" type="presOf" srcId="{315727AA-F8CB-4FAC-81F0-3D8F3BB1B56E}" destId="{1AFE4D34-A1BE-488A-9816-71CABDC842F3}" srcOrd="1" destOrd="0" presId="urn:microsoft.com/office/officeart/2005/8/layout/cycle2"/>
    <dgm:cxn modelId="{B541388D-5C3B-4808-B87F-F5DE53E3ABF0}" type="presOf" srcId="{A48FC8E7-DEF6-47DD-9FD7-A42C236E411D}" destId="{9851BCFD-6C0F-44EE-A90D-93FA72FAD479}" srcOrd="0" destOrd="0" presId="urn:microsoft.com/office/officeart/2005/8/layout/cycle2"/>
    <dgm:cxn modelId="{74B5D1AE-C143-476A-AD24-04068219FE8B}" type="presOf" srcId="{C3EFBD6A-E3EC-4E4A-B112-75A580157B18}" destId="{9336A9F3-2A53-40E9-8F9F-8E4C967B12C1}" srcOrd="0" destOrd="0" presId="urn:microsoft.com/office/officeart/2005/8/layout/cycle2"/>
    <dgm:cxn modelId="{8055B73C-431E-4276-B852-4435292B83ED}" type="presOf" srcId="{20D4FDE3-C196-41C9-8DB2-EF038981D495}" destId="{B1CEE351-6D90-4A79-B4AC-9CB274EA73AC}" srcOrd="1" destOrd="0" presId="urn:microsoft.com/office/officeart/2005/8/layout/cycle2"/>
    <dgm:cxn modelId="{49B4AB4D-AF44-4924-9412-48A5A309A918}" type="presOf" srcId="{4AB5C3AA-E12D-487A-99B0-D76EFF1AB462}" destId="{B05F7D2C-D848-4E12-98C6-11FDD917CB93}" srcOrd="0" destOrd="0" presId="urn:microsoft.com/office/officeart/2005/8/layout/cycle2"/>
    <dgm:cxn modelId="{9E13CB9C-32DF-4719-A5D3-207139C77640}" type="presOf" srcId="{D5290F46-685B-42D9-A176-CA6370062CB6}" destId="{EFE96AD8-1B36-480F-B9D4-5217307D065E}" srcOrd="1" destOrd="0" presId="urn:microsoft.com/office/officeart/2005/8/layout/cycle2"/>
    <dgm:cxn modelId="{A9F33C86-14D2-49F5-AB4F-593C7B8FB7D9}" type="presOf" srcId="{E2CB592C-1787-44C9-8686-4F00CBFA5CB1}" destId="{45B6EB01-0DBC-44EB-8631-D6071B6D84B4}" srcOrd="1" destOrd="0" presId="urn:microsoft.com/office/officeart/2005/8/layout/cycle2"/>
    <dgm:cxn modelId="{4DC2CA7E-53F6-489F-8E04-F4065A42CD6D}" type="presOf" srcId="{6A94E007-355E-4DF8-8BC8-31F5F07906F8}" destId="{23AEF67E-B71E-4BFF-8274-B39880BE8995}"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4CA152BB-78DC-4080-8957-A82AC32B5458}" type="presOf" srcId="{7630EC86-B5D2-4E6A-906C-EC36BCBD2F9B}" destId="{56E98031-14F7-4FF4-8CB0-C66FC7DF872F}" srcOrd="1"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5E5672F5-9D7B-4B03-B229-758E0011DC11}" type="presOf" srcId="{B9C095A4-09B3-4524-A547-0933F3DD34F1}" destId="{5E517795-696C-4478-8F77-24582CDCDF88}" srcOrd="0" destOrd="0" presId="urn:microsoft.com/office/officeart/2005/8/layout/cycle2"/>
    <dgm:cxn modelId="{79FB306A-614F-4C5F-9031-E19313F23CA3}" type="presOf" srcId="{EA880416-D651-45A6-84F2-C54398F7B105}" destId="{AA562BA4-1362-4B11-BE12-AAF95F9B0655}" srcOrd="0" destOrd="0" presId="urn:microsoft.com/office/officeart/2005/8/layout/cycle2"/>
    <dgm:cxn modelId="{8ED63B02-A30D-4E4C-8439-CEF9D368A79D}" type="presOf" srcId="{1A1A6082-1BF4-40F3-BF25-E2599BB53BFA}" destId="{2546BF50-5AD8-40D0-A01F-A649CF2327DE}" srcOrd="1" destOrd="0" presId="urn:microsoft.com/office/officeart/2005/8/layout/cycle2"/>
    <dgm:cxn modelId="{08FF1149-BF39-43E6-A4CD-6A5928842C2D}" type="presOf" srcId="{36CA222D-1275-4473-881C-488A61C55835}" destId="{7EFAF541-47AF-4C3C-9CFE-C8EF5507A27C}" srcOrd="1" destOrd="0" presId="urn:microsoft.com/office/officeart/2005/8/layout/cycle2"/>
    <dgm:cxn modelId="{6F75C3AA-AB0B-4FDB-AD6B-8B3611E99B9B}" type="presOf" srcId="{0E50710D-2BD5-4826-B9D1-2870E5EAFE57}" destId="{80B8A62C-CA65-4F7F-B3E1-E47A6F8DBF28}" srcOrd="0" destOrd="0" presId="urn:microsoft.com/office/officeart/2005/8/layout/cycle2"/>
    <dgm:cxn modelId="{8805FF15-23C4-469E-B17C-260030CA14E7}" type="presOf" srcId="{A48FC8E7-DEF6-47DD-9FD7-A42C236E411D}" destId="{587F2F10-0AE6-474A-8CEB-4172CC329BE3}" srcOrd="1"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9A3C2B1E-44F9-469C-A7BC-5A1AD392331C}" srcId="{FE0AF671-58B1-40F8-8B7A-983E652E7D40}" destId="{C3EFBD6A-E3EC-4E4A-B112-75A580157B18}" srcOrd="7" destOrd="0" parTransId="{3612719D-4FCA-4865-A190-987513537793}" sibTransId="{0E50710D-2BD5-4826-B9D1-2870E5EAFE57}"/>
    <dgm:cxn modelId="{2EEE379F-04E6-4E62-96F5-15A84C78FB81}" type="presOf" srcId="{C1163CC9-4ECF-4D31-855C-26A2B3DCC5C4}" destId="{4C7C445F-E1C6-4F7A-821E-F674A343F87A}" srcOrd="0" destOrd="0" presId="urn:microsoft.com/office/officeart/2005/8/layout/cycle2"/>
    <dgm:cxn modelId="{AEB7EDE5-1D16-475A-B61C-CBF7CFCC2F0F}" srcId="{FE0AF671-58B1-40F8-8B7A-983E652E7D40}" destId="{C1163CC9-4ECF-4D31-855C-26A2B3DCC5C4}" srcOrd="9" destOrd="0" parTransId="{B8FEF4D3-4E21-4BAE-801E-7205F8E8EF77}" sibTransId="{E2CB592C-1787-44C9-8686-4F00CBFA5CB1}"/>
    <dgm:cxn modelId="{AB65C994-5DF7-462A-889A-F14A4D49B130}" type="presOf" srcId="{1A1A6082-1BF4-40F3-BF25-E2599BB53BFA}" destId="{CF57B3AA-9D23-4D82-8D72-1A4D072C9CF6}" srcOrd="0" destOrd="0" presId="urn:microsoft.com/office/officeart/2005/8/layout/cycle2"/>
    <dgm:cxn modelId="{D1E2A9AE-07D2-43A3-8118-18908EE8D816}" type="presOf" srcId="{E8860603-B54B-464D-847C-F39AD96130A4}" destId="{83195273-D2D4-405D-A258-93AFE8C7BE7A}"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6154CC6B-0E53-4994-BC7E-4E2270102012}" type="presOf" srcId="{E2CB592C-1787-44C9-8686-4F00CBFA5CB1}" destId="{00C6A176-9825-494C-8FDD-D407F0EF76CB}"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59127B14-901C-4ABC-8258-94B0E03EFCEA}" type="presOf" srcId="{D5290F46-685B-42D9-A176-CA6370062CB6}" destId="{342C44B1-3496-43E6-B7A3-2E7DE47A0EB1}" srcOrd="0" destOrd="0" presId="urn:microsoft.com/office/officeart/2005/8/layout/cycle2"/>
    <dgm:cxn modelId="{4FB0CCC0-F25E-4277-9C63-0016B940E61F}" type="presOf" srcId="{DCEF1A9F-ED00-4444-8E7D-348279B7611D}" destId="{A40E58EC-493C-4310-A857-E6D93F3F5222}" srcOrd="1"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1D064A05-48DD-45D3-9DC7-EEB9329B5EC4}" srcId="{FE0AF671-58B1-40F8-8B7A-983E652E7D40}" destId="{91162D75-99DA-487C-940D-DAE8D13C4447}" srcOrd="4" destOrd="0" parTransId="{80DE664A-ECD6-4435-A4B2-FD6572B36AF8}" sibTransId="{36CA222D-1275-4473-881C-488A61C55835}"/>
    <dgm:cxn modelId="{340D41B8-CE2A-44B9-B18B-3AC449A21964}" type="presOf" srcId="{315727AA-F8CB-4FAC-81F0-3D8F3BB1B56E}" destId="{FEA59801-9672-4D23-8192-A605C46BE70F}" srcOrd="0" destOrd="0" presId="urn:microsoft.com/office/officeart/2005/8/layout/cycle2"/>
    <dgm:cxn modelId="{71119ABF-79A8-4CD5-9051-1836E6344662}" type="presOf" srcId="{7630EC86-B5D2-4E6A-906C-EC36BCBD2F9B}" destId="{8F1FDF32-78E0-4ED1-970D-21E8309CEF5A}" srcOrd="0" destOrd="0" presId="urn:microsoft.com/office/officeart/2005/8/layout/cycle2"/>
    <dgm:cxn modelId="{F881A546-D4D9-4EBA-8A9E-3726AE105AB7}" type="presParOf" srcId="{0314D0E1-52B0-4957-906A-3DED1FE20AB6}" destId="{6B1C954F-37B9-4616-8073-9C538A00A4CD}" srcOrd="0" destOrd="0" presId="urn:microsoft.com/office/officeart/2005/8/layout/cycle2"/>
    <dgm:cxn modelId="{C38AF018-0EF6-4DBA-9819-6EC5E86F8DEB}" type="presParOf" srcId="{0314D0E1-52B0-4957-906A-3DED1FE20AB6}" destId="{CF57B3AA-9D23-4D82-8D72-1A4D072C9CF6}" srcOrd="1" destOrd="0" presId="urn:microsoft.com/office/officeart/2005/8/layout/cycle2"/>
    <dgm:cxn modelId="{79124ECC-7DF5-4E25-AEBC-5BF326D24A03}" type="presParOf" srcId="{CF57B3AA-9D23-4D82-8D72-1A4D072C9CF6}" destId="{2546BF50-5AD8-40D0-A01F-A649CF2327DE}" srcOrd="0" destOrd="0" presId="urn:microsoft.com/office/officeart/2005/8/layout/cycle2"/>
    <dgm:cxn modelId="{FF87284F-6296-48EB-8F89-330080AB6556}" type="presParOf" srcId="{0314D0E1-52B0-4957-906A-3DED1FE20AB6}" destId="{83195273-D2D4-405D-A258-93AFE8C7BE7A}" srcOrd="2" destOrd="0" presId="urn:microsoft.com/office/officeart/2005/8/layout/cycle2"/>
    <dgm:cxn modelId="{8C143C21-C21F-4383-B339-7890A55ED241}" type="presParOf" srcId="{0314D0E1-52B0-4957-906A-3DED1FE20AB6}" destId="{798A8C5B-4663-468B-BDAB-5BC0D323EF4E}" srcOrd="3" destOrd="0" presId="urn:microsoft.com/office/officeart/2005/8/layout/cycle2"/>
    <dgm:cxn modelId="{D0278AB7-0B1C-498F-91A3-DBF10D34160C}" type="presParOf" srcId="{798A8C5B-4663-468B-BDAB-5BC0D323EF4E}" destId="{6C754846-F75A-4A89-A242-6671D8DDC5A9}" srcOrd="0" destOrd="0" presId="urn:microsoft.com/office/officeart/2005/8/layout/cycle2"/>
    <dgm:cxn modelId="{659AE615-A438-4512-AF96-05C4DEA2AB9E}" type="presParOf" srcId="{0314D0E1-52B0-4957-906A-3DED1FE20AB6}" destId="{B05F7D2C-D848-4E12-98C6-11FDD917CB93}" srcOrd="4" destOrd="0" presId="urn:microsoft.com/office/officeart/2005/8/layout/cycle2"/>
    <dgm:cxn modelId="{C06AD343-6386-4F29-B98C-CE7E518D3F6E}" type="presParOf" srcId="{0314D0E1-52B0-4957-906A-3DED1FE20AB6}" destId="{342C44B1-3496-43E6-B7A3-2E7DE47A0EB1}" srcOrd="5" destOrd="0" presId="urn:microsoft.com/office/officeart/2005/8/layout/cycle2"/>
    <dgm:cxn modelId="{2F95F4E5-40DC-4DC1-B1D9-3C559B7B4613}" type="presParOf" srcId="{342C44B1-3496-43E6-B7A3-2E7DE47A0EB1}" destId="{EFE96AD8-1B36-480F-B9D4-5217307D065E}" srcOrd="0" destOrd="0" presId="urn:microsoft.com/office/officeart/2005/8/layout/cycle2"/>
    <dgm:cxn modelId="{09641BE9-BF88-40A9-A696-94BDCC58563D}" type="presParOf" srcId="{0314D0E1-52B0-4957-906A-3DED1FE20AB6}" destId="{AEC3BFE0-4A84-4A7A-9D2A-077ED9AD905B}" srcOrd="6" destOrd="0" presId="urn:microsoft.com/office/officeart/2005/8/layout/cycle2"/>
    <dgm:cxn modelId="{421AAC88-2F90-4F97-A2CB-E17BB46CBEBE}" type="presParOf" srcId="{0314D0E1-52B0-4957-906A-3DED1FE20AB6}" destId="{BB722067-4A31-4156-9489-71E129EF8E43}" srcOrd="7" destOrd="0" presId="urn:microsoft.com/office/officeart/2005/8/layout/cycle2"/>
    <dgm:cxn modelId="{2860C690-ADA5-4D21-9A24-AB4627749A18}" type="presParOf" srcId="{BB722067-4A31-4156-9489-71E129EF8E43}" destId="{A40E58EC-493C-4310-A857-E6D93F3F5222}" srcOrd="0" destOrd="0" presId="urn:microsoft.com/office/officeart/2005/8/layout/cycle2"/>
    <dgm:cxn modelId="{67BAE02F-6FEF-4CC1-94FE-FA0C0A5508D9}" type="presParOf" srcId="{0314D0E1-52B0-4957-906A-3DED1FE20AB6}" destId="{157C4094-4D48-4CA4-8FE3-C846251355F5}" srcOrd="8" destOrd="0" presId="urn:microsoft.com/office/officeart/2005/8/layout/cycle2"/>
    <dgm:cxn modelId="{1ED006F3-ACDD-4E62-B652-22CF022BF3FC}" type="presParOf" srcId="{0314D0E1-52B0-4957-906A-3DED1FE20AB6}" destId="{9347F69F-9A85-4B8D-9DE5-233494D2AF22}" srcOrd="9" destOrd="0" presId="urn:microsoft.com/office/officeart/2005/8/layout/cycle2"/>
    <dgm:cxn modelId="{71C41889-DC2B-4B4A-9B90-325B3D2877EC}" type="presParOf" srcId="{9347F69F-9A85-4B8D-9DE5-233494D2AF22}" destId="{7EFAF541-47AF-4C3C-9CFE-C8EF5507A27C}" srcOrd="0" destOrd="0" presId="urn:microsoft.com/office/officeart/2005/8/layout/cycle2"/>
    <dgm:cxn modelId="{F1581381-680B-4989-ADA2-2D474EF0E6B2}" type="presParOf" srcId="{0314D0E1-52B0-4957-906A-3DED1FE20AB6}" destId="{5E517795-696C-4478-8F77-24582CDCDF88}" srcOrd="10" destOrd="0" presId="urn:microsoft.com/office/officeart/2005/8/layout/cycle2"/>
    <dgm:cxn modelId="{212179EC-24A0-422E-A4D4-C99F8A8DC5DB}" type="presParOf" srcId="{0314D0E1-52B0-4957-906A-3DED1FE20AB6}" destId="{48C0BD33-5F17-45F5-9058-93C87A9DDC1F}" srcOrd="11" destOrd="0" presId="urn:microsoft.com/office/officeart/2005/8/layout/cycle2"/>
    <dgm:cxn modelId="{D8B9C623-C839-482F-91EA-463C52CCC075}" type="presParOf" srcId="{48C0BD33-5F17-45F5-9058-93C87A9DDC1F}" destId="{B1CEE351-6D90-4A79-B4AC-9CB274EA73AC}" srcOrd="0" destOrd="0" presId="urn:microsoft.com/office/officeart/2005/8/layout/cycle2"/>
    <dgm:cxn modelId="{14F580AA-0480-48A1-8EE7-DFC77A7D0ADB}" type="presParOf" srcId="{0314D0E1-52B0-4957-906A-3DED1FE20AB6}" destId="{23AEF67E-B71E-4BFF-8274-B39880BE8995}" srcOrd="12" destOrd="0" presId="urn:microsoft.com/office/officeart/2005/8/layout/cycle2"/>
    <dgm:cxn modelId="{420DF1EB-CE58-4AFA-A34E-6033BF58E73F}" type="presParOf" srcId="{0314D0E1-52B0-4957-906A-3DED1FE20AB6}" destId="{9851BCFD-6C0F-44EE-A90D-93FA72FAD479}" srcOrd="13" destOrd="0" presId="urn:microsoft.com/office/officeart/2005/8/layout/cycle2"/>
    <dgm:cxn modelId="{BB550CEC-EFEF-473A-A51E-FA8AB3885425}" type="presParOf" srcId="{9851BCFD-6C0F-44EE-A90D-93FA72FAD479}" destId="{587F2F10-0AE6-474A-8CEB-4172CC329BE3}" srcOrd="0" destOrd="0" presId="urn:microsoft.com/office/officeart/2005/8/layout/cycle2"/>
    <dgm:cxn modelId="{C09A4CD7-0294-493B-8137-171A261FBA0C}" type="presParOf" srcId="{0314D0E1-52B0-4957-906A-3DED1FE20AB6}" destId="{9336A9F3-2A53-40E9-8F9F-8E4C967B12C1}" srcOrd="14" destOrd="0" presId="urn:microsoft.com/office/officeart/2005/8/layout/cycle2"/>
    <dgm:cxn modelId="{AA98E48B-867B-4E4C-BF7F-464561405E26}" type="presParOf" srcId="{0314D0E1-52B0-4957-906A-3DED1FE20AB6}" destId="{80B8A62C-CA65-4F7F-B3E1-E47A6F8DBF28}" srcOrd="15" destOrd="0" presId="urn:microsoft.com/office/officeart/2005/8/layout/cycle2"/>
    <dgm:cxn modelId="{063E3099-B535-4701-BE40-A5157CD6FAA1}" type="presParOf" srcId="{80B8A62C-CA65-4F7F-B3E1-E47A6F8DBF28}" destId="{D0FD9655-5A6C-4F6C-98FD-3B2D55F73505}" srcOrd="0" destOrd="0" presId="urn:microsoft.com/office/officeart/2005/8/layout/cycle2"/>
    <dgm:cxn modelId="{5C941255-3DB4-4BA8-ACF5-2D26F3D6138A}" type="presParOf" srcId="{0314D0E1-52B0-4957-906A-3DED1FE20AB6}" destId="{AA562BA4-1362-4B11-BE12-AAF95F9B0655}" srcOrd="16" destOrd="0" presId="urn:microsoft.com/office/officeart/2005/8/layout/cycle2"/>
    <dgm:cxn modelId="{F994163E-C7C8-4764-8D25-EF4500B15B2C}" type="presParOf" srcId="{0314D0E1-52B0-4957-906A-3DED1FE20AB6}" destId="{8F1FDF32-78E0-4ED1-970D-21E8309CEF5A}" srcOrd="17" destOrd="0" presId="urn:microsoft.com/office/officeart/2005/8/layout/cycle2"/>
    <dgm:cxn modelId="{DD237BE1-2701-4EF7-A902-4FF164F1192B}" type="presParOf" srcId="{8F1FDF32-78E0-4ED1-970D-21E8309CEF5A}" destId="{56E98031-14F7-4FF4-8CB0-C66FC7DF872F}" srcOrd="0" destOrd="0" presId="urn:microsoft.com/office/officeart/2005/8/layout/cycle2"/>
    <dgm:cxn modelId="{1562D12C-D797-45F1-AB1D-9117B76B5A03}" type="presParOf" srcId="{0314D0E1-52B0-4957-906A-3DED1FE20AB6}" destId="{4C7C445F-E1C6-4F7A-821E-F674A343F87A}" srcOrd="18" destOrd="0" presId="urn:microsoft.com/office/officeart/2005/8/layout/cycle2"/>
    <dgm:cxn modelId="{408F40EB-9A5C-4ED8-9868-91F46E2E920F}" type="presParOf" srcId="{0314D0E1-52B0-4957-906A-3DED1FE20AB6}" destId="{00C6A176-9825-494C-8FDD-D407F0EF76CB}" srcOrd="19" destOrd="0" presId="urn:microsoft.com/office/officeart/2005/8/layout/cycle2"/>
    <dgm:cxn modelId="{38E14ABF-DEE9-4F77-9229-B0C0071FB1AF}" type="presParOf" srcId="{00C6A176-9825-494C-8FDD-D407F0EF76CB}" destId="{45B6EB01-0DBC-44EB-8631-D6071B6D84B4}" srcOrd="0" destOrd="0" presId="urn:microsoft.com/office/officeart/2005/8/layout/cycle2"/>
    <dgm:cxn modelId="{94431448-6939-4A74-ACCA-FF14FB371258}" type="presParOf" srcId="{0314D0E1-52B0-4957-906A-3DED1FE20AB6}" destId="{9B0B857B-DA14-4DB2-9764-FAEA0033B125}" srcOrd="20" destOrd="0" presId="urn:microsoft.com/office/officeart/2005/8/layout/cycle2"/>
    <dgm:cxn modelId="{3B577B0F-F2FD-45A1-B092-6608C21C176D}" type="presParOf" srcId="{0314D0E1-52B0-4957-906A-3DED1FE20AB6}" destId="{FEA59801-9672-4D23-8192-A605C46BE70F}" srcOrd="21" destOrd="0" presId="urn:microsoft.com/office/officeart/2005/8/layout/cycle2"/>
    <dgm:cxn modelId="{8C1AA599-0CC8-48BF-9617-E19E490CCC5B}"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EF4B0DE8-1C26-4B2A-9C6B-AF0240BC7C64}" type="presOf" srcId="{DCEF1A9F-ED00-4444-8E7D-348279B7611D}" destId="{A40E58EC-493C-4310-A857-E6D93F3F5222}"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9DAA83A3-E353-42CE-8A5E-8D6A693C675D}" type="presOf" srcId="{315727AA-F8CB-4FAC-81F0-3D8F3BB1B56E}" destId="{1AFE4D34-A1BE-488A-9816-71CABDC842F3}" srcOrd="1" destOrd="0" presId="urn:microsoft.com/office/officeart/2005/8/layout/cycle2"/>
    <dgm:cxn modelId="{F5E007C0-7510-4285-A170-C328D2E7F987}" type="presOf" srcId="{A48FC8E7-DEF6-47DD-9FD7-A42C236E411D}" destId="{9851BCFD-6C0F-44EE-A90D-93FA72FAD479}" srcOrd="0" destOrd="0" presId="urn:microsoft.com/office/officeart/2005/8/layout/cycle2"/>
    <dgm:cxn modelId="{E60B6A43-6F0D-4942-8EFF-11A74B7F32AE}" type="presOf" srcId="{D5290F46-685B-42D9-A176-CA6370062CB6}" destId="{EFE96AD8-1B36-480F-B9D4-5217307D065E}"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B903A637-96C0-4015-9853-5A2AF225E59D}" type="presOf" srcId="{B9C095A4-09B3-4524-A547-0933F3DD34F1}" destId="{5E517795-696C-4478-8F77-24582CDCDF88}" srcOrd="0" destOrd="0" presId="urn:microsoft.com/office/officeart/2005/8/layout/cycle2"/>
    <dgm:cxn modelId="{B53A00B6-7B12-460A-B1A6-E194AC4C0F6F}" type="presOf" srcId="{91162D75-99DA-487C-940D-DAE8D13C4447}" destId="{157C4094-4D48-4CA4-8FE3-C846251355F5}" srcOrd="0" destOrd="0" presId="urn:microsoft.com/office/officeart/2005/8/layout/cycle2"/>
    <dgm:cxn modelId="{DE3AED5B-2CBE-4109-AF36-F8330B886200}" type="presOf" srcId="{6A94E007-355E-4DF8-8BC8-31F5F07906F8}" destId="{23AEF67E-B71E-4BFF-8274-B39880BE8995}" srcOrd="0" destOrd="0" presId="urn:microsoft.com/office/officeart/2005/8/layout/cycle2"/>
    <dgm:cxn modelId="{2F8431B1-0137-4FE0-90B6-747CFDA93475}" type="presOf" srcId="{4AB5C3AA-E12D-487A-99B0-D76EFF1AB462}" destId="{B05F7D2C-D848-4E12-98C6-11FDD917CB93}" srcOrd="0" destOrd="0" presId="urn:microsoft.com/office/officeart/2005/8/layout/cycle2"/>
    <dgm:cxn modelId="{66D01438-EDB0-4CEA-BCA4-9CDFA6551714}" type="presOf" srcId="{E2CB592C-1787-44C9-8686-4F00CBFA5CB1}" destId="{45B6EB01-0DBC-44EB-8631-D6071B6D84B4}" srcOrd="1"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FC4162BE-091B-40F0-8B4D-FF61E68BF64C}" type="presOf" srcId="{B9D5BAA1-0541-416B-9895-A63D7BC366EC}" destId="{6B1C954F-37B9-4616-8073-9C538A00A4CD}" srcOrd="0" destOrd="0" presId="urn:microsoft.com/office/officeart/2005/8/layout/cycle2"/>
    <dgm:cxn modelId="{472D62D0-FBA0-46EE-B11F-67102E571760}" type="presOf" srcId="{FE0AF671-58B1-40F8-8B7A-983E652E7D40}" destId="{0314D0E1-52B0-4957-906A-3DED1FE20AB6}" srcOrd="0" destOrd="0" presId="urn:microsoft.com/office/officeart/2005/8/layout/cycle2"/>
    <dgm:cxn modelId="{7C00C869-BF99-4442-9D6B-1CCFA0EC811B}" type="presOf" srcId="{7630EC86-B5D2-4E6A-906C-EC36BCBD2F9B}" destId="{56E98031-14F7-4FF4-8CB0-C66FC7DF872F}" srcOrd="1" destOrd="0" presId="urn:microsoft.com/office/officeart/2005/8/layout/cycle2"/>
    <dgm:cxn modelId="{475FD5A3-27C7-4752-AAE3-A884CD47EC74}" type="presOf" srcId="{A48FC8E7-DEF6-47DD-9FD7-A42C236E411D}" destId="{587F2F10-0AE6-474A-8CEB-4172CC329BE3}" srcOrd="1" destOrd="0" presId="urn:microsoft.com/office/officeart/2005/8/layout/cycle2"/>
    <dgm:cxn modelId="{1A4D53C1-CEAF-436B-9D9E-9BF67339F506}" type="presOf" srcId="{36CA222D-1275-4473-881C-488A61C55835}" destId="{9347F69F-9A85-4B8D-9DE5-233494D2AF22}" srcOrd="0" destOrd="0" presId="urn:microsoft.com/office/officeart/2005/8/layout/cycle2"/>
    <dgm:cxn modelId="{33130CAE-74D2-4B97-A9E4-435C237181E0}" type="presOf" srcId="{C1163CC9-4ECF-4D31-855C-26A2B3DCC5C4}" destId="{4C7C445F-E1C6-4F7A-821E-F674A343F87A}" srcOrd="0" destOrd="0" presId="urn:microsoft.com/office/officeart/2005/8/layout/cycle2"/>
    <dgm:cxn modelId="{DE0A92E0-4511-4653-A0FD-2839DAFCD22D}" type="presOf" srcId="{20D4FDE3-C196-41C9-8DB2-EF038981D495}" destId="{B1CEE351-6D90-4A79-B4AC-9CB274EA73AC}" srcOrd="1" destOrd="0" presId="urn:microsoft.com/office/officeart/2005/8/layout/cycle2"/>
    <dgm:cxn modelId="{AEB22493-605E-4521-8AC0-CCCDAFBE2552}" type="presOf" srcId="{7630EC86-B5D2-4E6A-906C-EC36BCBD2F9B}" destId="{8F1FDF32-78E0-4ED1-970D-21E8309CEF5A}" srcOrd="0" destOrd="0" presId="urn:microsoft.com/office/officeart/2005/8/layout/cycle2"/>
    <dgm:cxn modelId="{606DE805-6538-4391-998C-2922890CB9DC}" type="presOf" srcId="{0E50710D-2BD5-4826-B9D1-2870E5EAFE57}" destId="{D0FD9655-5A6C-4F6C-98FD-3B2D55F73505}" srcOrd="1" destOrd="0" presId="urn:microsoft.com/office/officeart/2005/8/layout/cycle2"/>
    <dgm:cxn modelId="{CE805BD5-D73F-4B9C-8E61-C54831F7ECF6}" type="presOf" srcId="{C3EFBD6A-E3EC-4E4A-B112-75A580157B18}" destId="{9336A9F3-2A53-40E9-8F9F-8E4C967B12C1}" srcOrd="0" destOrd="0" presId="urn:microsoft.com/office/officeart/2005/8/layout/cycle2"/>
    <dgm:cxn modelId="{4F16D988-90F8-4B7C-BD7B-4DFE65D8BD8C}" type="presOf" srcId="{DCEF1A9F-ED00-4444-8E7D-348279B7611D}" destId="{BB722067-4A31-4156-9489-71E129EF8E43}"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A20BF461-A51C-4E4B-AE98-ECAD25AF8900}" type="presOf" srcId="{36CA222D-1275-4473-881C-488A61C55835}" destId="{7EFAF541-47AF-4C3C-9CFE-C8EF5507A27C}" srcOrd="1"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8767F20A-90FC-466D-B249-50A5DE2EBFFD}" type="presOf" srcId="{E8860603-B54B-464D-847C-F39AD96130A4}" destId="{83195273-D2D4-405D-A258-93AFE8C7BE7A}" srcOrd="0" destOrd="0" presId="urn:microsoft.com/office/officeart/2005/8/layout/cycle2"/>
    <dgm:cxn modelId="{AEB7EDE5-1D16-475A-B61C-CBF7CFCC2F0F}" srcId="{FE0AF671-58B1-40F8-8B7A-983E652E7D40}" destId="{C1163CC9-4ECF-4D31-855C-26A2B3DCC5C4}" srcOrd="9" destOrd="0" parTransId="{B8FEF4D3-4E21-4BAE-801E-7205F8E8EF77}" sibTransId="{E2CB592C-1787-44C9-8686-4F00CBFA5CB1}"/>
    <dgm:cxn modelId="{DAE596C7-C282-4862-99F5-31C3052A7D04}" type="presOf" srcId="{BF32EDA5-B1A7-4C67-9DEE-B0EFED1F5B2B}" destId="{6C754846-F75A-4A89-A242-6671D8DDC5A9}" srcOrd="1" destOrd="0" presId="urn:microsoft.com/office/officeart/2005/8/layout/cycle2"/>
    <dgm:cxn modelId="{5D589010-91A4-4513-A56D-2F13A5756B9D}" type="presOf" srcId="{4D369322-CA3E-425E-AC5C-D9DEAEAC5E3C}" destId="{9B0B857B-DA14-4DB2-9764-FAEA0033B125}" srcOrd="0" destOrd="0" presId="urn:microsoft.com/office/officeart/2005/8/layout/cycle2"/>
    <dgm:cxn modelId="{90515F58-F249-460B-92DA-D854823526FB}" type="presOf" srcId="{D5290F46-685B-42D9-A176-CA6370062CB6}" destId="{342C44B1-3496-43E6-B7A3-2E7DE47A0EB1}" srcOrd="0" destOrd="0" presId="urn:microsoft.com/office/officeart/2005/8/layout/cycle2"/>
    <dgm:cxn modelId="{31836A8A-CA71-41F7-9E21-0D7DDAF595F5}" type="presOf" srcId="{E2CB592C-1787-44C9-8686-4F00CBFA5CB1}" destId="{00C6A176-9825-494C-8FDD-D407F0EF76CB}"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C3D74213-EA0C-4372-A765-16D56896F02E}" type="presOf" srcId="{BF32EDA5-B1A7-4C67-9DEE-B0EFED1F5B2B}" destId="{798A8C5B-4663-468B-BDAB-5BC0D323EF4E}" srcOrd="0" destOrd="0" presId="urn:microsoft.com/office/officeart/2005/8/layout/cycle2"/>
    <dgm:cxn modelId="{63CB633A-1207-4F40-B648-C48B75FEB2B8}" type="presOf" srcId="{1A1A6082-1BF4-40F3-BF25-E2599BB53BFA}" destId="{2546BF50-5AD8-40D0-A01F-A649CF2327DE}" srcOrd="1" destOrd="0" presId="urn:microsoft.com/office/officeart/2005/8/layout/cycle2"/>
    <dgm:cxn modelId="{7D94F373-5323-4275-939A-487DF37B5C8A}" type="presOf" srcId="{20D4FDE3-C196-41C9-8DB2-EF038981D495}" destId="{48C0BD33-5F17-45F5-9058-93C87A9DDC1F}"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571ADC05-3AB7-45BA-AD30-6190AEA59C04}" type="presOf" srcId="{EA880416-D651-45A6-84F2-C54398F7B105}" destId="{AA562BA4-1362-4B11-BE12-AAF95F9B0655}" srcOrd="0" destOrd="0" presId="urn:microsoft.com/office/officeart/2005/8/layout/cycle2"/>
    <dgm:cxn modelId="{42B99F28-CCDF-499C-B789-C40C1CC28639}" type="presOf" srcId="{1A1A6082-1BF4-40F3-BF25-E2599BB53BFA}" destId="{CF57B3AA-9D23-4D82-8D72-1A4D072C9CF6}" srcOrd="0" destOrd="0" presId="urn:microsoft.com/office/officeart/2005/8/layout/cycle2"/>
    <dgm:cxn modelId="{FEED6D30-89B6-4161-84C7-C517DB9F47E5}" type="presOf" srcId="{315727AA-F8CB-4FAC-81F0-3D8F3BB1B56E}" destId="{FEA59801-9672-4D23-8192-A605C46BE70F}"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EE7C4048-6EFF-4322-9D12-167FB097A8CD}" type="presOf" srcId="{275AFB5B-A843-4E45-89A6-0D625719EC18}" destId="{AEC3BFE0-4A84-4A7A-9D2A-077ED9AD905B}"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D7F7B2AF-29BB-4FED-A7E9-0B6528EE0F28}" type="presOf" srcId="{0E50710D-2BD5-4826-B9D1-2870E5EAFE57}" destId="{80B8A62C-CA65-4F7F-B3E1-E47A6F8DBF28}" srcOrd="0" destOrd="0" presId="urn:microsoft.com/office/officeart/2005/8/layout/cycle2"/>
    <dgm:cxn modelId="{8F7E5AD4-3982-4B28-B70C-79093BD59C5A}" type="presParOf" srcId="{0314D0E1-52B0-4957-906A-3DED1FE20AB6}" destId="{6B1C954F-37B9-4616-8073-9C538A00A4CD}" srcOrd="0" destOrd="0" presId="urn:microsoft.com/office/officeart/2005/8/layout/cycle2"/>
    <dgm:cxn modelId="{4C07F8FF-D58D-4DB3-A154-EF9FE6D2409C}" type="presParOf" srcId="{0314D0E1-52B0-4957-906A-3DED1FE20AB6}" destId="{CF57B3AA-9D23-4D82-8D72-1A4D072C9CF6}" srcOrd="1" destOrd="0" presId="urn:microsoft.com/office/officeart/2005/8/layout/cycle2"/>
    <dgm:cxn modelId="{92E06738-BE94-403A-BD8D-0B8A14973324}" type="presParOf" srcId="{CF57B3AA-9D23-4D82-8D72-1A4D072C9CF6}" destId="{2546BF50-5AD8-40D0-A01F-A649CF2327DE}" srcOrd="0" destOrd="0" presId="urn:microsoft.com/office/officeart/2005/8/layout/cycle2"/>
    <dgm:cxn modelId="{6DDA4ECA-A048-4B4B-AB3B-F7BD0FF1E06D}" type="presParOf" srcId="{0314D0E1-52B0-4957-906A-3DED1FE20AB6}" destId="{83195273-D2D4-405D-A258-93AFE8C7BE7A}" srcOrd="2" destOrd="0" presId="urn:microsoft.com/office/officeart/2005/8/layout/cycle2"/>
    <dgm:cxn modelId="{A85EEA73-0BAC-4091-9185-38CE2221BA6D}" type="presParOf" srcId="{0314D0E1-52B0-4957-906A-3DED1FE20AB6}" destId="{798A8C5B-4663-468B-BDAB-5BC0D323EF4E}" srcOrd="3" destOrd="0" presId="urn:microsoft.com/office/officeart/2005/8/layout/cycle2"/>
    <dgm:cxn modelId="{A34BB705-C117-4103-8A1B-9588B1A29FCF}" type="presParOf" srcId="{798A8C5B-4663-468B-BDAB-5BC0D323EF4E}" destId="{6C754846-F75A-4A89-A242-6671D8DDC5A9}" srcOrd="0" destOrd="0" presId="urn:microsoft.com/office/officeart/2005/8/layout/cycle2"/>
    <dgm:cxn modelId="{69CF3880-FDA3-4B54-884E-6133871007B9}" type="presParOf" srcId="{0314D0E1-52B0-4957-906A-3DED1FE20AB6}" destId="{B05F7D2C-D848-4E12-98C6-11FDD917CB93}" srcOrd="4" destOrd="0" presId="urn:microsoft.com/office/officeart/2005/8/layout/cycle2"/>
    <dgm:cxn modelId="{ACF23BD7-D92A-43FF-9503-BD4623D96CBC}" type="presParOf" srcId="{0314D0E1-52B0-4957-906A-3DED1FE20AB6}" destId="{342C44B1-3496-43E6-B7A3-2E7DE47A0EB1}" srcOrd="5" destOrd="0" presId="urn:microsoft.com/office/officeart/2005/8/layout/cycle2"/>
    <dgm:cxn modelId="{A5F9119B-0B39-4D98-B6C0-C85437AF666F}" type="presParOf" srcId="{342C44B1-3496-43E6-B7A3-2E7DE47A0EB1}" destId="{EFE96AD8-1B36-480F-B9D4-5217307D065E}" srcOrd="0" destOrd="0" presId="urn:microsoft.com/office/officeart/2005/8/layout/cycle2"/>
    <dgm:cxn modelId="{C4EF4E4E-9A05-41E2-B67C-61EDB0AB70D2}" type="presParOf" srcId="{0314D0E1-52B0-4957-906A-3DED1FE20AB6}" destId="{AEC3BFE0-4A84-4A7A-9D2A-077ED9AD905B}" srcOrd="6" destOrd="0" presId="urn:microsoft.com/office/officeart/2005/8/layout/cycle2"/>
    <dgm:cxn modelId="{5C5FE8C8-0D86-48EF-A38C-A063E3223E60}" type="presParOf" srcId="{0314D0E1-52B0-4957-906A-3DED1FE20AB6}" destId="{BB722067-4A31-4156-9489-71E129EF8E43}" srcOrd="7" destOrd="0" presId="urn:microsoft.com/office/officeart/2005/8/layout/cycle2"/>
    <dgm:cxn modelId="{F983B3C3-1E80-4968-A71D-F835A51A9C72}" type="presParOf" srcId="{BB722067-4A31-4156-9489-71E129EF8E43}" destId="{A40E58EC-493C-4310-A857-E6D93F3F5222}" srcOrd="0" destOrd="0" presId="urn:microsoft.com/office/officeart/2005/8/layout/cycle2"/>
    <dgm:cxn modelId="{524DD906-C2EC-4567-83EC-D1A18EBAE783}" type="presParOf" srcId="{0314D0E1-52B0-4957-906A-3DED1FE20AB6}" destId="{157C4094-4D48-4CA4-8FE3-C846251355F5}" srcOrd="8" destOrd="0" presId="urn:microsoft.com/office/officeart/2005/8/layout/cycle2"/>
    <dgm:cxn modelId="{5C6958F9-D6F7-41CB-BDB7-801F03558B5C}" type="presParOf" srcId="{0314D0E1-52B0-4957-906A-3DED1FE20AB6}" destId="{9347F69F-9A85-4B8D-9DE5-233494D2AF22}" srcOrd="9" destOrd="0" presId="urn:microsoft.com/office/officeart/2005/8/layout/cycle2"/>
    <dgm:cxn modelId="{841C10FA-6087-4ADE-A03A-88D29C27D59B}" type="presParOf" srcId="{9347F69F-9A85-4B8D-9DE5-233494D2AF22}" destId="{7EFAF541-47AF-4C3C-9CFE-C8EF5507A27C}" srcOrd="0" destOrd="0" presId="urn:microsoft.com/office/officeart/2005/8/layout/cycle2"/>
    <dgm:cxn modelId="{A3D351FE-2F4D-4818-A445-FE37163585C5}" type="presParOf" srcId="{0314D0E1-52B0-4957-906A-3DED1FE20AB6}" destId="{5E517795-696C-4478-8F77-24582CDCDF88}" srcOrd="10" destOrd="0" presId="urn:microsoft.com/office/officeart/2005/8/layout/cycle2"/>
    <dgm:cxn modelId="{B2BC9E23-E085-4F39-A3F4-E43E864E325E}" type="presParOf" srcId="{0314D0E1-52B0-4957-906A-3DED1FE20AB6}" destId="{48C0BD33-5F17-45F5-9058-93C87A9DDC1F}" srcOrd="11" destOrd="0" presId="urn:microsoft.com/office/officeart/2005/8/layout/cycle2"/>
    <dgm:cxn modelId="{D39420DA-860C-4042-9D84-0B4D3611387E}" type="presParOf" srcId="{48C0BD33-5F17-45F5-9058-93C87A9DDC1F}" destId="{B1CEE351-6D90-4A79-B4AC-9CB274EA73AC}" srcOrd="0" destOrd="0" presId="urn:microsoft.com/office/officeart/2005/8/layout/cycle2"/>
    <dgm:cxn modelId="{9CA68C5E-86BD-4C7A-954D-E45437543061}" type="presParOf" srcId="{0314D0E1-52B0-4957-906A-3DED1FE20AB6}" destId="{23AEF67E-B71E-4BFF-8274-B39880BE8995}" srcOrd="12" destOrd="0" presId="urn:microsoft.com/office/officeart/2005/8/layout/cycle2"/>
    <dgm:cxn modelId="{5B5248EE-4AED-44D6-9D85-24350A799F68}" type="presParOf" srcId="{0314D0E1-52B0-4957-906A-3DED1FE20AB6}" destId="{9851BCFD-6C0F-44EE-A90D-93FA72FAD479}" srcOrd="13" destOrd="0" presId="urn:microsoft.com/office/officeart/2005/8/layout/cycle2"/>
    <dgm:cxn modelId="{DC2E9958-21C4-4660-B9A3-14A0C296427D}" type="presParOf" srcId="{9851BCFD-6C0F-44EE-A90D-93FA72FAD479}" destId="{587F2F10-0AE6-474A-8CEB-4172CC329BE3}" srcOrd="0" destOrd="0" presId="urn:microsoft.com/office/officeart/2005/8/layout/cycle2"/>
    <dgm:cxn modelId="{EDFF8894-7914-40EB-A70B-10D672734129}" type="presParOf" srcId="{0314D0E1-52B0-4957-906A-3DED1FE20AB6}" destId="{9336A9F3-2A53-40E9-8F9F-8E4C967B12C1}" srcOrd="14" destOrd="0" presId="urn:microsoft.com/office/officeart/2005/8/layout/cycle2"/>
    <dgm:cxn modelId="{2846EA2B-31D4-4001-AD53-7D3A28135FD5}" type="presParOf" srcId="{0314D0E1-52B0-4957-906A-3DED1FE20AB6}" destId="{80B8A62C-CA65-4F7F-B3E1-E47A6F8DBF28}" srcOrd="15" destOrd="0" presId="urn:microsoft.com/office/officeart/2005/8/layout/cycle2"/>
    <dgm:cxn modelId="{308A6C7D-9219-4C89-A1F5-F74ACAB950FD}" type="presParOf" srcId="{80B8A62C-CA65-4F7F-B3E1-E47A6F8DBF28}" destId="{D0FD9655-5A6C-4F6C-98FD-3B2D55F73505}" srcOrd="0" destOrd="0" presId="urn:microsoft.com/office/officeart/2005/8/layout/cycle2"/>
    <dgm:cxn modelId="{46EDF810-843D-45C2-AAB6-FAE1922068CE}" type="presParOf" srcId="{0314D0E1-52B0-4957-906A-3DED1FE20AB6}" destId="{AA562BA4-1362-4B11-BE12-AAF95F9B0655}" srcOrd="16" destOrd="0" presId="urn:microsoft.com/office/officeart/2005/8/layout/cycle2"/>
    <dgm:cxn modelId="{77CBEA52-62A7-4257-AB64-EE6FA0D1F3CC}" type="presParOf" srcId="{0314D0E1-52B0-4957-906A-3DED1FE20AB6}" destId="{8F1FDF32-78E0-4ED1-970D-21E8309CEF5A}" srcOrd="17" destOrd="0" presId="urn:microsoft.com/office/officeart/2005/8/layout/cycle2"/>
    <dgm:cxn modelId="{2DD6BF49-D6B5-44BB-9E75-89E0048F2061}" type="presParOf" srcId="{8F1FDF32-78E0-4ED1-970D-21E8309CEF5A}" destId="{56E98031-14F7-4FF4-8CB0-C66FC7DF872F}" srcOrd="0" destOrd="0" presId="urn:microsoft.com/office/officeart/2005/8/layout/cycle2"/>
    <dgm:cxn modelId="{064B5AA3-BCCA-47F4-9044-2110858481AF}" type="presParOf" srcId="{0314D0E1-52B0-4957-906A-3DED1FE20AB6}" destId="{4C7C445F-E1C6-4F7A-821E-F674A343F87A}" srcOrd="18" destOrd="0" presId="urn:microsoft.com/office/officeart/2005/8/layout/cycle2"/>
    <dgm:cxn modelId="{9452B72B-45D3-4525-83A8-A35D687DCAA3}" type="presParOf" srcId="{0314D0E1-52B0-4957-906A-3DED1FE20AB6}" destId="{00C6A176-9825-494C-8FDD-D407F0EF76CB}" srcOrd="19" destOrd="0" presId="urn:microsoft.com/office/officeart/2005/8/layout/cycle2"/>
    <dgm:cxn modelId="{D44949D3-336D-46B2-B340-A641778C981F}" type="presParOf" srcId="{00C6A176-9825-494C-8FDD-D407F0EF76CB}" destId="{45B6EB01-0DBC-44EB-8631-D6071B6D84B4}" srcOrd="0" destOrd="0" presId="urn:microsoft.com/office/officeart/2005/8/layout/cycle2"/>
    <dgm:cxn modelId="{2EE3A636-B143-40FA-8213-6DB237186809}" type="presParOf" srcId="{0314D0E1-52B0-4957-906A-3DED1FE20AB6}" destId="{9B0B857B-DA14-4DB2-9764-FAEA0033B125}" srcOrd="20" destOrd="0" presId="urn:microsoft.com/office/officeart/2005/8/layout/cycle2"/>
    <dgm:cxn modelId="{7C1AE5A1-F249-4B4C-A8B8-A0D29CCC4B10}" type="presParOf" srcId="{0314D0E1-52B0-4957-906A-3DED1FE20AB6}" destId="{FEA59801-9672-4D23-8192-A605C46BE70F}" srcOrd="21" destOrd="0" presId="urn:microsoft.com/office/officeart/2005/8/layout/cycle2"/>
    <dgm:cxn modelId="{C3019CB0-C8D4-4EC8-85A9-CBFE18256178}"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46D4D5A9-0DD4-4BB3-8992-C744FB9E947F}" type="presOf" srcId="{36CA222D-1275-4473-881C-488A61C55835}" destId="{7EFAF541-47AF-4C3C-9CFE-C8EF5507A27C}" srcOrd="1" destOrd="0" presId="urn:microsoft.com/office/officeart/2005/8/layout/cycle2"/>
    <dgm:cxn modelId="{5D60E297-9839-4081-8C41-F2DBBBC4AC99}" type="presOf" srcId="{A48FC8E7-DEF6-47DD-9FD7-A42C236E411D}" destId="{9851BCFD-6C0F-44EE-A90D-93FA72FAD479}" srcOrd="0"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0A3EBB95-AC65-43DB-B9AF-EA4F1D73D624}" type="presOf" srcId="{E2CB592C-1787-44C9-8686-4F00CBFA5CB1}" destId="{45B6EB01-0DBC-44EB-8631-D6071B6D84B4}" srcOrd="1" destOrd="0" presId="urn:microsoft.com/office/officeart/2005/8/layout/cycle2"/>
    <dgm:cxn modelId="{38E87F31-FC98-45FA-A9C0-BCEF4C2CBBBD}" type="presOf" srcId="{C1163CC9-4ECF-4D31-855C-26A2B3DCC5C4}" destId="{4C7C445F-E1C6-4F7A-821E-F674A343F87A}" srcOrd="0" destOrd="0" presId="urn:microsoft.com/office/officeart/2005/8/layout/cycle2"/>
    <dgm:cxn modelId="{5ECEE59C-99FE-468C-A7EB-AD4508215B75}" type="presOf" srcId="{BF32EDA5-B1A7-4C67-9DEE-B0EFED1F5B2B}" destId="{798A8C5B-4663-468B-BDAB-5BC0D323EF4E}" srcOrd="0" destOrd="0" presId="urn:microsoft.com/office/officeart/2005/8/layout/cycle2"/>
    <dgm:cxn modelId="{F92754C2-9DCB-4CD4-8BAE-6BCF2D4BBDB3}" type="presOf" srcId="{D5290F46-685B-42D9-A176-CA6370062CB6}" destId="{342C44B1-3496-43E6-B7A3-2E7DE47A0EB1}" srcOrd="0" destOrd="0" presId="urn:microsoft.com/office/officeart/2005/8/layout/cycle2"/>
    <dgm:cxn modelId="{CC6A2517-0861-43AC-8519-D2358B9ADD21}" type="presOf" srcId="{7630EC86-B5D2-4E6A-906C-EC36BCBD2F9B}" destId="{8F1FDF32-78E0-4ED1-970D-21E8309CEF5A}"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1A61E74B-31B9-4004-99E9-4B148CFEB76C}" type="presOf" srcId="{20D4FDE3-C196-41C9-8DB2-EF038981D495}" destId="{B1CEE351-6D90-4A79-B4AC-9CB274EA73AC}" srcOrd="1" destOrd="0" presId="urn:microsoft.com/office/officeart/2005/8/layout/cycle2"/>
    <dgm:cxn modelId="{79DB18AD-B5F3-4FFA-955B-0AF7E27931EF}" type="presOf" srcId="{6A94E007-355E-4DF8-8BC8-31F5F07906F8}" destId="{23AEF67E-B71E-4BFF-8274-B39880BE8995}" srcOrd="0" destOrd="0" presId="urn:microsoft.com/office/officeart/2005/8/layout/cycle2"/>
    <dgm:cxn modelId="{E5759764-D9D1-4461-BE41-0ECFB07E43A1}" type="presOf" srcId="{4D369322-CA3E-425E-AC5C-D9DEAEAC5E3C}" destId="{9B0B857B-DA14-4DB2-9764-FAEA0033B125}" srcOrd="0" destOrd="0" presId="urn:microsoft.com/office/officeart/2005/8/layout/cycle2"/>
    <dgm:cxn modelId="{750F0132-28E4-4EC4-B442-08F2C80B655E}" type="presOf" srcId="{EA880416-D651-45A6-84F2-C54398F7B105}" destId="{AA562BA4-1362-4B11-BE12-AAF95F9B0655}" srcOrd="0" destOrd="0" presId="urn:microsoft.com/office/officeart/2005/8/layout/cycle2"/>
    <dgm:cxn modelId="{C0D8262D-7BC9-470F-BD43-A8A54FAC7BF7}" type="presOf" srcId="{315727AA-F8CB-4FAC-81F0-3D8F3BB1B56E}" destId="{1AFE4D34-A1BE-488A-9816-71CABDC842F3}" srcOrd="1" destOrd="0" presId="urn:microsoft.com/office/officeart/2005/8/layout/cycle2"/>
    <dgm:cxn modelId="{094625DA-3E0E-47CB-BC39-8AD3A3A16E87}" type="presOf" srcId="{0E50710D-2BD5-4826-B9D1-2870E5EAFE57}" destId="{80B8A62C-CA65-4F7F-B3E1-E47A6F8DBF28}" srcOrd="0" destOrd="0" presId="urn:microsoft.com/office/officeart/2005/8/layout/cycle2"/>
    <dgm:cxn modelId="{E4952CC5-4087-4396-B9CD-C7645C4AA194}" type="presOf" srcId="{20D4FDE3-C196-41C9-8DB2-EF038981D495}" destId="{48C0BD33-5F17-45F5-9058-93C87A9DDC1F}" srcOrd="0" destOrd="0" presId="urn:microsoft.com/office/officeart/2005/8/layout/cycle2"/>
    <dgm:cxn modelId="{F10929B9-C326-4916-903A-B4EDEBF495D2}" type="presOf" srcId="{E8860603-B54B-464D-847C-F39AD96130A4}" destId="{83195273-D2D4-405D-A258-93AFE8C7BE7A}" srcOrd="0" destOrd="0" presId="urn:microsoft.com/office/officeart/2005/8/layout/cycle2"/>
    <dgm:cxn modelId="{7CEB1CE4-29C8-4B60-AD01-F5636C202EBA}" type="presOf" srcId="{DCEF1A9F-ED00-4444-8E7D-348279B7611D}" destId="{BB722067-4A31-4156-9489-71E129EF8E43}" srcOrd="0" destOrd="0" presId="urn:microsoft.com/office/officeart/2005/8/layout/cycle2"/>
    <dgm:cxn modelId="{FE46BE1E-2D4B-4713-A16B-DC72849C1108}" type="presOf" srcId="{A48FC8E7-DEF6-47DD-9FD7-A42C236E411D}" destId="{587F2F10-0AE6-474A-8CEB-4172CC329BE3}" srcOrd="1" destOrd="0" presId="urn:microsoft.com/office/officeart/2005/8/layout/cycle2"/>
    <dgm:cxn modelId="{EAA14AC5-9235-4D64-8526-5C80DBAFC8AC}" type="presOf" srcId="{36CA222D-1275-4473-881C-488A61C55835}" destId="{9347F69F-9A85-4B8D-9DE5-233494D2AF22}"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62A17DC3-7747-4C8A-AD92-1F8D2F1CFA8B}" type="presOf" srcId="{1A1A6082-1BF4-40F3-BF25-E2599BB53BFA}" destId="{2546BF50-5AD8-40D0-A01F-A649CF2327DE}" srcOrd="1"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D7DF845B-9BD4-416D-953A-83BCAA78D6E8}" type="presOf" srcId="{B9D5BAA1-0541-416B-9895-A63D7BC366EC}" destId="{6B1C954F-37B9-4616-8073-9C538A00A4CD}" srcOrd="0" destOrd="0" presId="urn:microsoft.com/office/officeart/2005/8/layout/cycle2"/>
    <dgm:cxn modelId="{70D6E3F6-5BBB-41C4-8D65-DCFB5A8055A1}" type="presOf" srcId="{315727AA-F8CB-4FAC-81F0-3D8F3BB1B56E}" destId="{FEA59801-9672-4D23-8192-A605C46BE70F}" srcOrd="0" destOrd="0" presId="urn:microsoft.com/office/officeart/2005/8/layout/cycle2"/>
    <dgm:cxn modelId="{74385C9D-E8C1-4E5B-87DE-AFA640648803}" type="presOf" srcId="{0E50710D-2BD5-4826-B9D1-2870E5EAFE57}" destId="{D0FD9655-5A6C-4F6C-98FD-3B2D55F73505}" srcOrd="1" destOrd="0" presId="urn:microsoft.com/office/officeart/2005/8/layout/cycle2"/>
    <dgm:cxn modelId="{0B5521BB-172D-42A8-91BE-1EF5B273CA49}" type="presOf" srcId="{DCEF1A9F-ED00-4444-8E7D-348279B7611D}" destId="{A40E58EC-493C-4310-A857-E6D93F3F5222}" srcOrd="1" destOrd="0" presId="urn:microsoft.com/office/officeart/2005/8/layout/cycle2"/>
    <dgm:cxn modelId="{25D20A97-4D4C-4764-B156-CD063FCC90F0}" type="presOf" srcId="{B9C095A4-09B3-4524-A547-0933F3DD34F1}" destId="{5E517795-696C-4478-8F77-24582CDCDF88}" srcOrd="0" destOrd="0" presId="urn:microsoft.com/office/officeart/2005/8/layout/cycle2"/>
    <dgm:cxn modelId="{98CE7B4C-DECB-44F7-9225-BFD0FAE19C68}" type="presOf" srcId="{91162D75-99DA-487C-940D-DAE8D13C4447}" destId="{157C4094-4D48-4CA4-8FE3-C846251355F5}"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2E99A61A-791B-4368-AD81-A662C1142ABA}" type="presOf" srcId="{4AB5C3AA-E12D-487A-99B0-D76EFF1AB462}" destId="{B05F7D2C-D848-4E12-98C6-11FDD917CB93}" srcOrd="0" destOrd="0" presId="urn:microsoft.com/office/officeart/2005/8/layout/cycle2"/>
    <dgm:cxn modelId="{22F7BE0B-DE25-40EA-B0C9-56E54687C022}" type="presOf" srcId="{D5290F46-685B-42D9-A176-CA6370062CB6}" destId="{EFE96AD8-1B36-480F-B9D4-5217307D065E}"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B28D35F1-383B-475C-9D3E-206BD8B5C328}" type="presOf" srcId="{FE0AF671-58B1-40F8-8B7A-983E652E7D40}" destId="{0314D0E1-52B0-4957-906A-3DED1FE20AB6}" srcOrd="0" destOrd="0" presId="urn:microsoft.com/office/officeart/2005/8/layout/cycle2"/>
    <dgm:cxn modelId="{ABD79173-050E-4AD3-B4A3-C4F92BE44350}" type="presOf" srcId="{BF32EDA5-B1A7-4C67-9DEE-B0EFED1F5B2B}" destId="{6C754846-F75A-4A89-A242-6671D8DDC5A9}" srcOrd="1"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434E2FCB-59F8-4501-86FD-498F0F57FBC8}" type="presOf" srcId="{C3EFBD6A-E3EC-4E4A-B112-75A580157B18}" destId="{9336A9F3-2A53-40E9-8F9F-8E4C967B12C1}" srcOrd="0" destOrd="0" presId="urn:microsoft.com/office/officeart/2005/8/layout/cycle2"/>
    <dgm:cxn modelId="{6468D96B-71AE-400E-B18B-7C2B24C619B0}" type="presOf" srcId="{275AFB5B-A843-4E45-89A6-0D625719EC18}" destId="{AEC3BFE0-4A84-4A7A-9D2A-077ED9AD905B}" srcOrd="0" destOrd="0" presId="urn:microsoft.com/office/officeart/2005/8/layout/cycle2"/>
    <dgm:cxn modelId="{4DA77438-1A72-43F3-9D96-44599FACCA1D}" type="presOf" srcId="{E2CB592C-1787-44C9-8686-4F00CBFA5CB1}" destId="{00C6A176-9825-494C-8FDD-D407F0EF76CB}"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5B95BADF-B66B-4B54-863F-BCEA7550AD74}" type="presOf" srcId="{1A1A6082-1BF4-40F3-BF25-E2599BB53BFA}" destId="{CF57B3AA-9D23-4D82-8D72-1A4D072C9CF6}"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C3EE5BFF-F93B-412F-B14C-E1303E48D05C}" type="presOf" srcId="{7630EC86-B5D2-4E6A-906C-EC36BCBD2F9B}" destId="{56E98031-14F7-4FF4-8CB0-C66FC7DF872F}" srcOrd="1" destOrd="0" presId="urn:microsoft.com/office/officeart/2005/8/layout/cycle2"/>
    <dgm:cxn modelId="{0BF3EF03-15F5-47B2-A538-78034D4CC042}" type="presParOf" srcId="{0314D0E1-52B0-4957-906A-3DED1FE20AB6}" destId="{6B1C954F-37B9-4616-8073-9C538A00A4CD}" srcOrd="0" destOrd="0" presId="urn:microsoft.com/office/officeart/2005/8/layout/cycle2"/>
    <dgm:cxn modelId="{1697EBC3-616A-4FB4-8DD5-AFF4807A3773}" type="presParOf" srcId="{0314D0E1-52B0-4957-906A-3DED1FE20AB6}" destId="{CF57B3AA-9D23-4D82-8D72-1A4D072C9CF6}" srcOrd="1" destOrd="0" presId="urn:microsoft.com/office/officeart/2005/8/layout/cycle2"/>
    <dgm:cxn modelId="{6C92B13D-A73D-477F-93F3-80596738FAD2}" type="presParOf" srcId="{CF57B3AA-9D23-4D82-8D72-1A4D072C9CF6}" destId="{2546BF50-5AD8-40D0-A01F-A649CF2327DE}" srcOrd="0" destOrd="0" presId="urn:microsoft.com/office/officeart/2005/8/layout/cycle2"/>
    <dgm:cxn modelId="{7593129B-39F3-463B-A0F7-CABFC20B950E}" type="presParOf" srcId="{0314D0E1-52B0-4957-906A-3DED1FE20AB6}" destId="{83195273-D2D4-405D-A258-93AFE8C7BE7A}" srcOrd="2" destOrd="0" presId="urn:microsoft.com/office/officeart/2005/8/layout/cycle2"/>
    <dgm:cxn modelId="{015E505B-5C81-4142-A4E0-74989D6D6E46}" type="presParOf" srcId="{0314D0E1-52B0-4957-906A-3DED1FE20AB6}" destId="{798A8C5B-4663-468B-BDAB-5BC0D323EF4E}" srcOrd="3" destOrd="0" presId="urn:microsoft.com/office/officeart/2005/8/layout/cycle2"/>
    <dgm:cxn modelId="{1D313A83-3021-4A56-8438-50B4194C887B}" type="presParOf" srcId="{798A8C5B-4663-468B-BDAB-5BC0D323EF4E}" destId="{6C754846-F75A-4A89-A242-6671D8DDC5A9}" srcOrd="0" destOrd="0" presId="urn:microsoft.com/office/officeart/2005/8/layout/cycle2"/>
    <dgm:cxn modelId="{E3EEC00A-CEB2-49C6-9393-A6CD9A6D82EE}" type="presParOf" srcId="{0314D0E1-52B0-4957-906A-3DED1FE20AB6}" destId="{B05F7D2C-D848-4E12-98C6-11FDD917CB93}" srcOrd="4" destOrd="0" presId="urn:microsoft.com/office/officeart/2005/8/layout/cycle2"/>
    <dgm:cxn modelId="{D3F68616-5FF6-4C92-9288-082CB44D6611}" type="presParOf" srcId="{0314D0E1-52B0-4957-906A-3DED1FE20AB6}" destId="{342C44B1-3496-43E6-B7A3-2E7DE47A0EB1}" srcOrd="5" destOrd="0" presId="urn:microsoft.com/office/officeart/2005/8/layout/cycle2"/>
    <dgm:cxn modelId="{2876DCF4-7FCD-4103-81CA-330EA6C8AA07}" type="presParOf" srcId="{342C44B1-3496-43E6-B7A3-2E7DE47A0EB1}" destId="{EFE96AD8-1B36-480F-B9D4-5217307D065E}" srcOrd="0" destOrd="0" presId="urn:microsoft.com/office/officeart/2005/8/layout/cycle2"/>
    <dgm:cxn modelId="{D6B8ADCB-43B5-4E57-8BA5-FFFF86F0C37C}" type="presParOf" srcId="{0314D0E1-52B0-4957-906A-3DED1FE20AB6}" destId="{AEC3BFE0-4A84-4A7A-9D2A-077ED9AD905B}" srcOrd="6" destOrd="0" presId="urn:microsoft.com/office/officeart/2005/8/layout/cycle2"/>
    <dgm:cxn modelId="{64E0E72C-3992-45B3-9224-FB4FAF2CD4AA}" type="presParOf" srcId="{0314D0E1-52B0-4957-906A-3DED1FE20AB6}" destId="{BB722067-4A31-4156-9489-71E129EF8E43}" srcOrd="7" destOrd="0" presId="urn:microsoft.com/office/officeart/2005/8/layout/cycle2"/>
    <dgm:cxn modelId="{8D6A10E2-02F5-47F4-8344-C51A3937BE30}" type="presParOf" srcId="{BB722067-4A31-4156-9489-71E129EF8E43}" destId="{A40E58EC-493C-4310-A857-E6D93F3F5222}" srcOrd="0" destOrd="0" presId="urn:microsoft.com/office/officeart/2005/8/layout/cycle2"/>
    <dgm:cxn modelId="{F40213CB-0C7B-4F96-B5C1-A226BB0ACB11}" type="presParOf" srcId="{0314D0E1-52B0-4957-906A-3DED1FE20AB6}" destId="{157C4094-4D48-4CA4-8FE3-C846251355F5}" srcOrd="8" destOrd="0" presId="urn:microsoft.com/office/officeart/2005/8/layout/cycle2"/>
    <dgm:cxn modelId="{10D569CA-6C0A-4B22-B2D9-50DB27CF4C79}" type="presParOf" srcId="{0314D0E1-52B0-4957-906A-3DED1FE20AB6}" destId="{9347F69F-9A85-4B8D-9DE5-233494D2AF22}" srcOrd="9" destOrd="0" presId="urn:microsoft.com/office/officeart/2005/8/layout/cycle2"/>
    <dgm:cxn modelId="{205B38FD-2144-42B9-A4A0-EAE7E86E049A}" type="presParOf" srcId="{9347F69F-9A85-4B8D-9DE5-233494D2AF22}" destId="{7EFAF541-47AF-4C3C-9CFE-C8EF5507A27C}" srcOrd="0" destOrd="0" presId="urn:microsoft.com/office/officeart/2005/8/layout/cycle2"/>
    <dgm:cxn modelId="{C17F6534-9A8B-4EBE-8CEB-A08674D9D649}" type="presParOf" srcId="{0314D0E1-52B0-4957-906A-3DED1FE20AB6}" destId="{5E517795-696C-4478-8F77-24582CDCDF88}" srcOrd="10" destOrd="0" presId="urn:microsoft.com/office/officeart/2005/8/layout/cycle2"/>
    <dgm:cxn modelId="{DD0AD38B-32FD-4294-8EFC-CB5A8B699D28}" type="presParOf" srcId="{0314D0E1-52B0-4957-906A-3DED1FE20AB6}" destId="{48C0BD33-5F17-45F5-9058-93C87A9DDC1F}" srcOrd="11" destOrd="0" presId="urn:microsoft.com/office/officeart/2005/8/layout/cycle2"/>
    <dgm:cxn modelId="{2BC7A4CA-CB05-488F-A9C3-3D4ABE178EFA}" type="presParOf" srcId="{48C0BD33-5F17-45F5-9058-93C87A9DDC1F}" destId="{B1CEE351-6D90-4A79-B4AC-9CB274EA73AC}" srcOrd="0" destOrd="0" presId="urn:microsoft.com/office/officeart/2005/8/layout/cycle2"/>
    <dgm:cxn modelId="{DE0953D3-F225-4BE2-BA97-4AACC405F81A}" type="presParOf" srcId="{0314D0E1-52B0-4957-906A-3DED1FE20AB6}" destId="{23AEF67E-B71E-4BFF-8274-B39880BE8995}" srcOrd="12" destOrd="0" presId="urn:microsoft.com/office/officeart/2005/8/layout/cycle2"/>
    <dgm:cxn modelId="{1C3B7F63-006A-4EC2-A0E5-F91EB35A9F01}" type="presParOf" srcId="{0314D0E1-52B0-4957-906A-3DED1FE20AB6}" destId="{9851BCFD-6C0F-44EE-A90D-93FA72FAD479}" srcOrd="13" destOrd="0" presId="urn:microsoft.com/office/officeart/2005/8/layout/cycle2"/>
    <dgm:cxn modelId="{05B5305F-925D-43F1-B7E0-7EEBD911A57C}" type="presParOf" srcId="{9851BCFD-6C0F-44EE-A90D-93FA72FAD479}" destId="{587F2F10-0AE6-474A-8CEB-4172CC329BE3}" srcOrd="0" destOrd="0" presId="urn:microsoft.com/office/officeart/2005/8/layout/cycle2"/>
    <dgm:cxn modelId="{2913CE6E-5E38-41FC-9921-EA2F9A101455}" type="presParOf" srcId="{0314D0E1-52B0-4957-906A-3DED1FE20AB6}" destId="{9336A9F3-2A53-40E9-8F9F-8E4C967B12C1}" srcOrd="14" destOrd="0" presId="urn:microsoft.com/office/officeart/2005/8/layout/cycle2"/>
    <dgm:cxn modelId="{68F13B2A-E61B-4F87-8870-040923FFC424}" type="presParOf" srcId="{0314D0E1-52B0-4957-906A-3DED1FE20AB6}" destId="{80B8A62C-CA65-4F7F-B3E1-E47A6F8DBF28}" srcOrd="15" destOrd="0" presId="urn:microsoft.com/office/officeart/2005/8/layout/cycle2"/>
    <dgm:cxn modelId="{25940DB7-D29D-4A13-BCB0-B09EF98EF08F}" type="presParOf" srcId="{80B8A62C-CA65-4F7F-B3E1-E47A6F8DBF28}" destId="{D0FD9655-5A6C-4F6C-98FD-3B2D55F73505}" srcOrd="0" destOrd="0" presId="urn:microsoft.com/office/officeart/2005/8/layout/cycle2"/>
    <dgm:cxn modelId="{F38B739F-566B-404C-8AD0-C7693A45D62D}" type="presParOf" srcId="{0314D0E1-52B0-4957-906A-3DED1FE20AB6}" destId="{AA562BA4-1362-4B11-BE12-AAF95F9B0655}" srcOrd="16" destOrd="0" presId="urn:microsoft.com/office/officeart/2005/8/layout/cycle2"/>
    <dgm:cxn modelId="{D8FBA21D-ACEC-49F9-9756-C1F119840A44}" type="presParOf" srcId="{0314D0E1-52B0-4957-906A-3DED1FE20AB6}" destId="{8F1FDF32-78E0-4ED1-970D-21E8309CEF5A}" srcOrd="17" destOrd="0" presId="urn:microsoft.com/office/officeart/2005/8/layout/cycle2"/>
    <dgm:cxn modelId="{0AC2BC14-42B2-443D-9235-405AA96CED91}" type="presParOf" srcId="{8F1FDF32-78E0-4ED1-970D-21E8309CEF5A}" destId="{56E98031-14F7-4FF4-8CB0-C66FC7DF872F}" srcOrd="0" destOrd="0" presId="urn:microsoft.com/office/officeart/2005/8/layout/cycle2"/>
    <dgm:cxn modelId="{D8369501-913B-4881-B9E4-FDD775E08155}" type="presParOf" srcId="{0314D0E1-52B0-4957-906A-3DED1FE20AB6}" destId="{4C7C445F-E1C6-4F7A-821E-F674A343F87A}" srcOrd="18" destOrd="0" presId="urn:microsoft.com/office/officeart/2005/8/layout/cycle2"/>
    <dgm:cxn modelId="{A027B049-4157-419E-9014-7C0E39931300}" type="presParOf" srcId="{0314D0E1-52B0-4957-906A-3DED1FE20AB6}" destId="{00C6A176-9825-494C-8FDD-D407F0EF76CB}" srcOrd="19" destOrd="0" presId="urn:microsoft.com/office/officeart/2005/8/layout/cycle2"/>
    <dgm:cxn modelId="{34CFF675-5D03-4D37-B3DF-817D67B980B3}" type="presParOf" srcId="{00C6A176-9825-494C-8FDD-D407F0EF76CB}" destId="{45B6EB01-0DBC-44EB-8631-D6071B6D84B4}" srcOrd="0" destOrd="0" presId="urn:microsoft.com/office/officeart/2005/8/layout/cycle2"/>
    <dgm:cxn modelId="{9436C824-6198-4B56-AF26-43CBDB29A5CD}" type="presParOf" srcId="{0314D0E1-52B0-4957-906A-3DED1FE20AB6}" destId="{9B0B857B-DA14-4DB2-9764-FAEA0033B125}" srcOrd="20" destOrd="0" presId="urn:microsoft.com/office/officeart/2005/8/layout/cycle2"/>
    <dgm:cxn modelId="{23E0743A-4CA9-4EB5-8145-114790086A09}" type="presParOf" srcId="{0314D0E1-52B0-4957-906A-3DED1FE20AB6}" destId="{FEA59801-9672-4D23-8192-A605C46BE70F}" srcOrd="21" destOrd="0" presId="urn:microsoft.com/office/officeart/2005/8/layout/cycle2"/>
    <dgm:cxn modelId="{46F6109F-8F5D-4600-AF37-FA675BDADEBE}"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0261891C-F964-4E6B-8A92-E2F4C879353A}" type="presOf" srcId="{BF32EDA5-B1A7-4C67-9DEE-B0EFED1F5B2B}" destId="{6C754846-F75A-4A89-A242-6671D8DDC5A9}" srcOrd="1" destOrd="0" presId="urn:microsoft.com/office/officeart/2005/8/layout/cycle2"/>
    <dgm:cxn modelId="{78458562-9FB2-440B-AE21-3ED20A0DD6F6}" type="presOf" srcId="{1A1A6082-1BF4-40F3-BF25-E2599BB53BFA}" destId="{2546BF50-5AD8-40D0-A01F-A649CF2327DE}" srcOrd="1" destOrd="0" presId="urn:microsoft.com/office/officeart/2005/8/layout/cycle2"/>
    <dgm:cxn modelId="{CA8F18DB-D037-45A9-B679-5769A192243E}" type="presOf" srcId="{D5290F46-685B-42D9-A176-CA6370062CB6}" destId="{342C44B1-3496-43E6-B7A3-2E7DE47A0EB1}" srcOrd="0"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68E8B45D-D5A2-4465-9645-75CE1457DB1A}" type="presOf" srcId="{C3EFBD6A-E3EC-4E4A-B112-75A580157B18}" destId="{9336A9F3-2A53-40E9-8F9F-8E4C967B12C1}" srcOrd="0" destOrd="0" presId="urn:microsoft.com/office/officeart/2005/8/layout/cycle2"/>
    <dgm:cxn modelId="{DC178587-05CA-42EC-B86A-6D918BB24D29}" type="presOf" srcId="{36CA222D-1275-4473-881C-488A61C55835}" destId="{7EFAF541-47AF-4C3C-9CFE-C8EF5507A27C}" srcOrd="1" destOrd="0" presId="urn:microsoft.com/office/officeart/2005/8/layout/cycle2"/>
    <dgm:cxn modelId="{800CC239-5107-4791-A191-AF7C6CD3A054}" type="presOf" srcId="{BF32EDA5-B1A7-4C67-9DEE-B0EFED1F5B2B}" destId="{798A8C5B-4663-468B-BDAB-5BC0D323EF4E}"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F7C9FF5A-F001-469F-848A-6CFA1B6ECA30}" type="presOf" srcId="{6A94E007-355E-4DF8-8BC8-31F5F07906F8}" destId="{23AEF67E-B71E-4BFF-8274-B39880BE8995}" srcOrd="0" destOrd="0" presId="urn:microsoft.com/office/officeart/2005/8/layout/cycle2"/>
    <dgm:cxn modelId="{802E0445-246A-4E74-B7FC-09FF956539F5}" type="presOf" srcId="{DCEF1A9F-ED00-4444-8E7D-348279B7611D}" destId="{BB722067-4A31-4156-9489-71E129EF8E43}" srcOrd="0" destOrd="0" presId="urn:microsoft.com/office/officeart/2005/8/layout/cycle2"/>
    <dgm:cxn modelId="{6129EE6A-F7C8-4220-9237-E4D76CE79A64}" type="presOf" srcId="{275AFB5B-A843-4E45-89A6-0D625719EC18}" destId="{AEC3BFE0-4A84-4A7A-9D2A-077ED9AD905B}" srcOrd="0" destOrd="0" presId="urn:microsoft.com/office/officeart/2005/8/layout/cycle2"/>
    <dgm:cxn modelId="{86F435BD-916A-47E3-AF74-FA7CB2D490E7}" type="presOf" srcId="{315727AA-F8CB-4FAC-81F0-3D8F3BB1B56E}" destId="{FEA59801-9672-4D23-8192-A605C46BE70F}" srcOrd="0" destOrd="0" presId="urn:microsoft.com/office/officeart/2005/8/layout/cycle2"/>
    <dgm:cxn modelId="{95055796-5ED9-41BC-8BF4-6124FF3A0D12}" type="presOf" srcId="{36CA222D-1275-4473-881C-488A61C55835}" destId="{9347F69F-9A85-4B8D-9DE5-233494D2AF22}" srcOrd="0" destOrd="0" presId="urn:microsoft.com/office/officeart/2005/8/layout/cycle2"/>
    <dgm:cxn modelId="{70F4704D-C26F-4B0A-9926-E1604827FEA3}" type="presOf" srcId="{7630EC86-B5D2-4E6A-906C-EC36BCBD2F9B}" destId="{56E98031-14F7-4FF4-8CB0-C66FC7DF872F}" srcOrd="1" destOrd="0" presId="urn:microsoft.com/office/officeart/2005/8/layout/cycle2"/>
    <dgm:cxn modelId="{916F1ED4-7E04-4B4B-9F98-3269FB467791}" type="presOf" srcId="{315727AA-F8CB-4FAC-81F0-3D8F3BB1B56E}" destId="{1AFE4D34-A1BE-488A-9816-71CABDC842F3}" srcOrd="1" destOrd="0" presId="urn:microsoft.com/office/officeart/2005/8/layout/cycle2"/>
    <dgm:cxn modelId="{4F8E0DBC-AF47-4773-B6B7-120E925512FD}" type="presOf" srcId="{EA880416-D651-45A6-84F2-C54398F7B105}" destId="{AA562BA4-1362-4B11-BE12-AAF95F9B0655}" srcOrd="0" destOrd="0" presId="urn:microsoft.com/office/officeart/2005/8/layout/cycle2"/>
    <dgm:cxn modelId="{C0FB2929-4742-434F-998B-12177BAD8E7D}" type="presOf" srcId="{E2CB592C-1787-44C9-8686-4F00CBFA5CB1}" destId="{45B6EB01-0DBC-44EB-8631-D6071B6D84B4}" srcOrd="1"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94B216A6-265D-4349-92CF-E476CB2FEF05}" type="presOf" srcId="{DCEF1A9F-ED00-4444-8E7D-348279B7611D}" destId="{A40E58EC-493C-4310-A857-E6D93F3F5222}" srcOrd="1" destOrd="0" presId="urn:microsoft.com/office/officeart/2005/8/layout/cycle2"/>
    <dgm:cxn modelId="{54FE11CB-C3AF-4451-8913-858DE2F07BF3}" type="presOf" srcId="{20D4FDE3-C196-41C9-8DB2-EF038981D495}" destId="{B1CEE351-6D90-4A79-B4AC-9CB274EA73AC}" srcOrd="1" destOrd="0" presId="urn:microsoft.com/office/officeart/2005/8/layout/cycle2"/>
    <dgm:cxn modelId="{3E0B96C5-8E59-427C-ADB0-731E78A5B464}" type="presOf" srcId="{0E50710D-2BD5-4826-B9D1-2870E5EAFE57}" destId="{80B8A62C-CA65-4F7F-B3E1-E47A6F8DBF28}" srcOrd="0" destOrd="0" presId="urn:microsoft.com/office/officeart/2005/8/layout/cycle2"/>
    <dgm:cxn modelId="{1093586C-3265-4C20-948D-FE19CF7EE673}" type="presOf" srcId="{4AB5C3AA-E12D-487A-99B0-D76EFF1AB462}" destId="{B05F7D2C-D848-4E12-98C6-11FDD917CB93}" srcOrd="0" destOrd="0" presId="urn:microsoft.com/office/officeart/2005/8/layout/cycle2"/>
    <dgm:cxn modelId="{E273922F-BDBA-41B7-8ADD-E965B0C9995A}" type="presOf" srcId="{B9C095A4-09B3-4524-A547-0933F3DD34F1}" destId="{5E517795-696C-4478-8F77-24582CDCDF88}" srcOrd="0" destOrd="0" presId="urn:microsoft.com/office/officeart/2005/8/layout/cycle2"/>
    <dgm:cxn modelId="{E2147FE0-FBEB-458D-9A57-A27FA1AAC87E}" type="presOf" srcId="{4D369322-CA3E-425E-AC5C-D9DEAEAC5E3C}" destId="{9B0B857B-DA14-4DB2-9764-FAEA0033B125}" srcOrd="0" destOrd="0" presId="urn:microsoft.com/office/officeart/2005/8/layout/cycle2"/>
    <dgm:cxn modelId="{554EAE31-187B-43F1-8F79-C562DD4695AF}" type="presOf" srcId="{E2CB592C-1787-44C9-8686-4F00CBFA5CB1}" destId="{00C6A176-9825-494C-8FDD-D407F0EF76CB}" srcOrd="0" destOrd="0" presId="urn:microsoft.com/office/officeart/2005/8/layout/cycle2"/>
    <dgm:cxn modelId="{0D54C077-6FA7-4795-9E11-50B19B765C1E}" type="presOf" srcId="{91162D75-99DA-487C-940D-DAE8D13C4447}" destId="{157C4094-4D48-4CA4-8FE3-C846251355F5}" srcOrd="0"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9A3C2B1E-44F9-469C-A7BC-5A1AD392331C}" srcId="{FE0AF671-58B1-40F8-8B7A-983E652E7D40}" destId="{C3EFBD6A-E3EC-4E4A-B112-75A580157B18}" srcOrd="7" destOrd="0" parTransId="{3612719D-4FCA-4865-A190-987513537793}" sibTransId="{0E50710D-2BD5-4826-B9D1-2870E5EAFE57}"/>
    <dgm:cxn modelId="{AEB7EDE5-1D16-475A-B61C-CBF7CFCC2F0F}" srcId="{FE0AF671-58B1-40F8-8B7A-983E652E7D40}" destId="{C1163CC9-4ECF-4D31-855C-26A2B3DCC5C4}" srcOrd="9" destOrd="0" parTransId="{B8FEF4D3-4E21-4BAE-801E-7205F8E8EF77}" sibTransId="{E2CB592C-1787-44C9-8686-4F00CBFA5CB1}"/>
    <dgm:cxn modelId="{FE8E18BF-046E-4F1D-9CAD-4A963DD733AB}" type="presOf" srcId="{D5290F46-685B-42D9-A176-CA6370062CB6}" destId="{EFE96AD8-1B36-480F-B9D4-5217307D065E}" srcOrd="1" destOrd="0" presId="urn:microsoft.com/office/officeart/2005/8/layout/cycle2"/>
    <dgm:cxn modelId="{562A9BE0-520C-441C-95C3-4301B44B025D}" type="presOf" srcId="{A48FC8E7-DEF6-47DD-9FD7-A42C236E411D}" destId="{587F2F10-0AE6-474A-8CEB-4172CC329BE3}" srcOrd="1" destOrd="0" presId="urn:microsoft.com/office/officeart/2005/8/layout/cycle2"/>
    <dgm:cxn modelId="{D419A75B-6DA8-42C5-A369-E389FD480355}" type="presOf" srcId="{C1163CC9-4ECF-4D31-855C-26A2B3DCC5C4}" destId="{4C7C445F-E1C6-4F7A-821E-F674A343F87A}" srcOrd="0" destOrd="0" presId="urn:microsoft.com/office/officeart/2005/8/layout/cycle2"/>
    <dgm:cxn modelId="{BA985215-6522-4BDC-B847-70BBDD9EDE03}" type="presOf" srcId="{B9D5BAA1-0541-416B-9895-A63D7BC366EC}" destId="{6B1C954F-37B9-4616-8073-9C538A00A4CD}"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F946FFF0-87FC-463B-A29A-D4C926A082BF}" type="presOf" srcId="{A48FC8E7-DEF6-47DD-9FD7-A42C236E411D}" destId="{9851BCFD-6C0F-44EE-A90D-93FA72FAD479}"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34502496-2B35-4C96-BC40-25F6A3273371}" type="presOf" srcId="{20D4FDE3-C196-41C9-8DB2-EF038981D495}" destId="{48C0BD33-5F17-45F5-9058-93C87A9DDC1F}" srcOrd="0" destOrd="0" presId="urn:microsoft.com/office/officeart/2005/8/layout/cycle2"/>
    <dgm:cxn modelId="{E491739E-8BE5-4EA1-97E0-E5784BA3776D}" type="presOf" srcId="{7630EC86-B5D2-4E6A-906C-EC36BCBD2F9B}" destId="{8F1FDF32-78E0-4ED1-970D-21E8309CEF5A}" srcOrd="0" destOrd="0" presId="urn:microsoft.com/office/officeart/2005/8/layout/cycle2"/>
    <dgm:cxn modelId="{E9414451-A5E5-4C0F-9D34-9BDE69115A1F}" type="presOf" srcId="{1A1A6082-1BF4-40F3-BF25-E2599BB53BFA}" destId="{CF57B3AA-9D23-4D82-8D72-1A4D072C9CF6}" srcOrd="0" destOrd="0" presId="urn:microsoft.com/office/officeart/2005/8/layout/cycle2"/>
    <dgm:cxn modelId="{21ECEFC0-A505-43CB-AE96-4B38861BD55F}" type="presOf" srcId="{E8860603-B54B-464D-847C-F39AD96130A4}" destId="{83195273-D2D4-405D-A258-93AFE8C7BE7A}" srcOrd="0" destOrd="0" presId="urn:microsoft.com/office/officeart/2005/8/layout/cycle2"/>
    <dgm:cxn modelId="{442876E6-AD8C-4E56-A113-175DD4688F47}" type="presOf" srcId="{FE0AF671-58B1-40F8-8B7A-983E652E7D40}" destId="{0314D0E1-52B0-4957-906A-3DED1FE20AB6}"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1D064A05-48DD-45D3-9DC7-EEB9329B5EC4}" srcId="{FE0AF671-58B1-40F8-8B7A-983E652E7D40}" destId="{91162D75-99DA-487C-940D-DAE8D13C4447}" srcOrd="4" destOrd="0" parTransId="{80DE664A-ECD6-4435-A4B2-FD6572B36AF8}" sibTransId="{36CA222D-1275-4473-881C-488A61C55835}"/>
    <dgm:cxn modelId="{EB39964E-0565-4D21-933B-1F1BDB0E1B47}" type="presOf" srcId="{0E50710D-2BD5-4826-B9D1-2870E5EAFE57}" destId="{D0FD9655-5A6C-4F6C-98FD-3B2D55F73505}" srcOrd="1" destOrd="0" presId="urn:microsoft.com/office/officeart/2005/8/layout/cycle2"/>
    <dgm:cxn modelId="{0835C8E3-E001-4FE7-9C93-954408849179}" type="presParOf" srcId="{0314D0E1-52B0-4957-906A-3DED1FE20AB6}" destId="{6B1C954F-37B9-4616-8073-9C538A00A4CD}" srcOrd="0" destOrd="0" presId="urn:microsoft.com/office/officeart/2005/8/layout/cycle2"/>
    <dgm:cxn modelId="{6B312CD1-BE5A-4E7A-BE78-BF31A4BAD10B}" type="presParOf" srcId="{0314D0E1-52B0-4957-906A-3DED1FE20AB6}" destId="{CF57B3AA-9D23-4D82-8D72-1A4D072C9CF6}" srcOrd="1" destOrd="0" presId="urn:microsoft.com/office/officeart/2005/8/layout/cycle2"/>
    <dgm:cxn modelId="{7B19311C-B443-4432-AFE1-0B30EBC7D3F2}" type="presParOf" srcId="{CF57B3AA-9D23-4D82-8D72-1A4D072C9CF6}" destId="{2546BF50-5AD8-40D0-A01F-A649CF2327DE}" srcOrd="0" destOrd="0" presId="urn:microsoft.com/office/officeart/2005/8/layout/cycle2"/>
    <dgm:cxn modelId="{B56E00A5-68A4-4CFD-9ACB-26F3E07708AD}" type="presParOf" srcId="{0314D0E1-52B0-4957-906A-3DED1FE20AB6}" destId="{83195273-D2D4-405D-A258-93AFE8C7BE7A}" srcOrd="2" destOrd="0" presId="urn:microsoft.com/office/officeart/2005/8/layout/cycle2"/>
    <dgm:cxn modelId="{8C5F91E3-73D9-4573-A1EC-3B2D29F4E5C5}" type="presParOf" srcId="{0314D0E1-52B0-4957-906A-3DED1FE20AB6}" destId="{798A8C5B-4663-468B-BDAB-5BC0D323EF4E}" srcOrd="3" destOrd="0" presId="urn:microsoft.com/office/officeart/2005/8/layout/cycle2"/>
    <dgm:cxn modelId="{DE56AC1B-42F3-4B3A-B543-66406C9EAEEE}" type="presParOf" srcId="{798A8C5B-4663-468B-BDAB-5BC0D323EF4E}" destId="{6C754846-F75A-4A89-A242-6671D8DDC5A9}" srcOrd="0" destOrd="0" presId="urn:microsoft.com/office/officeart/2005/8/layout/cycle2"/>
    <dgm:cxn modelId="{3F335938-1559-468F-89D4-E030D27E42A7}" type="presParOf" srcId="{0314D0E1-52B0-4957-906A-3DED1FE20AB6}" destId="{B05F7D2C-D848-4E12-98C6-11FDD917CB93}" srcOrd="4" destOrd="0" presId="urn:microsoft.com/office/officeart/2005/8/layout/cycle2"/>
    <dgm:cxn modelId="{D773F0AE-E81F-44D6-A567-1B440088320E}" type="presParOf" srcId="{0314D0E1-52B0-4957-906A-3DED1FE20AB6}" destId="{342C44B1-3496-43E6-B7A3-2E7DE47A0EB1}" srcOrd="5" destOrd="0" presId="urn:microsoft.com/office/officeart/2005/8/layout/cycle2"/>
    <dgm:cxn modelId="{7BA1FB19-946B-4243-BD3E-0C45C94B1447}" type="presParOf" srcId="{342C44B1-3496-43E6-B7A3-2E7DE47A0EB1}" destId="{EFE96AD8-1B36-480F-B9D4-5217307D065E}" srcOrd="0" destOrd="0" presId="urn:microsoft.com/office/officeart/2005/8/layout/cycle2"/>
    <dgm:cxn modelId="{9B5DFC09-0C1F-4B82-9A70-1264B1A9D40E}" type="presParOf" srcId="{0314D0E1-52B0-4957-906A-3DED1FE20AB6}" destId="{AEC3BFE0-4A84-4A7A-9D2A-077ED9AD905B}" srcOrd="6" destOrd="0" presId="urn:microsoft.com/office/officeart/2005/8/layout/cycle2"/>
    <dgm:cxn modelId="{C1E2ED04-BAAD-48DB-81EE-A4BEE5F64D8E}" type="presParOf" srcId="{0314D0E1-52B0-4957-906A-3DED1FE20AB6}" destId="{BB722067-4A31-4156-9489-71E129EF8E43}" srcOrd="7" destOrd="0" presId="urn:microsoft.com/office/officeart/2005/8/layout/cycle2"/>
    <dgm:cxn modelId="{A465CB6E-6A37-4C20-88E1-F99957AE7E67}" type="presParOf" srcId="{BB722067-4A31-4156-9489-71E129EF8E43}" destId="{A40E58EC-493C-4310-A857-E6D93F3F5222}" srcOrd="0" destOrd="0" presId="urn:microsoft.com/office/officeart/2005/8/layout/cycle2"/>
    <dgm:cxn modelId="{83641337-D305-4F46-BC72-AE12C675273B}" type="presParOf" srcId="{0314D0E1-52B0-4957-906A-3DED1FE20AB6}" destId="{157C4094-4D48-4CA4-8FE3-C846251355F5}" srcOrd="8" destOrd="0" presId="urn:microsoft.com/office/officeart/2005/8/layout/cycle2"/>
    <dgm:cxn modelId="{5C820F94-2E55-470D-9DDC-7F0591A16D84}" type="presParOf" srcId="{0314D0E1-52B0-4957-906A-3DED1FE20AB6}" destId="{9347F69F-9A85-4B8D-9DE5-233494D2AF22}" srcOrd="9" destOrd="0" presId="urn:microsoft.com/office/officeart/2005/8/layout/cycle2"/>
    <dgm:cxn modelId="{B22A6587-239B-402C-B5F1-8ACFFBCEC724}" type="presParOf" srcId="{9347F69F-9A85-4B8D-9DE5-233494D2AF22}" destId="{7EFAF541-47AF-4C3C-9CFE-C8EF5507A27C}" srcOrd="0" destOrd="0" presId="urn:microsoft.com/office/officeart/2005/8/layout/cycle2"/>
    <dgm:cxn modelId="{35D55445-9C68-4D8E-A657-838355CF9438}" type="presParOf" srcId="{0314D0E1-52B0-4957-906A-3DED1FE20AB6}" destId="{5E517795-696C-4478-8F77-24582CDCDF88}" srcOrd="10" destOrd="0" presId="urn:microsoft.com/office/officeart/2005/8/layout/cycle2"/>
    <dgm:cxn modelId="{9E48ACDF-4AF5-432C-99EB-9054DEB67363}" type="presParOf" srcId="{0314D0E1-52B0-4957-906A-3DED1FE20AB6}" destId="{48C0BD33-5F17-45F5-9058-93C87A9DDC1F}" srcOrd="11" destOrd="0" presId="urn:microsoft.com/office/officeart/2005/8/layout/cycle2"/>
    <dgm:cxn modelId="{6A479523-C1B3-4450-A964-67CA800EF05B}" type="presParOf" srcId="{48C0BD33-5F17-45F5-9058-93C87A9DDC1F}" destId="{B1CEE351-6D90-4A79-B4AC-9CB274EA73AC}" srcOrd="0" destOrd="0" presId="urn:microsoft.com/office/officeart/2005/8/layout/cycle2"/>
    <dgm:cxn modelId="{13163F1E-6DD4-46D0-862C-872AAD330FFA}" type="presParOf" srcId="{0314D0E1-52B0-4957-906A-3DED1FE20AB6}" destId="{23AEF67E-B71E-4BFF-8274-B39880BE8995}" srcOrd="12" destOrd="0" presId="urn:microsoft.com/office/officeart/2005/8/layout/cycle2"/>
    <dgm:cxn modelId="{15D6DAC3-C402-4EDD-B84B-CA897E139FC3}" type="presParOf" srcId="{0314D0E1-52B0-4957-906A-3DED1FE20AB6}" destId="{9851BCFD-6C0F-44EE-A90D-93FA72FAD479}" srcOrd="13" destOrd="0" presId="urn:microsoft.com/office/officeart/2005/8/layout/cycle2"/>
    <dgm:cxn modelId="{7D8193EC-2AA1-4DB1-AD9E-BD18420C3E6B}" type="presParOf" srcId="{9851BCFD-6C0F-44EE-A90D-93FA72FAD479}" destId="{587F2F10-0AE6-474A-8CEB-4172CC329BE3}" srcOrd="0" destOrd="0" presId="urn:microsoft.com/office/officeart/2005/8/layout/cycle2"/>
    <dgm:cxn modelId="{E5B5F004-7F1C-4A74-A9B2-BD95D0CD8C16}" type="presParOf" srcId="{0314D0E1-52B0-4957-906A-3DED1FE20AB6}" destId="{9336A9F3-2A53-40E9-8F9F-8E4C967B12C1}" srcOrd="14" destOrd="0" presId="urn:microsoft.com/office/officeart/2005/8/layout/cycle2"/>
    <dgm:cxn modelId="{C465BC12-3CA5-4522-884B-25B3DBAFA025}" type="presParOf" srcId="{0314D0E1-52B0-4957-906A-3DED1FE20AB6}" destId="{80B8A62C-CA65-4F7F-B3E1-E47A6F8DBF28}" srcOrd="15" destOrd="0" presId="urn:microsoft.com/office/officeart/2005/8/layout/cycle2"/>
    <dgm:cxn modelId="{06F5D735-1E8C-4CC6-BEA0-9E7C160D19AC}" type="presParOf" srcId="{80B8A62C-CA65-4F7F-B3E1-E47A6F8DBF28}" destId="{D0FD9655-5A6C-4F6C-98FD-3B2D55F73505}" srcOrd="0" destOrd="0" presId="urn:microsoft.com/office/officeart/2005/8/layout/cycle2"/>
    <dgm:cxn modelId="{3AB81328-C49B-4071-9BAB-0F9B48AEB300}" type="presParOf" srcId="{0314D0E1-52B0-4957-906A-3DED1FE20AB6}" destId="{AA562BA4-1362-4B11-BE12-AAF95F9B0655}" srcOrd="16" destOrd="0" presId="urn:microsoft.com/office/officeart/2005/8/layout/cycle2"/>
    <dgm:cxn modelId="{BC426055-908B-4893-A0EA-9FE3295967D6}" type="presParOf" srcId="{0314D0E1-52B0-4957-906A-3DED1FE20AB6}" destId="{8F1FDF32-78E0-4ED1-970D-21E8309CEF5A}" srcOrd="17" destOrd="0" presId="urn:microsoft.com/office/officeart/2005/8/layout/cycle2"/>
    <dgm:cxn modelId="{446423A3-38E4-4F77-A5F3-22C5142DA776}" type="presParOf" srcId="{8F1FDF32-78E0-4ED1-970D-21E8309CEF5A}" destId="{56E98031-14F7-4FF4-8CB0-C66FC7DF872F}" srcOrd="0" destOrd="0" presId="urn:microsoft.com/office/officeart/2005/8/layout/cycle2"/>
    <dgm:cxn modelId="{98BEB62E-A265-47B8-B59D-E72AD678F0E7}" type="presParOf" srcId="{0314D0E1-52B0-4957-906A-3DED1FE20AB6}" destId="{4C7C445F-E1C6-4F7A-821E-F674A343F87A}" srcOrd="18" destOrd="0" presId="urn:microsoft.com/office/officeart/2005/8/layout/cycle2"/>
    <dgm:cxn modelId="{8B01291A-4E27-4336-90D5-218CC1AC64CE}" type="presParOf" srcId="{0314D0E1-52B0-4957-906A-3DED1FE20AB6}" destId="{00C6A176-9825-494C-8FDD-D407F0EF76CB}" srcOrd="19" destOrd="0" presId="urn:microsoft.com/office/officeart/2005/8/layout/cycle2"/>
    <dgm:cxn modelId="{2BAA0657-4B55-4831-838A-000A23D241A6}" type="presParOf" srcId="{00C6A176-9825-494C-8FDD-D407F0EF76CB}" destId="{45B6EB01-0DBC-44EB-8631-D6071B6D84B4}" srcOrd="0" destOrd="0" presId="urn:microsoft.com/office/officeart/2005/8/layout/cycle2"/>
    <dgm:cxn modelId="{F3E4F7BB-CFFD-4AF6-93FA-7AD7AAE6FC87}" type="presParOf" srcId="{0314D0E1-52B0-4957-906A-3DED1FE20AB6}" destId="{9B0B857B-DA14-4DB2-9764-FAEA0033B125}" srcOrd="20" destOrd="0" presId="urn:microsoft.com/office/officeart/2005/8/layout/cycle2"/>
    <dgm:cxn modelId="{77042E04-212A-42F0-B6DE-39FEA71BEE4E}" type="presParOf" srcId="{0314D0E1-52B0-4957-906A-3DED1FE20AB6}" destId="{FEA59801-9672-4D23-8192-A605C46BE70F}" srcOrd="21" destOrd="0" presId="urn:microsoft.com/office/officeart/2005/8/layout/cycle2"/>
    <dgm:cxn modelId="{20A8666F-1620-4531-AC89-77F2FD81DA05}"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4BA946A9-DFB9-4223-BA9F-22941DCD6836}" type="presOf" srcId="{D5290F46-685B-42D9-A176-CA6370062CB6}" destId="{EFE96AD8-1B36-480F-B9D4-5217307D065E}"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7B181BEE-6F08-4504-B555-64D59474CEA1}" type="presOf" srcId="{B9D5BAA1-0541-416B-9895-A63D7BC366EC}" destId="{6B1C954F-37B9-4616-8073-9C538A00A4CD}" srcOrd="0" destOrd="0" presId="urn:microsoft.com/office/officeart/2005/8/layout/cycle2"/>
    <dgm:cxn modelId="{AF4EED85-9AA2-4826-B418-2856BD36A86A}" type="presOf" srcId="{DCEF1A9F-ED00-4444-8E7D-348279B7611D}" destId="{A40E58EC-493C-4310-A857-E6D93F3F5222}"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64F933D9-EE1C-468E-9D88-A5BD7A02A734}" type="presOf" srcId="{DCEF1A9F-ED00-4444-8E7D-348279B7611D}" destId="{BB722067-4A31-4156-9489-71E129EF8E43}" srcOrd="0" destOrd="0" presId="urn:microsoft.com/office/officeart/2005/8/layout/cycle2"/>
    <dgm:cxn modelId="{46DAB673-A61B-41FF-AE71-3BEEA35676E5}" type="presOf" srcId="{7630EC86-B5D2-4E6A-906C-EC36BCBD2F9B}" destId="{8F1FDF32-78E0-4ED1-970D-21E8309CEF5A}" srcOrd="0" destOrd="0" presId="urn:microsoft.com/office/officeart/2005/8/layout/cycle2"/>
    <dgm:cxn modelId="{58A64BD1-9E25-4C83-9F78-C4408D546A49}" type="presOf" srcId="{91162D75-99DA-487C-940D-DAE8D13C4447}" destId="{157C4094-4D48-4CA4-8FE3-C846251355F5}" srcOrd="0" destOrd="0" presId="urn:microsoft.com/office/officeart/2005/8/layout/cycle2"/>
    <dgm:cxn modelId="{BEF17289-F494-492E-B245-6A98701B2C49}" type="presOf" srcId="{C3EFBD6A-E3EC-4E4A-B112-75A580157B18}" destId="{9336A9F3-2A53-40E9-8F9F-8E4C967B12C1}" srcOrd="0" destOrd="0" presId="urn:microsoft.com/office/officeart/2005/8/layout/cycle2"/>
    <dgm:cxn modelId="{5983CB91-127A-453F-9324-384A28CB0ECB}" type="presOf" srcId="{6A94E007-355E-4DF8-8BC8-31F5F07906F8}" destId="{23AEF67E-B71E-4BFF-8274-B39880BE8995}" srcOrd="0" destOrd="0" presId="urn:microsoft.com/office/officeart/2005/8/layout/cycle2"/>
    <dgm:cxn modelId="{EEFF2494-D81E-40E7-BF27-367E90896A13}" type="presOf" srcId="{EA880416-D651-45A6-84F2-C54398F7B105}" destId="{AA562BA4-1362-4B11-BE12-AAF95F9B0655}" srcOrd="0" destOrd="0" presId="urn:microsoft.com/office/officeart/2005/8/layout/cycle2"/>
    <dgm:cxn modelId="{6CB111ED-F8A4-49F1-9376-033FAE67F02F}" type="presOf" srcId="{FE0AF671-58B1-40F8-8B7A-983E652E7D40}" destId="{0314D0E1-52B0-4957-906A-3DED1FE20AB6}" srcOrd="0" destOrd="0" presId="urn:microsoft.com/office/officeart/2005/8/layout/cycle2"/>
    <dgm:cxn modelId="{AACFB0B9-1D92-4AD1-AC74-4F4DCF4710A2}" type="presOf" srcId="{36CA222D-1275-4473-881C-488A61C55835}" destId="{7EFAF541-47AF-4C3C-9CFE-C8EF5507A27C}" srcOrd="1" destOrd="0" presId="urn:microsoft.com/office/officeart/2005/8/layout/cycle2"/>
    <dgm:cxn modelId="{727836CF-4450-4172-BEE5-D226B752069A}" type="presOf" srcId="{1A1A6082-1BF4-40F3-BF25-E2599BB53BFA}" destId="{2546BF50-5AD8-40D0-A01F-A649CF2327DE}" srcOrd="1" destOrd="0" presId="urn:microsoft.com/office/officeart/2005/8/layout/cycle2"/>
    <dgm:cxn modelId="{DF6A7D72-6442-446C-B51A-2B791A7D0082}" type="presOf" srcId="{0E50710D-2BD5-4826-B9D1-2870E5EAFE57}" destId="{D0FD9655-5A6C-4F6C-98FD-3B2D55F73505}" srcOrd="1" destOrd="0" presId="urn:microsoft.com/office/officeart/2005/8/layout/cycle2"/>
    <dgm:cxn modelId="{F922234A-DE09-4523-8808-791B660283DC}" type="presOf" srcId="{1A1A6082-1BF4-40F3-BF25-E2599BB53BFA}" destId="{CF57B3AA-9D23-4D82-8D72-1A4D072C9CF6}" srcOrd="0" destOrd="0" presId="urn:microsoft.com/office/officeart/2005/8/layout/cycle2"/>
    <dgm:cxn modelId="{86798FF8-AD9C-4577-866D-AB2F4FE6D35F}" type="presOf" srcId="{D5290F46-685B-42D9-A176-CA6370062CB6}" destId="{342C44B1-3496-43E6-B7A3-2E7DE47A0EB1}" srcOrd="0" destOrd="0" presId="urn:microsoft.com/office/officeart/2005/8/layout/cycle2"/>
    <dgm:cxn modelId="{9E380D08-5241-4041-9FFC-6762254F1CBE}" type="presOf" srcId="{4D369322-CA3E-425E-AC5C-D9DEAEAC5E3C}" destId="{9B0B857B-DA14-4DB2-9764-FAEA0033B125}" srcOrd="0" destOrd="0" presId="urn:microsoft.com/office/officeart/2005/8/layout/cycle2"/>
    <dgm:cxn modelId="{60D79CE9-6E9B-4610-BE2A-E913C0C66CE9}" type="presOf" srcId="{7630EC86-B5D2-4E6A-906C-EC36BCBD2F9B}" destId="{56E98031-14F7-4FF4-8CB0-C66FC7DF872F}" srcOrd="1" destOrd="0" presId="urn:microsoft.com/office/officeart/2005/8/layout/cycle2"/>
    <dgm:cxn modelId="{4FA32AEE-F566-49A4-AEE2-DE19F144CB79}" type="presOf" srcId="{0E50710D-2BD5-4826-B9D1-2870E5EAFE57}" destId="{80B8A62C-CA65-4F7F-B3E1-E47A6F8DBF28}" srcOrd="0" destOrd="0" presId="urn:microsoft.com/office/officeart/2005/8/layout/cycle2"/>
    <dgm:cxn modelId="{811B9F5A-2471-4BD4-BAE4-ED59157620F8}" type="presOf" srcId="{4AB5C3AA-E12D-487A-99B0-D76EFF1AB462}" destId="{B05F7D2C-D848-4E12-98C6-11FDD917CB93}"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99B45FBE-98ED-4188-A23A-16AD1E1A51C7}" type="presOf" srcId="{E2CB592C-1787-44C9-8686-4F00CBFA5CB1}" destId="{00C6A176-9825-494C-8FDD-D407F0EF76CB}" srcOrd="0" destOrd="0" presId="urn:microsoft.com/office/officeart/2005/8/layout/cycle2"/>
    <dgm:cxn modelId="{741342AF-2756-4D9D-8600-D697B4BDC509}" type="presOf" srcId="{315727AA-F8CB-4FAC-81F0-3D8F3BB1B56E}" destId="{FEA59801-9672-4D23-8192-A605C46BE70F}" srcOrd="0" destOrd="0" presId="urn:microsoft.com/office/officeart/2005/8/layout/cycle2"/>
    <dgm:cxn modelId="{495BC8BC-2206-45C6-9AEA-67566E6D6719}" type="presOf" srcId="{C1163CC9-4ECF-4D31-855C-26A2B3DCC5C4}" destId="{4C7C445F-E1C6-4F7A-821E-F674A343F87A}" srcOrd="0" destOrd="0" presId="urn:microsoft.com/office/officeart/2005/8/layout/cycle2"/>
    <dgm:cxn modelId="{8DBEC6A1-86AE-4EBA-A003-1AB59B16E66D}" type="presOf" srcId="{E8860603-B54B-464D-847C-F39AD96130A4}" destId="{83195273-D2D4-405D-A258-93AFE8C7BE7A}" srcOrd="0" destOrd="0" presId="urn:microsoft.com/office/officeart/2005/8/layout/cycle2"/>
    <dgm:cxn modelId="{B8739969-40B7-4CC0-9129-3E2A9DD2E5A0}" type="presOf" srcId="{A48FC8E7-DEF6-47DD-9FD7-A42C236E411D}" destId="{9851BCFD-6C0F-44EE-A90D-93FA72FAD479}" srcOrd="0" destOrd="0" presId="urn:microsoft.com/office/officeart/2005/8/layout/cycle2"/>
    <dgm:cxn modelId="{9488888B-5EC2-44B3-8096-799204331516}" type="presOf" srcId="{BF32EDA5-B1A7-4C67-9DEE-B0EFED1F5B2B}" destId="{6C754846-F75A-4A89-A242-6671D8DDC5A9}" srcOrd="1"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7994F207-E6AF-4524-8B7E-BD601AF486E4}" srcId="{FE0AF671-58B1-40F8-8B7A-983E652E7D40}" destId="{E8860603-B54B-464D-847C-F39AD96130A4}" srcOrd="1" destOrd="0" parTransId="{C8927E3E-FCD4-4AC8-B757-904A4C4DD804}" sibTransId="{BF32EDA5-B1A7-4C67-9DEE-B0EFED1F5B2B}"/>
    <dgm:cxn modelId="{AE224D31-D0E5-4954-B688-6C2E08B21A9C}" type="presOf" srcId="{E2CB592C-1787-44C9-8686-4F00CBFA5CB1}" destId="{45B6EB01-0DBC-44EB-8631-D6071B6D84B4}" srcOrd="1"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9CDAF10D-A50A-40B0-B86C-BCBA899B3739}" type="presOf" srcId="{36CA222D-1275-4473-881C-488A61C55835}" destId="{9347F69F-9A85-4B8D-9DE5-233494D2AF22}" srcOrd="0" destOrd="0" presId="urn:microsoft.com/office/officeart/2005/8/layout/cycle2"/>
    <dgm:cxn modelId="{E80CB5A6-A98E-47E1-B5E2-C020D0969C32}" type="presOf" srcId="{315727AA-F8CB-4FAC-81F0-3D8F3BB1B56E}" destId="{1AFE4D34-A1BE-488A-9816-71CABDC842F3}" srcOrd="1" destOrd="0" presId="urn:microsoft.com/office/officeart/2005/8/layout/cycle2"/>
    <dgm:cxn modelId="{8255F2DE-B4A4-45F8-BEEA-D020EC9FB3C7}" type="presOf" srcId="{B9C095A4-09B3-4524-A547-0933F3DD34F1}" destId="{5E517795-696C-4478-8F77-24582CDCDF88}" srcOrd="0" destOrd="0" presId="urn:microsoft.com/office/officeart/2005/8/layout/cycle2"/>
    <dgm:cxn modelId="{E844E31F-FA59-4C91-8EA5-F9762D788BD6}" type="presOf" srcId="{BF32EDA5-B1A7-4C67-9DEE-B0EFED1F5B2B}" destId="{798A8C5B-4663-468B-BDAB-5BC0D323EF4E}" srcOrd="0" destOrd="0" presId="urn:microsoft.com/office/officeart/2005/8/layout/cycle2"/>
    <dgm:cxn modelId="{30000E43-4633-405F-AFD3-DF1B5DC31256}" type="presOf" srcId="{275AFB5B-A843-4E45-89A6-0D625719EC18}" destId="{AEC3BFE0-4A84-4A7A-9D2A-077ED9AD905B}" srcOrd="0" destOrd="0" presId="urn:microsoft.com/office/officeart/2005/8/layout/cycle2"/>
    <dgm:cxn modelId="{F3FE47B1-003D-420E-B550-E2C6ED6D9D69}" type="presOf" srcId="{A48FC8E7-DEF6-47DD-9FD7-A42C236E411D}" destId="{587F2F10-0AE6-474A-8CEB-4172CC329BE3}" srcOrd="1" destOrd="0" presId="urn:microsoft.com/office/officeart/2005/8/layout/cycle2"/>
    <dgm:cxn modelId="{7F1DD77E-760E-4E21-85F5-0170012625A9}" type="presOf" srcId="{20D4FDE3-C196-41C9-8DB2-EF038981D495}" destId="{48C0BD33-5F17-45F5-9058-93C87A9DDC1F}"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9137536B-2F49-467D-AC5B-8F9E73CB6CD7}" type="presOf" srcId="{20D4FDE3-C196-41C9-8DB2-EF038981D495}" destId="{B1CEE351-6D90-4A79-B4AC-9CB274EA73AC}" srcOrd="1"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EEB9C5DE-5AC6-49FA-B393-347A21618B55}" type="presParOf" srcId="{0314D0E1-52B0-4957-906A-3DED1FE20AB6}" destId="{6B1C954F-37B9-4616-8073-9C538A00A4CD}" srcOrd="0" destOrd="0" presId="urn:microsoft.com/office/officeart/2005/8/layout/cycle2"/>
    <dgm:cxn modelId="{7DDDF247-AF9C-4F5B-AD1F-5ADCDD049564}" type="presParOf" srcId="{0314D0E1-52B0-4957-906A-3DED1FE20AB6}" destId="{CF57B3AA-9D23-4D82-8D72-1A4D072C9CF6}" srcOrd="1" destOrd="0" presId="urn:microsoft.com/office/officeart/2005/8/layout/cycle2"/>
    <dgm:cxn modelId="{D94A8D81-9376-40CD-834C-FC1548F16F3A}" type="presParOf" srcId="{CF57B3AA-9D23-4D82-8D72-1A4D072C9CF6}" destId="{2546BF50-5AD8-40D0-A01F-A649CF2327DE}" srcOrd="0" destOrd="0" presId="urn:microsoft.com/office/officeart/2005/8/layout/cycle2"/>
    <dgm:cxn modelId="{2FBABE63-DC8F-47D4-929B-56FFA61EB281}" type="presParOf" srcId="{0314D0E1-52B0-4957-906A-3DED1FE20AB6}" destId="{83195273-D2D4-405D-A258-93AFE8C7BE7A}" srcOrd="2" destOrd="0" presId="urn:microsoft.com/office/officeart/2005/8/layout/cycle2"/>
    <dgm:cxn modelId="{B4BB10B1-F051-4DDA-94AD-A4E3C6C538C5}" type="presParOf" srcId="{0314D0E1-52B0-4957-906A-3DED1FE20AB6}" destId="{798A8C5B-4663-468B-BDAB-5BC0D323EF4E}" srcOrd="3" destOrd="0" presId="urn:microsoft.com/office/officeart/2005/8/layout/cycle2"/>
    <dgm:cxn modelId="{1EA63120-0D6C-4BEB-89EA-9311784DD52B}" type="presParOf" srcId="{798A8C5B-4663-468B-BDAB-5BC0D323EF4E}" destId="{6C754846-F75A-4A89-A242-6671D8DDC5A9}" srcOrd="0" destOrd="0" presId="urn:microsoft.com/office/officeart/2005/8/layout/cycle2"/>
    <dgm:cxn modelId="{39CF8939-FD50-4866-BFC3-FFF7016904A4}" type="presParOf" srcId="{0314D0E1-52B0-4957-906A-3DED1FE20AB6}" destId="{B05F7D2C-D848-4E12-98C6-11FDD917CB93}" srcOrd="4" destOrd="0" presId="urn:microsoft.com/office/officeart/2005/8/layout/cycle2"/>
    <dgm:cxn modelId="{19CA1B1A-2109-4614-8763-20C2A30517E4}" type="presParOf" srcId="{0314D0E1-52B0-4957-906A-3DED1FE20AB6}" destId="{342C44B1-3496-43E6-B7A3-2E7DE47A0EB1}" srcOrd="5" destOrd="0" presId="urn:microsoft.com/office/officeart/2005/8/layout/cycle2"/>
    <dgm:cxn modelId="{06A02836-7A75-4607-9C53-06862CF36141}" type="presParOf" srcId="{342C44B1-3496-43E6-B7A3-2E7DE47A0EB1}" destId="{EFE96AD8-1B36-480F-B9D4-5217307D065E}" srcOrd="0" destOrd="0" presId="urn:microsoft.com/office/officeart/2005/8/layout/cycle2"/>
    <dgm:cxn modelId="{B027059D-18FE-42E0-8DDE-64653B95A603}" type="presParOf" srcId="{0314D0E1-52B0-4957-906A-3DED1FE20AB6}" destId="{AEC3BFE0-4A84-4A7A-9D2A-077ED9AD905B}" srcOrd="6" destOrd="0" presId="urn:microsoft.com/office/officeart/2005/8/layout/cycle2"/>
    <dgm:cxn modelId="{154FD5C2-2515-4FD3-8220-0B4D89DF49E0}" type="presParOf" srcId="{0314D0E1-52B0-4957-906A-3DED1FE20AB6}" destId="{BB722067-4A31-4156-9489-71E129EF8E43}" srcOrd="7" destOrd="0" presId="urn:microsoft.com/office/officeart/2005/8/layout/cycle2"/>
    <dgm:cxn modelId="{B73E8744-B087-4C2E-9520-2C54FCF73506}" type="presParOf" srcId="{BB722067-4A31-4156-9489-71E129EF8E43}" destId="{A40E58EC-493C-4310-A857-E6D93F3F5222}" srcOrd="0" destOrd="0" presId="urn:microsoft.com/office/officeart/2005/8/layout/cycle2"/>
    <dgm:cxn modelId="{6068C275-13F4-4C7A-AE83-8C3BB778AE91}" type="presParOf" srcId="{0314D0E1-52B0-4957-906A-3DED1FE20AB6}" destId="{157C4094-4D48-4CA4-8FE3-C846251355F5}" srcOrd="8" destOrd="0" presId="urn:microsoft.com/office/officeart/2005/8/layout/cycle2"/>
    <dgm:cxn modelId="{030A003A-DADE-499D-9A7D-7A5436A7DE30}" type="presParOf" srcId="{0314D0E1-52B0-4957-906A-3DED1FE20AB6}" destId="{9347F69F-9A85-4B8D-9DE5-233494D2AF22}" srcOrd="9" destOrd="0" presId="urn:microsoft.com/office/officeart/2005/8/layout/cycle2"/>
    <dgm:cxn modelId="{AAEE7CD8-9339-42CC-B30F-9C235F3DE96D}" type="presParOf" srcId="{9347F69F-9A85-4B8D-9DE5-233494D2AF22}" destId="{7EFAF541-47AF-4C3C-9CFE-C8EF5507A27C}" srcOrd="0" destOrd="0" presId="urn:microsoft.com/office/officeart/2005/8/layout/cycle2"/>
    <dgm:cxn modelId="{BE9312F0-CA25-493F-90AC-4E35EE44095F}" type="presParOf" srcId="{0314D0E1-52B0-4957-906A-3DED1FE20AB6}" destId="{5E517795-696C-4478-8F77-24582CDCDF88}" srcOrd="10" destOrd="0" presId="urn:microsoft.com/office/officeart/2005/8/layout/cycle2"/>
    <dgm:cxn modelId="{D6A5825D-6F38-4032-82F3-745BAA04403D}" type="presParOf" srcId="{0314D0E1-52B0-4957-906A-3DED1FE20AB6}" destId="{48C0BD33-5F17-45F5-9058-93C87A9DDC1F}" srcOrd="11" destOrd="0" presId="urn:microsoft.com/office/officeart/2005/8/layout/cycle2"/>
    <dgm:cxn modelId="{928F9D53-ED03-4E9D-BBEE-9F329916A9E1}" type="presParOf" srcId="{48C0BD33-5F17-45F5-9058-93C87A9DDC1F}" destId="{B1CEE351-6D90-4A79-B4AC-9CB274EA73AC}" srcOrd="0" destOrd="0" presId="urn:microsoft.com/office/officeart/2005/8/layout/cycle2"/>
    <dgm:cxn modelId="{DD154C46-F0CD-4853-B4D3-37BFDFBFE7A2}" type="presParOf" srcId="{0314D0E1-52B0-4957-906A-3DED1FE20AB6}" destId="{23AEF67E-B71E-4BFF-8274-B39880BE8995}" srcOrd="12" destOrd="0" presId="urn:microsoft.com/office/officeart/2005/8/layout/cycle2"/>
    <dgm:cxn modelId="{2352362D-C216-4934-B976-ACC846A0B1B7}" type="presParOf" srcId="{0314D0E1-52B0-4957-906A-3DED1FE20AB6}" destId="{9851BCFD-6C0F-44EE-A90D-93FA72FAD479}" srcOrd="13" destOrd="0" presId="urn:microsoft.com/office/officeart/2005/8/layout/cycle2"/>
    <dgm:cxn modelId="{53CA97B3-1B0F-49C2-8FB1-E51F0E2A3AB0}" type="presParOf" srcId="{9851BCFD-6C0F-44EE-A90D-93FA72FAD479}" destId="{587F2F10-0AE6-474A-8CEB-4172CC329BE3}" srcOrd="0" destOrd="0" presId="urn:microsoft.com/office/officeart/2005/8/layout/cycle2"/>
    <dgm:cxn modelId="{6C7376CF-B531-45D8-82D5-7AFBAEE2D0A8}" type="presParOf" srcId="{0314D0E1-52B0-4957-906A-3DED1FE20AB6}" destId="{9336A9F3-2A53-40E9-8F9F-8E4C967B12C1}" srcOrd="14" destOrd="0" presId="urn:microsoft.com/office/officeart/2005/8/layout/cycle2"/>
    <dgm:cxn modelId="{E6058B24-6B22-4AC9-A8C4-55EEBA6BD72A}" type="presParOf" srcId="{0314D0E1-52B0-4957-906A-3DED1FE20AB6}" destId="{80B8A62C-CA65-4F7F-B3E1-E47A6F8DBF28}" srcOrd="15" destOrd="0" presId="urn:microsoft.com/office/officeart/2005/8/layout/cycle2"/>
    <dgm:cxn modelId="{23BD7EE2-85D6-4987-BB89-A6D68E8D625E}" type="presParOf" srcId="{80B8A62C-CA65-4F7F-B3E1-E47A6F8DBF28}" destId="{D0FD9655-5A6C-4F6C-98FD-3B2D55F73505}" srcOrd="0" destOrd="0" presId="urn:microsoft.com/office/officeart/2005/8/layout/cycle2"/>
    <dgm:cxn modelId="{48B8227C-B198-4827-AAB2-358448A7B654}" type="presParOf" srcId="{0314D0E1-52B0-4957-906A-3DED1FE20AB6}" destId="{AA562BA4-1362-4B11-BE12-AAF95F9B0655}" srcOrd="16" destOrd="0" presId="urn:microsoft.com/office/officeart/2005/8/layout/cycle2"/>
    <dgm:cxn modelId="{34ADF0FD-F0C9-4581-9F61-722DE43562BA}" type="presParOf" srcId="{0314D0E1-52B0-4957-906A-3DED1FE20AB6}" destId="{8F1FDF32-78E0-4ED1-970D-21E8309CEF5A}" srcOrd="17" destOrd="0" presId="urn:microsoft.com/office/officeart/2005/8/layout/cycle2"/>
    <dgm:cxn modelId="{BA5572D4-2BC5-43AC-877A-D47370BEBE6A}" type="presParOf" srcId="{8F1FDF32-78E0-4ED1-970D-21E8309CEF5A}" destId="{56E98031-14F7-4FF4-8CB0-C66FC7DF872F}" srcOrd="0" destOrd="0" presId="urn:microsoft.com/office/officeart/2005/8/layout/cycle2"/>
    <dgm:cxn modelId="{B58E3DD8-4686-408F-BF14-2CAC2DE1CDC0}" type="presParOf" srcId="{0314D0E1-52B0-4957-906A-3DED1FE20AB6}" destId="{4C7C445F-E1C6-4F7A-821E-F674A343F87A}" srcOrd="18" destOrd="0" presId="urn:microsoft.com/office/officeart/2005/8/layout/cycle2"/>
    <dgm:cxn modelId="{337BDD5E-8AC0-4011-883F-9C1E410A4CB4}" type="presParOf" srcId="{0314D0E1-52B0-4957-906A-3DED1FE20AB6}" destId="{00C6A176-9825-494C-8FDD-D407F0EF76CB}" srcOrd="19" destOrd="0" presId="urn:microsoft.com/office/officeart/2005/8/layout/cycle2"/>
    <dgm:cxn modelId="{77291335-0177-4C63-AA2F-2DD019826FE7}" type="presParOf" srcId="{00C6A176-9825-494C-8FDD-D407F0EF76CB}" destId="{45B6EB01-0DBC-44EB-8631-D6071B6D84B4}" srcOrd="0" destOrd="0" presId="urn:microsoft.com/office/officeart/2005/8/layout/cycle2"/>
    <dgm:cxn modelId="{EEAAB5EE-ADD6-47AF-B40C-11D58B47D8AB}" type="presParOf" srcId="{0314D0E1-52B0-4957-906A-3DED1FE20AB6}" destId="{9B0B857B-DA14-4DB2-9764-FAEA0033B125}" srcOrd="20" destOrd="0" presId="urn:microsoft.com/office/officeart/2005/8/layout/cycle2"/>
    <dgm:cxn modelId="{818DC8DB-E0E0-44C9-B7E5-B73320D7A3CD}" type="presParOf" srcId="{0314D0E1-52B0-4957-906A-3DED1FE20AB6}" destId="{FEA59801-9672-4D23-8192-A605C46BE70F}" srcOrd="21" destOrd="0" presId="urn:microsoft.com/office/officeart/2005/8/layout/cycle2"/>
    <dgm:cxn modelId="{818A69D8-9B16-4FA4-B5FD-33EC5D15B8BE}"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rgbClr val="848A9A"/>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a:solidFill>
          <a:schemeClr val="accent2"/>
        </a:solidFill>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461AE762-D455-4CBD-9C4B-863216D65986}" type="presOf" srcId="{4D369322-CA3E-425E-AC5C-D9DEAEAC5E3C}" destId="{9B0B857B-DA14-4DB2-9764-FAEA0033B125}" srcOrd="0" destOrd="0" presId="urn:microsoft.com/office/officeart/2005/8/layout/cycle2"/>
    <dgm:cxn modelId="{52597EAB-FF51-4CF2-AD19-0A7526CBEC1B}" type="presOf" srcId="{C3EFBD6A-E3EC-4E4A-B112-75A580157B18}" destId="{9336A9F3-2A53-40E9-8F9F-8E4C967B12C1}" srcOrd="0"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27DACC00-F4AF-4BFC-ACAC-C1F8742C3A4A}" type="presOf" srcId="{36CA222D-1275-4473-881C-488A61C55835}" destId="{9347F69F-9A85-4B8D-9DE5-233494D2AF22}" srcOrd="0" destOrd="0" presId="urn:microsoft.com/office/officeart/2005/8/layout/cycle2"/>
    <dgm:cxn modelId="{F60ADFA2-97A8-4F8D-8BFA-A54C4FF38478}" type="presOf" srcId="{91162D75-99DA-487C-940D-DAE8D13C4447}" destId="{157C4094-4D48-4CA4-8FE3-C846251355F5}" srcOrd="0" destOrd="0" presId="urn:microsoft.com/office/officeart/2005/8/layout/cycle2"/>
    <dgm:cxn modelId="{5AF173C1-B6AB-4A1A-BB26-69E3FE6A87E8}" type="presOf" srcId="{7630EC86-B5D2-4E6A-906C-EC36BCBD2F9B}" destId="{8F1FDF32-78E0-4ED1-970D-21E8309CEF5A}" srcOrd="0" destOrd="0" presId="urn:microsoft.com/office/officeart/2005/8/layout/cycle2"/>
    <dgm:cxn modelId="{1DBE6795-9296-48D1-B037-13D62351615A}" type="presOf" srcId="{7630EC86-B5D2-4E6A-906C-EC36BCBD2F9B}" destId="{56E98031-14F7-4FF4-8CB0-C66FC7DF872F}" srcOrd="1" destOrd="0" presId="urn:microsoft.com/office/officeart/2005/8/layout/cycle2"/>
    <dgm:cxn modelId="{B5CABE68-37C3-4F74-A5E1-A3CED18598EA}" type="presOf" srcId="{0E50710D-2BD5-4826-B9D1-2870E5EAFE57}" destId="{80B8A62C-CA65-4F7F-B3E1-E47A6F8DBF28}"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BEAE500A-D18E-44A0-BB78-4E9B4FCEDB53}" type="presOf" srcId="{315727AA-F8CB-4FAC-81F0-3D8F3BB1B56E}" destId="{FEA59801-9672-4D23-8192-A605C46BE70F}" srcOrd="0" destOrd="0" presId="urn:microsoft.com/office/officeart/2005/8/layout/cycle2"/>
    <dgm:cxn modelId="{6B2C3DD1-396E-4739-910F-DD2A0F4AE0EC}" type="presOf" srcId="{36CA222D-1275-4473-881C-488A61C55835}" destId="{7EFAF541-47AF-4C3C-9CFE-C8EF5507A27C}" srcOrd="1" destOrd="0" presId="urn:microsoft.com/office/officeart/2005/8/layout/cycle2"/>
    <dgm:cxn modelId="{5C8BFCDA-6F45-4484-953F-4A96A6F0C481}" type="presOf" srcId="{DCEF1A9F-ED00-4444-8E7D-348279B7611D}" destId="{BB722067-4A31-4156-9489-71E129EF8E43}" srcOrd="0" destOrd="0" presId="urn:microsoft.com/office/officeart/2005/8/layout/cycle2"/>
    <dgm:cxn modelId="{237036F9-1624-4319-BAAB-FF0B59326DC7}" type="presOf" srcId="{E2CB592C-1787-44C9-8686-4F00CBFA5CB1}" destId="{45B6EB01-0DBC-44EB-8631-D6071B6D84B4}" srcOrd="1" destOrd="0" presId="urn:microsoft.com/office/officeart/2005/8/layout/cycle2"/>
    <dgm:cxn modelId="{1A1CF7E4-CA5A-44CB-AF88-D8920066176E}" type="presOf" srcId="{C1163CC9-4ECF-4D31-855C-26A2B3DCC5C4}" destId="{4C7C445F-E1C6-4F7A-821E-F674A343F87A}"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DA44EC77-E345-4ADD-87DA-BF276D5252A0}" type="presOf" srcId="{B9C095A4-09B3-4524-A547-0933F3DD34F1}" destId="{5E517795-696C-4478-8F77-24582CDCDF88}" srcOrd="0"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9EF71F1E-167E-484D-A51C-1BF3987454D7}" type="presOf" srcId="{20D4FDE3-C196-41C9-8DB2-EF038981D495}" destId="{B1CEE351-6D90-4A79-B4AC-9CB274EA73AC}" srcOrd="1" destOrd="0" presId="urn:microsoft.com/office/officeart/2005/8/layout/cycle2"/>
    <dgm:cxn modelId="{95E5CBF3-1ADE-41F4-AB0A-4015EAE6B4A5}" type="presOf" srcId="{1A1A6082-1BF4-40F3-BF25-E2599BB53BFA}" destId="{2546BF50-5AD8-40D0-A01F-A649CF2327DE}" srcOrd="1" destOrd="0" presId="urn:microsoft.com/office/officeart/2005/8/layout/cycle2"/>
    <dgm:cxn modelId="{4CB99E28-8653-41E6-853C-AF8DCD537FF3}" type="presOf" srcId="{B9D5BAA1-0541-416B-9895-A63D7BC366EC}" destId="{6B1C954F-37B9-4616-8073-9C538A00A4CD}" srcOrd="0" destOrd="0" presId="urn:microsoft.com/office/officeart/2005/8/layout/cycle2"/>
    <dgm:cxn modelId="{7612247E-8FE4-49D1-BAB4-C78537EE8A5D}" type="presOf" srcId="{E2CB592C-1787-44C9-8686-4F00CBFA5CB1}" destId="{00C6A176-9825-494C-8FDD-D407F0EF76CB}" srcOrd="0" destOrd="0" presId="urn:microsoft.com/office/officeart/2005/8/layout/cycle2"/>
    <dgm:cxn modelId="{45EB85C1-70B3-4D79-95A2-9D203F48566C}" type="presOf" srcId="{FE0AF671-58B1-40F8-8B7A-983E652E7D40}" destId="{0314D0E1-52B0-4957-906A-3DED1FE20AB6}" srcOrd="0"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9A3C2B1E-44F9-469C-A7BC-5A1AD392331C}" srcId="{FE0AF671-58B1-40F8-8B7A-983E652E7D40}" destId="{C3EFBD6A-E3EC-4E4A-B112-75A580157B18}" srcOrd="7" destOrd="0" parTransId="{3612719D-4FCA-4865-A190-987513537793}" sibTransId="{0E50710D-2BD5-4826-B9D1-2870E5EAFE57}"/>
    <dgm:cxn modelId="{AEB7EDE5-1D16-475A-B61C-CBF7CFCC2F0F}" srcId="{FE0AF671-58B1-40F8-8B7A-983E652E7D40}" destId="{C1163CC9-4ECF-4D31-855C-26A2B3DCC5C4}" srcOrd="9" destOrd="0" parTransId="{B8FEF4D3-4E21-4BAE-801E-7205F8E8EF77}" sibTransId="{E2CB592C-1787-44C9-8686-4F00CBFA5CB1}"/>
    <dgm:cxn modelId="{A7DA6456-3822-43EF-8C21-E14AB5F38771}" type="presOf" srcId="{BF32EDA5-B1A7-4C67-9DEE-B0EFED1F5B2B}" destId="{6C754846-F75A-4A89-A242-6671D8DDC5A9}" srcOrd="1" destOrd="0" presId="urn:microsoft.com/office/officeart/2005/8/layout/cycle2"/>
    <dgm:cxn modelId="{A95543A8-940B-43A7-8063-336B9B77648D}" type="presOf" srcId="{1A1A6082-1BF4-40F3-BF25-E2599BB53BFA}" destId="{CF57B3AA-9D23-4D82-8D72-1A4D072C9CF6}" srcOrd="0" destOrd="0" presId="urn:microsoft.com/office/officeart/2005/8/layout/cycle2"/>
    <dgm:cxn modelId="{400D6028-8650-4C2B-90C9-87A018CB3450}" type="presOf" srcId="{D5290F46-685B-42D9-A176-CA6370062CB6}" destId="{342C44B1-3496-43E6-B7A3-2E7DE47A0EB1}" srcOrd="0" destOrd="0" presId="urn:microsoft.com/office/officeart/2005/8/layout/cycle2"/>
    <dgm:cxn modelId="{471966FB-20E7-4A6B-99E6-32CB12861FF3}" type="presOf" srcId="{E8860603-B54B-464D-847C-F39AD96130A4}" destId="{83195273-D2D4-405D-A258-93AFE8C7BE7A}" srcOrd="0" destOrd="0" presId="urn:microsoft.com/office/officeart/2005/8/layout/cycle2"/>
    <dgm:cxn modelId="{239D539D-F603-4109-BC51-15CBE816AE74}" type="presOf" srcId="{4AB5C3AA-E12D-487A-99B0-D76EFF1AB462}" destId="{B05F7D2C-D848-4E12-98C6-11FDD917CB93}" srcOrd="0" destOrd="0" presId="urn:microsoft.com/office/officeart/2005/8/layout/cycle2"/>
    <dgm:cxn modelId="{905CD0E8-F45C-440D-BC8C-52A9BD373CCE}" type="presOf" srcId="{0E50710D-2BD5-4826-B9D1-2870E5EAFE57}" destId="{D0FD9655-5A6C-4F6C-98FD-3B2D55F73505}"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20FFB32D-6128-46E0-A4F7-93319C7590FA}" type="presOf" srcId="{6A94E007-355E-4DF8-8BC8-31F5F07906F8}" destId="{23AEF67E-B71E-4BFF-8274-B39880BE8995}"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E4963665-D03F-4D39-805D-E50E0E1493F9}" type="presOf" srcId="{BF32EDA5-B1A7-4C67-9DEE-B0EFED1F5B2B}" destId="{798A8C5B-4663-468B-BDAB-5BC0D323EF4E}" srcOrd="0" destOrd="0" presId="urn:microsoft.com/office/officeart/2005/8/layout/cycle2"/>
    <dgm:cxn modelId="{EABADD9B-A630-42EC-A4FF-900C32EAD93E}" type="presOf" srcId="{275AFB5B-A843-4E45-89A6-0D625719EC18}" destId="{AEC3BFE0-4A84-4A7A-9D2A-077ED9AD905B}" srcOrd="0" destOrd="0" presId="urn:microsoft.com/office/officeart/2005/8/layout/cycle2"/>
    <dgm:cxn modelId="{CEC92422-1133-4383-8F98-D5C35AD829A2}" type="presOf" srcId="{EA880416-D651-45A6-84F2-C54398F7B105}" destId="{AA562BA4-1362-4B11-BE12-AAF95F9B0655}" srcOrd="0" destOrd="0" presId="urn:microsoft.com/office/officeart/2005/8/layout/cycle2"/>
    <dgm:cxn modelId="{0F393803-329C-43DD-A1C9-3E61835BBE63}" type="presOf" srcId="{20D4FDE3-C196-41C9-8DB2-EF038981D495}" destId="{48C0BD33-5F17-45F5-9058-93C87A9DDC1F}" srcOrd="0" destOrd="0" presId="urn:microsoft.com/office/officeart/2005/8/layout/cycle2"/>
    <dgm:cxn modelId="{E29D04DF-8319-4BF0-939D-5A5B1E7B352F}" type="presOf" srcId="{315727AA-F8CB-4FAC-81F0-3D8F3BB1B56E}" destId="{1AFE4D34-A1BE-488A-9816-71CABDC842F3}" srcOrd="1"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23B4E43B-4B02-42F3-B466-8F9CFD900FD7}" type="presOf" srcId="{DCEF1A9F-ED00-4444-8E7D-348279B7611D}" destId="{A40E58EC-493C-4310-A857-E6D93F3F5222}" srcOrd="1" destOrd="0" presId="urn:microsoft.com/office/officeart/2005/8/layout/cycle2"/>
    <dgm:cxn modelId="{1289897C-BF1F-43E3-AC94-68E9665D04CD}" type="presOf" srcId="{A48FC8E7-DEF6-47DD-9FD7-A42C236E411D}" destId="{587F2F10-0AE6-474A-8CEB-4172CC329BE3}" srcOrd="1"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220315F5-3EF9-4678-9F55-F29610BBCC41}" type="presOf" srcId="{D5290F46-685B-42D9-A176-CA6370062CB6}" destId="{EFE96AD8-1B36-480F-B9D4-5217307D065E}" srcOrd="1" destOrd="0" presId="urn:microsoft.com/office/officeart/2005/8/layout/cycle2"/>
    <dgm:cxn modelId="{B8640915-16E0-415B-88C8-C6109280E08B}" type="presOf" srcId="{A48FC8E7-DEF6-47DD-9FD7-A42C236E411D}" destId="{9851BCFD-6C0F-44EE-A90D-93FA72FAD479}" srcOrd="0" destOrd="0" presId="urn:microsoft.com/office/officeart/2005/8/layout/cycle2"/>
    <dgm:cxn modelId="{BD5F7E7F-AB1C-4B32-81A9-DA4509BEF7AE}" type="presParOf" srcId="{0314D0E1-52B0-4957-906A-3DED1FE20AB6}" destId="{6B1C954F-37B9-4616-8073-9C538A00A4CD}" srcOrd="0" destOrd="0" presId="urn:microsoft.com/office/officeart/2005/8/layout/cycle2"/>
    <dgm:cxn modelId="{57FE1A04-5369-405B-827C-F8643D1CA919}" type="presParOf" srcId="{0314D0E1-52B0-4957-906A-3DED1FE20AB6}" destId="{CF57B3AA-9D23-4D82-8D72-1A4D072C9CF6}" srcOrd="1" destOrd="0" presId="urn:microsoft.com/office/officeart/2005/8/layout/cycle2"/>
    <dgm:cxn modelId="{5B8836A7-3F08-4AF2-AE4D-4A8332B9E261}" type="presParOf" srcId="{CF57B3AA-9D23-4D82-8D72-1A4D072C9CF6}" destId="{2546BF50-5AD8-40D0-A01F-A649CF2327DE}" srcOrd="0" destOrd="0" presId="urn:microsoft.com/office/officeart/2005/8/layout/cycle2"/>
    <dgm:cxn modelId="{A59E9547-CDB2-4A58-8665-B4DCDD54ECCB}" type="presParOf" srcId="{0314D0E1-52B0-4957-906A-3DED1FE20AB6}" destId="{83195273-D2D4-405D-A258-93AFE8C7BE7A}" srcOrd="2" destOrd="0" presId="urn:microsoft.com/office/officeart/2005/8/layout/cycle2"/>
    <dgm:cxn modelId="{4721579A-D2F5-4AC1-AF19-98C611F3D90D}" type="presParOf" srcId="{0314D0E1-52B0-4957-906A-3DED1FE20AB6}" destId="{798A8C5B-4663-468B-BDAB-5BC0D323EF4E}" srcOrd="3" destOrd="0" presId="urn:microsoft.com/office/officeart/2005/8/layout/cycle2"/>
    <dgm:cxn modelId="{538D5E7B-099C-4A04-AD60-D6327F39FF71}" type="presParOf" srcId="{798A8C5B-4663-468B-BDAB-5BC0D323EF4E}" destId="{6C754846-F75A-4A89-A242-6671D8DDC5A9}" srcOrd="0" destOrd="0" presId="urn:microsoft.com/office/officeart/2005/8/layout/cycle2"/>
    <dgm:cxn modelId="{2B0CEBFE-FB64-4C44-8CCA-17AE6303882C}" type="presParOf" srcId="{0314D0E1-52B0-4957-906A-3DED1FE20AB6}" destId="{B05F7D2C-D848-4E12-98C6-11FDD917CB93}" srcOrd="4" destOrd="0" presId="urn:microsoft.com/office/officeart/2005/8/layout/cycle2"/>
    <dgm:cxn modelId="{328CC167-2CC4-4A3C-AF2E-E683D0AD71A2}" type="presParOf" srcId="{0314D0E1-52B0-4957-906A-3DED1FE20AB6}" destId="{342C44B1-3496-43E6-B7A3-2E7DE47A0EB1}" srcOrd="5" destOrd="0" presId="urn:microsoft.com/office/officeart/2005/8/layout/cycle2"/>
    <dgm:cxn modelId="{BA7D5F16-22B5-4C92-B92F-9F852FB6BC7C}" type="presParOf" srcId="{342C44B1-3496-43E6-B7A3-2E7DE47A0EB1}" destId="{EFE96AD8-1B36-480F-B9D4-5217307D065E}" srcOrd="0" destOrd="0" presId="urn:microsoft.com/office/officeart/2005/8/layout/cycle2"/>
    <dgm:cxn modelId="{2079AB42-BEA1-468B-A68B-8DBF3F6534DC}" type="presParOf" srcId="{0314D0E1-52B0-4957-906A-3DED1FE20AB6}" destId="{AEC3BFE0-4A84-4A7A-9D2A-077ED9AD905B}" srcOrd="6" destOrd="0" presId="urn:microsoft.com/office/officeart/2005/8/layout/cycle2"/>
    <dgm:cxn modelId="{47FC0C39-01A8-40E8-9B44-605394A7A9A1}" type="presParOf" srcId="{0314D0E1-52B0-4957-906A-3DED1FE20AB6}" destId="{BB722067-4A31-4156-9489-71E129EF8E43}" srcOrd="7" destOrd="0" presId="urn:microsoft.com/office/officeart/2005/8/layout/cycle2"/>
    <dgm:cxn modelId="{510C1159-FE6E-487E-9FCD-4CDBF73255DF}" type="presParOf" srcId="{BB722067-4A31-4156-9489-71E129EF8E43}" destId="{A40E58EC-493C-4310-A857-E6D93F3F5222}" srcOrd="0" destOrd="0" presId="urn:microsoft.com/office/officeart/2005/8/layout/cycle2"/>
    <dgm:cxn modelId="{3EDD3BCD-C552-4B22-A52F-36314276C450}" type="presParOf" srcId="{0314D0E1-52B0-4957-906A-3DED1FE20AB6}" destId="{157C4094-4D48-4CA4-8FE3-C846251355F5}" srcOrd="8" destOrd="0" presId="urn:microsoft.com/office/officeart/2005/8/layout/cycle2"/>
    <dgm:cxn modelId="{1FE61B9F-B4BE-4042-8C29-F6F460DF7B31}" type="presParOf" srcId="{0314D0E1-52B0-4957-906A-3DED1FE20AB6}" destId="{9347F69F-9A85-4B8D-9DE5-233494D2AF22}" srcOrd="9" destOrd="0" presId="urn:microsoft.com/office/officeart/2005/8/layout/cycle2"/>
    <dgm:cxn modelId="{FB8D9900-1F09-49CF-BF74-5701F2E91B3E}" type="presParOf" srcId="{9347F69F-9A85-4B8D-9DE5-233494D2AF22}" destId="{7EFAF541-47AF-4C3C-9CFE-C8EF5507A27C}" srcOrd="0" destOrd="0" presId="urn:microsoft.com/office/officeart/2005/8/layout/cycle2"/>
    <dgm:cxn modelId="{291D6926-5AAF-43B6-94D2-9563A791B235}" type="presParOf" srcId="{0314D0E1-52B0-4957-906A-3DED1FE20AB6}" destId="{5E517795-696C-4478-8F77-24582CDCDF88}" srcOrd="10" destOrd="0" presId="urn:microsoft.com/office/officeart/2005/8/layout/cycle2"/>
    <dgm:cxn modelId="{91D16A5F-2E0C-42BE-917A-D743D588FD27}" type="presParOf" srcId="{0314D0E1-52B0-4957-906A-3DED1FE20AB6}" destId="{48C0BD33-5F17-45F5-9058-93C87A9DDC1F}" srcOrd="11" destOrd="0" presId="urn:microsoft.com/office/officeart/2005/8/layout/cycle2"/>
    <dgm:cxn modelId="{5C2DDAD8-FF38-4369-BFD8-4C2A6BA6B78C}" type="presParOf" srcId="{48C0BD33-5F17-45F5-9058-93C87A9DDC1F}" destId="{B1CEE351-6D90-4A79-B4AC-9CB274EA73AC}" srcOrd="0" destOrd="0" presId="urn:microsoft.com/office/officeart/2005/8/layout/cycle2"/>
    <dgm:cxn modelId="{C1552BB2-A9B5-4808-97A4-F7F5DB75562D}" type="presParOf" srcId="{0314D0E1-52B0-4957-906A-3DED1FE20AB6}" destId="{23AEF67E-B71E-4BFF-8274-B39880BE8995}" srcOrd="12" destOrd="0" presId="urn:microsoft.com/office/officeart/2005/8/layout/cycle2"/>
    <dgm:cxn modelId="{131F6F5D-9977-4FA3-9C04-4B975F9E5A08}" type="presParOf" srcId="{0314D0E1-52B0-4957-906A-3DED1FE20AB6}" destId="{9851BCFD-6C0F-44EE-A90D-93FA72FAD479}" srcOrd="13" destOrd="0" presId="urn:microsoft.com/office/officeart/2005/8/layout/cycle2"/>
    <dgm:cxn modelId="{0F5B994C-762C-4121-8962-ADF297E97FC7}" type="presParOf" srcId="{9851BCFD-6C0F-44EE-A90D-93FA72FAD479}" destId="{587F2F10-0AE6-474A-8CEB-4172CC329BE3}" srcOrd="0" destOrd="0" presId="urn:microsoft.com/office/officeart/2005/8/layout/cycle2"/>
    <dgm:cxn modelId="{F4CD7B95-DB8A-48B1-9BB9-5897B9AB1E87}" type="presParOf" srcId="{0314D0E1-52B0-4957-906A-3DED1FE20AB6}" destId="{9336A9F3-2A53-40E9-8F9F-8E4C967B12C1}" srcOrd="14" destOrd="0" presId="urn:microsoft.com/office/officeart/2005/8/layout/cycle2"/>
    <dgm:cxn modelId="{F5017BFB-7AA9-4084-AA11-0E80D97A8BC5}" type="presParOf" srcId="{0314D0E1-52B0-4957-906A-3DED1FE20AB6}" destId="{80B8A62C-CA65-4F7F-B3E1-E47A6F8DBF28}" srcOrd="15" destOrd="0" presId="urn:microsoft.com/office/officeart/2005/8/layout/cycle2"/>
    <dgm:cxn modelId="{B1456D36-CCBC-4B3C-A5EA-561EC024873F}" type="presParOf" srcId="{80B8A62C-CA65-4F7F-B3E1-E47A6F8DBF28}" destId="{D0FD9655-5A6C-4F6C-98FD-3B2D55F73505}" srcOrd="0" destOrd="0" presId="urn:microsoft.com/office/officeart/2005/8/layout/cycle2"/>
    <dgm:cxn modelId="{A7315439-3841-44F4-99A3-BD1EC3A999E5}" type="presParOf" srcId="{0314D0E1-52B0-4957-906A-3DED1FE20AB6}" destId="{AA562BA4-1362-4B11-BE12-AAF95F9B0655}" srcOrd="16" destOrd="0" presId="urn:microsoft.com/office/officeart/2005/8/layout/cycle2"/>
    <dgm:cxn modelId="{9F60B2DA-45BD-4A2B-B2C1-AB4C3EC617D1}" type="presParOf" srcId="{0314D0E1-52B0-4957-906A-3DED1FE20AB6}" destId="{8F1FDF32-78E0-4ED1-970D-21E8309CEF5A}" srcOrd="17" destOrd="0" presId="urn:microsoft.com/office/officeart/2005/8/layout/cycle2"/>
    <dgm:cxn modelId="{6D0B9267-19A4-4F72-88DC-32E2BD64C857}" type="presParOf" srcId="{8F1FDF32-78E0-4ED1-970D-21E8309CEF5A}" destId="{56E98031-14F7-4FF4-8CB0-C66FC7DF872F}" srcOrd="0" destOrd="0" presId="urn:microsoft.com/office/officeart/2005/8/layout/cycle2"/>
    <dgm:cxn modelId="{CF926747-652A-42CD-9092-2ABA5AD025B7}" type="presParOf" srcId="{0314D0E1-52B0-4957-906A-3DED1FE20AB6}" destId="{4C7C445F-E1C6-4F7A-821E-F674A343F87A}" srcOrd="18" destOrd="0" presId="urn:microsoft.com/office/officeart/2005/8/layout/cycle2"/>
    <dgm:cxn modelId="{F001B20F-9C1C-40FC-9A53-839C97EB93A1}" type="presParOf" srcId="{0314D0E1-52B0-4957-906A-3DED1FE20AB6}" destId="{00C6A176-9825-494C-8FDD-D407F0EF76CB}" srcOrd="19" destOrd="0" presId="urn:microsoft.com/office/officeart/2005/8/layout/cycle2"/>
    <dgm:cxn modelId="{30C23621-7621-4FD0-8821-ECCC72656825}" type="presParOf" srcId="{00C6A176-9825-494C-8FDD-D407F0EF76CB}" destId="{45B6EB01-0DBC-44EB-8631-D6071B6D84B4}" srcOrd="0" destOrd="0" presId="urn:microsoft.com/office/officeart/2005/8/layout/cycle2"/>
    <dgm:cxn modelId="{253EF64E-C6DF-4D3B-AA50-E87670F3FC99}" type="presParOf" srcId="{0314D0E1-52B0-4957-906A-3DED1FE20AB6}" destId="{9B0B857B-DA14-4DB2-9764-FAEA0033B125}" srcOrd="20" destOrd="0" presId="urn:microsoft.com/office/officeart/2005/8/layout/cycle2"/>
    <dgm:cxn modelId="{4F989655-C947-46DD-A3F5-336EFB020E58}" type="presParOf" srcId="{0314D0E1-52B0-4957-906A-3DED1FE20AB6}" destId="{FEA59801-9672-4D23-8192-A605C46BE70F}" srcOrd="21" destOrd="0" presId="urn:microsoft.com/office/officeart/2005/8/layout/cycle2"/>
    <dgm:cxn modelId="{9208F667-356A-4B09-B592-006BB8F98326}"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rgbClr val="848A9A"/>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a:solidFill>
          <a:schemeClr val="accent2"/>
        </a:solidFill>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48F2F17F-5E44-4273-923B-D73F8914B10A}" type="presOf" srcId="{EA880416-D651-45A6-84F2-C54398F7B105}" destId="{AA562BA4-1362-4B11-BE12-AAF95F9B0655}" srcOrd="0" destOrd="0" presId="urn:microsoft.com/office/officeart/2005/8/layout/cycle2"/>
    <dgm:cxn modelId="{10917FE3-1489-4473-A3A2-4C9050794376}" type="presOf" srcId="{315727AA-F8CB-4FAC-81F0-3D8F3BB1B56E}" destId="{1AFE4D34-A1BE-488A-9816-71CABDC842F3}" srcOrd="1" destOrd="0" presId="urn:microsoft.com/office/officeart/2005/8/layout/cycle2"/>
    <dgm:cxn modelId="{F96514B6-0F5B-4524-8D60-34B09CD07167}" type="presOf" srcId="{4D369322-CA3E-425E-AC5C-D9DEAEAC5E3C}" destId="{9B0B857B-DA14-4DB2-9764-FAEA0033B125}" srcOrd="0"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C93BD863-53B1-42E8-99BE-7B46ED72B5E4}" type="presOf" srcId="{BF32EDA5-B1A7-4C67-9DEE-B0EFED1F5B2B}" destId="{798A8C5B-4663-468B-BDAB-5BC0D323EF4E}" srcOrd="0" destOrd="0" presId="urn:microsoft.com/office/officeart/2005/8/layout/cycle2"/>
    <dgm:cxn modelId="{1837BC45-A0A8-4188-A38B-42085138DB08}" type="presOf" srcId="{DCEF1A9F-ED00-4444-8E7D-348279B7611D}" destId="{A40E58EC-493C-4310-A857-E6D93F3F5222}" srcOrd="1" destOrd="0" presId="urn:microsoft.com/office/officeart/2005/8/layout/cycle2"/>
    <dgm:cxn modelId="{7FD75A6E-7F47-44B1-B610-B3F0A8C8F221}" type="presOf" srcId="{D5290F46-685B-42D9-A176-CA6370062CB6}" destId="{342C44B1-3496-43E6-B7A3-2E7DE47A0EB1}" srcOrd="0" destOrd="0" presId="urn:microsoft.com/office/officeart/2005/8/layout/cycle2"/>
    <dgm:cxn modelId="{7BF345FC-FE98-492A-B148-07A947E9F506}" type="presOf" srcId="{36CA222D-1275-4473-881C-488A61C55835}" destId="{9347F69F-9A85-4B8D-9DE5-233494D2AF22}" srcOrd="0" destOrd="0" presId="urn:microsoft.com/office/officeart/2005/8/layout/cycle2"/>
    <dgm:cxn modelId="{486F4E66-2C46-4D48-8675-444F993FBC9B}" type="presOf" srcId="{1A1A6082-1BF4-40F3-BF25-E2599BB53BFA}" destId="{2546BF50-5AD8-40D0-A01F-A649CF2327DE}" srcOrd="1" destOrd="0" presId="urn:microsoft.com/office/officeart/2005/8/layout/cycle2"/>
    <dgm:cxn modelId="{55327FDB-356E-4D2A-A5A7-ADBEDB6656D3}" type="presOf" srcId="{36CA222D-1275-4473-881C-488A61C55835}" destId="{7EFAF541-47AF-4C3C-9CFE-C8EF5507A27C}"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5065DE0B-A8A6-4596-8D74-50474DCAE51E}" type="presOf" srcId="{1A1A6082-1BF4-40F3-BF25-E2599BB53BFA}" destId="{CF57B3AA-9D23-4D82-8D72-1A4D072C9CF6}" srcOrd="0" destOrd="0" presId="urn:microsoft.com/office/officeart/2005/8/layout/cycle2"/>
    <dgm:cxn modelId="{D3460B78-E29D-4FDA-86BE-B6459356036E}" type="presOf" srcId="{4AB5C3AA-E12D-487A-99B0-D76EFF1AB462}" destId="{B05F7D2C-D848-4E12-98C6-11FDD917CB93}" srcOrd="0" destOrd="0" presId="urn:microsoft.com/office/officeart/2005/8/layout/cycle2"/>
    <dgm:cxn modelId="{971093B5-FBB1-4C69-8218-ECA416B6C4CA}" type="presOf" srcId="{0E50710D-2BD5-4826-B9D1-2870E5EAFE57}" destId="{80B8A62C-CA65-4F7F-B3E1-E47A6F8DBF28}" srcOrd="0" destOrd="0" presId="urn:microsoft.com/office/officeart/2005/8/layout/cycle2"/>
    <dgm:cxn modelId="{A08E5360-F1C4-4592-A5A0-5FB2B2102253}" type="presOf" srcId="{315727AA-F8CB-4FAC-81F0-3D8F3BB1B56E}" destId="{FEA59801-9672-4D23-8192-A605C46BE70F}" srcOrd="0" destOrd="0" presId="urn:microsoft.com/office/officeart/2005/8/layout/cycle2"/>
    <dgm:cxn modelId="{8223F7D1-ED34-4005-8C98-2DD1A3A2A527}" type="presOf" srcId="{B9C095A4-09B3-4524-A547-0933F3DD34F1}" destId="{5E517795-696C-4478-8F77-24582CDCDF88}"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36C8EBC4-6C38-47FF-922E-8965B7B3FC17}" type="presOf" srcId="{20D4FDE3-C196-41C9-8DB2-EF038981D495}" destId="{B1CEE351-6D90-4A79-B4AC-9CB274EA73AC}" srcOrd="1" destOrd="0" presId="urn:microsoft.com/office/officeart/2005/8/layout/cycle2"/>
    <dgm:cxn modelId="{AE78BD98-E6E7-4DB5-B3B3-F1E25AA1B74B}" type="presOf" srcId="{A48FC8E7-DEF6-47DD-9FD7-A42C236E411D}" destId="{9851BCFD-6C0F-44EE-A90D-93FA72FAD479}" srcOrd="0" destOrd="0" presId="urn:microsoft.com/office/officeart/2005/8/layout/cycle2"/>
    <dgm:cxn modelId="{E13CAC8B-1F8D-4663-930B-C3D2F949ABC3}" type="presOf" srcId="{E8860603-B54B-464D-847C-F39AD96130A4}" destId="{83195273-D2D4-405D-A258-93AFE8C7BE7A}" srcOrd="0" destOrd="0" presId="urn:microsoft.com/office/officeart/2005/8/layout/cycle2"/>
    <dgm:cxn modelId="{5F0816CE-30E8-4166-A739-2E8C7AD8295C}" type="presOf" srcId="{0E50710D-2BD5-4826-B9D1-2870E5EAFE57}" destId="{D0FD9655-5A6C-4F6C-98FD-3B2D55F73505}" srcOrd="1" destOrd="0" presId="urn:microsoft.com/office/officeart/2005/8/layout/cycle2"/>
    <dgm:cxn modelId="{76B8FF33-99CE-4B05-A5A0-26250540200A}" type="presOf" srcId="{C3EFBD6A-E3EC-4E4A-B112-75A580157B18}" destId="{9336A9F3-2A53-40E9-8F9F-8E4C967B12C1}" srcOrd="0" destOrd="0" presId="urn:microsoft.com/office/officeart/2005/8/layout/cycle2"/>
    <dgm:cxn modelId="{7D0433ED-1236-460A-B206-B07F2FBFFFB0}" type="presOf" srcId="{E2CB592C-1787-44C9-8686-4F00CBFA5CB1}" destId="{45B6EB01-0DBC-44EB-8631-D6071B6D84B4}" srcOrd="1" destOrd="0" presId="urn:microsoft.com/office/officeart/2005/8/layout/cycle2"/>
    <dgm:cxn modelId="{69DD00DD-7835-4E3C-8AF7-CAD4D6A3EC9C}" type="presOf" srcId="{C1163CC9-4ECF-4D31-855C-26A2B3DCC5C4}" destId="{4C7C445F-E1C6-4F7A-821E-F674A343F87A}" srcOrd="0"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9A3C2B1E-44F9-469C-A7BC-5A1AD392331C}" srcId="{FE0AF671-58B1-40F8-8B7A-983E652E7D40}" destId="{C3EFBD6A-E3EC-4E4A-B112-75A580157B18}" srcOrd="7" destOrd="0" parTransId="{3612719D-4FCA-4865-A190-987513537793}" sibTransId="{0E50710D-2BD5-4826-B9D1-2870E5EAFE57}"/>
    <dgm:cxn modelId="{AEB7EDE5-1D16-475A-B61C-CBF7CFCC2F0F}" srcId="{FE0AF671-58B1-40F8-8B7A-983E652E7D40}" destId="{C1163CC9-4ECF-4D31-855C-26A2B3DCC5C4}" srcOrd="9" destOrd="0" parTransId="{B8FEF4D3-4E21-4BAE-801E-7205F8E8EF77}" sibTransId="{E2CB592C-1787-44C9-8686-4F00CBFA5CB1}"/>
    <dgm:cxn modelId="{F3AE0DDF-C9F7-4B33-A5A3-B89EE6D236D8}" type="presOf" srcId="{275AFB5B-A843-4E45-89A6-0D625719EC18}" destId="{AEC3BFE0-4A84-4A7A-9D2A-077ED9AD905B}"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B7EDB089-4B19-4074-9E5E-521FB88E55C4}" type="presOf" srcId="{91162D75-99DA-487C-940D-DAE8D13C4447}" destId="{157C4094-4D48-4CA4-8FE3-C846251355F5}"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D8751DBB-575F-4209-94C3-2AE8F36C69C5}" type="presOf" srcId="{B9D5BAA1-0541-416B-9895-A63D7BC366EC}" destId="{6B1C954F-37B9-4616-8073-9C538A00A4CD}" srcOrd="0" destOrd="0" presId="urn:microsoft.com/office/officeart/2005/8/layout/cycle2"/>
    <dgm:cxn modelId="{9221BFBE-6C7B-4DD1-9EFE-7018703775E8}" type="presOf" srcId="{7630EC86-B5D2-4E6A-906C-EC36BCBD2F9B}" destId="{56E98031-14F7-4FF4-8CB0-C66FC7DF872F}" srcOrd="1" destOrd="0" presId="urn:microsoft.com/office/officeart/2005/8/layout/cycle2"/>
    <dgm:cxn modelId="{1FF480F1-848C-4B7E-A7AB-D7C8E0737CFA}" type="presOf" srcId="{7630EC86-B5D2-4E6A-906C-EC36BCBD2F9B}" destId="{8F1FDF32-78E0-4ED1-970D-21E8309CEF5A}" srcOrd="0" destOrd="0" presId="urn:microsoft.com/office/officeart/2005/8/layout/cycle2"/>
    <dgm:cxn modelId="{91413480-88CC-414F-943E-433FBEC2EAEC}" type="presOf" srcId="{FE0AF671-58B1-40F8-8B7A-983E652E7D40}" destId="{0314D0E1-52B0-4957-906A-3DED1FE20AB6}" srcOrd="0" destOrd="0" presId="urn:microsoft.com/office/officeart/2005/8/layout/cycle2"/>
    <dgm:cxn modelId="{D2EA6148-8E59-4609-9C7F-7A7219FCE355}" type="presOf" srcId="{BF32EDA5-B1A7-4C67-9DEE-B0EFED1F5B2B}" destId="{6C754846-F75A-4A89-A242-6671D8DDC5A9}" srcOrd="1" destOrd="0" presId="urn:microsoft.com/office/officeart/2005/8/layout/cycle2"/>
    <dgm:cxn modelId="{487D49C4-E629-44C0-87C8-33FA67FF4593}" type="presOf" srcId="{D5290F46-685B-42D9-A176-CA6370062CB6}" destId="{EFE96AD8-1B36-480F-B9D4-5217307D065E}" srcOrd="1" destOrd="0" presId="urn:microsoft.com/office/officeart/2005/8/layout/cycle2"/>
    <dgm:cxn modelId="{65BC3DD6-1EE2-4E90-8AF5-F96686944893}" type="presOf" srcId="{6A94E007-355E-4DF8-8BC8-31F5F07906F8}" destId="{23AEF67E-B71E-4BFF-8274-B39880BE8995}" srcOrd="0" destOrd="0" presId="urn:microsoft.com/office/officeart/2005/8/layout/cycle2"/>
    <dgm:cxn modelId="{B08CF1C4-9EE9-4E85-9968-CBBE552CBB0C}" type="presOf" srcId="{20D4FDE3-C196-41C9-8DB2-EF038981D495}" destId="{48C0BD33-5F17-45F5-9058-93C87A9DDC1F}"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6CE9DDA4-5571-42DE-AFFE-446FE39040D5}" type="presOf" srcId="{E2CB592C-1787-44C9-8686-4F00CBFA5CB1}" destId="{00C6A176-9825-494C-8FDD-D407F0EF76CB}"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1D46561C-D599-47BC-90B3-9C559E4C3158}" type="presOf" srcId="{A48FC8E7-DEF6-47DD-9FD7-A42C236E411D}" destId="{587F2F10-0AE6-474A-8CEB-4172CC329BE3}" srcOrd="1" destOrd="0" presId="urn:microsoft.com/office/officeart/2005/8/layout/cycle2"/>
    <dgm:cxn modelId="{04438250-7CE6-4F5D-8637-486B2BEF1CFE}" type="presOf" srcId="{DCEF1A9F-ED00-4444-8E7D-348279B7611D}" destId="{BB722067-4A31-4156-9489-71E129EF8E43}" srcOrd="0" destOrd="0" presId="urn:microsoft.com/office/officeart/2005/8/layout/cycle2"/>
    <dgm:cxn modelId="{83854DE0-BF64-48DB-B7D8-E8EC754BC54F}" type="presParOf" srcId="{0314D0E1-52B0-4957-906A-3DED1FE20AB6}" destId="{6B1C954F-37B9-4616-8073-9C538A00A4CD}" srcOrd="0" destOrd="0" presId="urn:microsoft.com/office/officeart/2005/8/layout/cycle2"/>
    <dgm:cxn modelId="{E562746B-3C49-45AA-A5AF-6C3B96DDF1A3}" type="presParOf" srcId="{0314D0E1-52B0-4957-906A-3DED1FE20AB6}" destId="{CF57B3AA-9D23-4D82-8D72-1A4D072C9CF6}" srcOrd="1" destOrd="0" presId="urn:microsoft.com/office/officeart/2005/8/layout/cycle2"/>
    <dgm:cxn modelId="{FDB30186-DE9B-4EDD-8A7A-F62AFAED15FC}" type="presParOf" srcId="{CF57B3AA-9D23-4D82-8D72-1A4D072C9CF6}" destId="{2546BF50-5AD8-40D0-A01F-A649CF2327DE}" srcOrd="0" destOrd="0" presId="urn:microsoft.com/office/officeart/2005/8/layout/cycle2"/>
    <dgm:cxn modelId="{A6ECFEA2-249D-4E91-84D0-390BB15AF771}" type="presParOf" srcId="{0314D0E1-52B0-4957-906A-3DED1FE20AB6}" destId="{83195273-D2D4-405D-A258-93AFE8C7BE7A}" srcOrd="2" destOrd="0" presId="urn:microsoft.com/office/officeart/2005/8/layout/cycle2"/>
    <dgm:cxn modelId="{F6F6B9A5-C818-4CFD-9E76-03180024F6C1}" type="presParOf" srcId="{0314D0E1-52B0-4957-906A-3DED1FE20AB6}" destId="{798A8C5B-4663-468B-BDAB-5BC0D323EF4E}" srcOrd="3" destOrd="0" presId="urn:microsoft.com/office/officeart/2005/8/layout/cycle2"/>
    <dgm:cxn modelId="{F959A5C9-110E-4F3F-B08F-D42FCD6CBA0F}" type="presParOf" srcId="{798A8C5B-4663-468B-BDAB-5BC0D323EF4E}" destId="{6C754846-F75A-4A89-A242-6671D8DDC5A9}" srcOrd="0" destOrd="0" presId="urn:microsoft.com/office/officeart/2005/8/layout/cycle2"/>
    <dgm:cxn modelId="{8A974DBC-C893-4835-86DB-99DC00840979}" type="presParOf" srcId="{0314D0E1-52B0-4957-906A-3DED1FE20AB6}" destId="{B05F7D2C-D848-4E12-98C6-11FDD917CB93}" srcOrd="4" destOrd="0" presId="urn:microsoft.com/office/officeart/2005/8/layout/cycle2"/>
    <dgm:cxn modelId="{CCD22DD0-F9ED-4D9F-8BFA-CE9453D87B80}" type="presParOf" srcId="{0314D0E1-52B0-4957-906A-3DED1FE20AB6}" destId="{342C44B1-3496-43E6-B7A3-2E7DE47A0EB1}" srcOrd="5" destOrd="0" presId="urn:microsoft.com/office/officeart/2005/8/layout/cycle2"/>
    <dgm:cxn modelId="{187103AE-828D-4562-A62F-0EDE60C8AB43}" type="presParOf" srcId="{342C44B1-3496-43E6-B7A3-2E7DE47A0EB1}" destId="{EFE96AD8-1B36-480F-B9D4-5217307D065E}" srcOrd="0" destOrd="0" presId="urn:microsoft.com/office/officeart/2005/8/layout/cycle2"/>
    <dgm:cxn modelId="{C6DC77FC-AA89-4491-8121-D78C479674E2}" type="presParOf" srcId="{0314D0E1-52B0-4957-906A-3DED1FE20AB6}" destId="{AEC3BFE0-4A84-4A7A-9D2A-077ED9AD905B}" srcOrd="6" destOrd="0" presId="urn:microsoft.com/office/officeart/2005/8/layout/cycle2"/>
    <dgm:cxn modelId="{1A58E125-E4D9-40B5-A33E-EC2892E37F1C}" type="presParOf" srcId="{0314D0E1-52B0-4957-906A-3DED1FE20AB6}" destId="{BB722067-4A31-4156-9489-71E129EF8E43}" srcOrd="7" destOrd="0" presId="urn:microsoft.com/office/officeart/2005/8/layout/cycle2"/>
    <dgm:cxn modelId="{73C9AA73-D42B-4EB6-A5F3-068FF5C0496F}" type="presParOf" srcId="{BB722067-4A31-4156-9489-71E129EF8E43}" destId="{A40E58EC-493C-4310-A857-E6D93F3F5222}" srcOrd="0" destOrd="0" presId="urn:microsoft.com/office/officeart/2005/8/layout/cycle2"/>
    <dgm:cxn modelId="{1098893E-E872-4145-9802-4E753C3A62E3}" type="presParOf" srcId="{0314D0E1-52B0-4957-906A-3DED1FE20AB6}" destId="{157C4094-4D48-4CA4-8FE3-C846251355F5}" srcOrd="8" destOrd="0" presId="urn:microsoft.com/office/officeart/2005/8/layout/cycle2"/>
    <dgm:cxn modelId="{36587AC4-CB43-49B4-AC3E-889194D1149F}" type="presParOf" srcId="{0314D0E1-52B0-4957-906A-3DED1FE20AB6}" destId="{9347F69F-9A85-4B8D-9DE5-233494D2AF22}" srcOrd="9" destOrd="0" presId="urn:microsoft.com/office/officeart/2005/8/layout/cycle2"/>
    <dgm:cxn modelId="{EED2C091-5E3C-4B38-A64C-F682190F87CB}" type="presParOf" srcId="{9347F69F-9A85-4B8D-9DE5-233494D2AF22}" destId="{7EFAF541-47AF-4C3C-9CFE-C8EF5507A27C}" srcOrd="0" destOrd="0" presId="urn:microsoft.com/office/officeart/2005/8/layout/cycle2"/>
    <dgm:cxn modelId="{5EA0A00B-D600-4E26-972D-B368E1F5DE24}" type="presParOf" srcId="{0314D0E1-52B0-4957-906A-3DED1FE20AB6}" destId="{5E517795-696C-4478-8F77-24582CDCDF88}" srcOrd="10" destOrd="0" presId="urn:microsoft.com/office/officeart/2005/8/layout/cycle2"/>
    <dgm:cxn modelId="{A573045F-1ABB-417C-ABA7-215185888E6B}" type="presParOf" srcId="{0314D0E1-52B0-4957-906A-3DED1FE20AB6}" destId="{48C0BD33-5F17-45F5-9058-93C87A9DDC1F}" srcOrd="11" destOrd="0" presId="urn:microsoft.com/office/officeart/2005/8/layout/cycle2"/>
    <dgm:cxn modelId="{B3F8C322-D541-433A-93D1-39A1D6B2FF4B}" type="presParOf" srcId="{48C0BD33-5F17-45F5-9058-93C87A9DDC1F}" destId="{B1CEE351-6D90-4A79-B4AC-9CB274EA73AC}" srcOrd="0" destOrd="0" presId="urn:microsoft.com/office/officeart/2005/8/layout/cycle2"/>
    <dgm:cxn modelId="{0EF6C01C-0178-4D01-85F3-59A94D7DBE0F}" type="presParOf" srcId="{0314D0E1-52B0-4957-906A-3DED1FE20AB6}" destId="{23AEF67E-B71E-4BFF-8274-B39880BE8995}" srcOrd="12" destOrd="0" presId="urn:microsoft.com/office/officeart/2005/8/layout/cycle2"/>
    <dgm:cxn modelId="{31138CBB-AE0F-451D-B9C7-CD1818A45B5D}" type="presParOf" srcId="{0314D0E1-52B0-4957-906A-3DED1FE20AB6}" destId="{9851BCFD-6C0F-44EE-A90D-93FA72FAD479}" srcOrd="13" destOrd="0" presId="urn:microsoft.com/office/officeart/2005/8/layout/cycle2"/>
    <dgm:cxn modelId="{25E4ED95-BEA0-4C2D-B544-1D44315C0BC8}" type="presParOf" srcId="{9851BCFD-6C0F-44EE-A90D-93FA72FAD479}" destId="{587F2F10-0AE6-474A-8CEB-4172CC329BE3}" srcOrd="0" destOrd="0" presId="urn:microsoft.com/office/officeart/2005/8/layout/cycle2"/>
    <dgm:cxn modelId="{24043FD8-C707-46A4-B799-B754584F7755}" type="presParOf" srcId="{0314D0E1-52B0-4957-906A-3DED1FE20AB6}" destId="{9336A9F3-2A53-40E9-8F9F-8E4C967B12C1}" srcOrd="14" destOrd="0" presId="urn:microsoft.com/office/officeart/2005/8/layout/cycle2"/>
    <dgm:cxn modelId="{0BA85458-529C-4845-922F-9EF6E92717FC}" type="presParOf" srcId="{0314D0E1-52B0-4957-906A-3DED1FE20AB6}" destId="{80B8A62C-CA65-4F7F-B3E1-E47A6F8DBF28}" srcOrd="15" destOrd="0" presId="urn:microsoft.com/office/officeart/2005/8/layout/cycle2"/>
    <dgm:cxn modelId="{3298D8FF-67C4-4AC1-A194-2011225B5402}" type="presParOf" srcId="{80B8A62C-CA65-4F7F-B3E1-E47A6F8DBF28}" destId="{D0FD9655-5A6C-4F6C-98FD-3B2D55F73505}" srcOrd="0" destOrd="0" presId="urn:microsoft.com/office/officeart/2005/8/layout/cycle2"/>
    <dgm:cxn modelId="{7DBEB82C-2AE8-4054-BB9D-6AAE9930D0CE}" type="presParOf" srcId="{0314D0E1-52B0-4957-906A-3DED1FE20AB6}" destId="{AA562BA4-1362-4B11-BE12-AAF95F9B0655}" srcOrd="16" destOrd="0" presId="urn:microsoft.com/office/officeart/2005/8/layout/cycle2"/>
    <dgm:cxn modelId="{44EE2D83-DC40-4ADA-A71E-FED7817A88DB}" type="presParOf" srcId="{0314D0E1-52B0-4957-906A-3DED1FE20AB6}" destId="{8F1FDF32-78E0-4ED1-970D-21E8309CEF5A}" srcOrd="17" destOrd="0" presId="urn:microsoft.com/office/officeart/2005/8/layout/cycle2"/>
    <dgm:cxn modelId="{FB2DD167-2423-4BE8-A89D-503B95EDA028}" type="presParOf" srcId="{8F1FDF32-78E0-4ED1-970D-21E8309CEF5A}" destId="{56E98031-14F7-4FF4-8CB0-C66FC7DF872F}" srcOrd="0" destOrd="0" presId="urn:microsoft.com/office/officeart/2005/8/layout/cycle2"/>
    <dgm:cxn modelId="{5148DE14-7F1A-45FD-958B-F14465E09FF3}" type="presParOf" srcId="{0314D0E1-52B0-4957-906A-3DED1FE20AB6}" destId="{4C7C445F-E1C6-4F7A-821E-F674A343F87A}" srcOrd="18" destOrd="0" presId="urn:microsoft.com/office/officeart/2005/8/layout/cycle2"/>
    <dgm:cxn modelId="{6B616B86-2F85-458A-9244-7FB04867985A}" type="presParOf" srcId="{0314D0E1-52B0-4957-906A-3DED1FE20AB6}" destId="{00C6A176-9825-494C-8FDD-D407F0EF76CB}" srcOrd="19" destOrd="0" presId="urn:microsoft.com/office/officeart/2005/8/layout/cycle2"/>
    <dgm:cxn modelId="{1A6B4A1E-EED7-4A96-B506-A9062004ACC3}" type="presParOf" srcId="{00C6A176-9825-494C-8FDD-D407F0EF76CB}" destId="{45B6EB01-0DBC-44EB-8631-D6071B6D84B4}" srcOrd="0" destOrd="0" presId="urn:microsoft.com/office/officeart/2005/8/layout/cycle2"/>
    <dgm:cxn modelId="{1392AE9C-2029-429C-8725-BB224DC83341}" type="presParOf" srcId="{0314D0E1-52B0-4957-906A-3DED1FE20AB6}" destId="{9B0B857B-DA14-4DB2-9764-FAEA0033B125}" srcOrd="20" destOrd="0" presId="urn:microsoft.com/office/officeart/2005/8/layout/cycle2"/>
    <dgm:cxn modelId="{08DD8194-7FA7-42EC-B205-FEEF56BBCBEE}" type="presParOf" srcId="{0314D0E1-52B0-4957-906A-3DED1FE20AB6}" destId="{FEA59801-9672-4D23-8192-A605C46BE70F}" srcOrd="21" destOrd="0" presId="urn:microsoft.com/office/officeart/2005/8/layout/cycle2"/>
    <dgm:cxn modelId="{667C706B-9764-483A-8EBA-B8DF60912CCC}"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a:solidFill>
          <a:schemeClr val="accent2"/>
        </a:solidFill>
      </dgm:spPr>
      <dgm:t>
        <a:bodyPr/>
        <a:lstStyle/>
        <a:p>
          <a:r>
            <a:rPr lang="zh-CN" altLang="en-US" sz="1200" b="1" dirty="0" smtClean="0"/>
            <a:t>设备费</a:t>
          </a:r>
          <a:endParaRPr lang="zh-CN" altLang="en-US" sz="1200" b="1"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dgm:spPr/>
      <dgm:t>
        <a:bodyPr/>
        <a:lstStyle/>
        <a:p>
          <a:r>
            <a:rPr lang="zh-CN" altLang="en-US" dirty="0" smtClean="0"/>
            <a:t>材料费</a:t>
          </a:r>
          <a:endParaRPr lang="zh-CN" altLang="en-US"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dirty="0" smtClean="0"/>
            <a:t>测试化验加工费</a:t>
          </a:r>
          <a:endParaRPr lang="zh-CN" altLang="en-US" sz="60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dgm:spPr/>
      <dgm:t>
        <a:bodyPr/>
        <a:lstStyle/>
        <a:p>
          <a:r>
            <a:rPr lang="zh-CN" altLang="en-US" dirty="0" smtClean="0"/>
            <a:t>燃料动力费</a:t>
          </a:r>
          <a:endParaRPr lang="zh-CN" altLang="en-US"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dgm:spPr/>
      <dgm:t>
        <a:bodyPr/>
        <a:lstStyle/>
        <a:p>
          <a:r>
            <a:rPr lang="zh-CN" altLang="en-US" dirty="0" smtClean="0"/>
            <a:t>差旅费</a:t>
          </a:r>
          <a:r>
            <a:rPr lang="en-US" altLang="zh-CN" dirty="0" smtClean="0"/>
            <a:t>  </a:t>
          </a:r>
          <a:endParaRPr lang="zh-CN" altLang="en-US"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dgm:spPr/>
      <dgm:t>
        <a:bodyPr/>
        <a:lstStyle/>
        <a:p>
          <a:r>
            <a:rPr lang="zh-CN" altLang="en-US" dirty="0" smtClean="0"/>
            <a:t>其他费用</a:t>
          </a:r>
          <a:endParaRPr lang="zh-CN" altLang="en-US"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dgm:spPr/>
      <dgm:t>
        <a:bodyPr/>
        <a:lstStyle/>
        <a:p>
          <a:r>
            <a:rPr lang="zh-CN" altLang="en-US" dirty="0" smtClean="0"/>
            <a:t>会议费</a:t>
          </a:r>
          <a:endParaRPr lang="zh-CN" altLang="en-US"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dgm:spPr/>
      <dgm:t>
        <a:bodyPr/>
        <a:lstStyle/>
        <a:p>
          <a:r>
            <a:rPr lang="zh-CN" altLang="en-US" dirty="0" smtClean="0"/>
            <a:t>国际合作交流费</a:t>
          </a:r>
          <a:endParaRPr lang="zh-CN" altLang="en-US"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dgm:spPr/>
      <dgm:t>
        <a:bodyPr/>
        <a:lstStyle/>
        <a:p>
          <a:r>
            <a:rPr lang="zh-CN" altLang="en-US" dirty="0" smtClean="0"/>
            <a:t>劳务费</a:t>
          </a:r>
          <a:endParaRPr lang="zh-CN" altLang="en-US"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dgm:spPr/>
      <dgm:t>
        <a:bodyPr/>
        <a:lstStyle/>
        <a:p>
          <a:r>
            <a:rPr lang="zh-CN" altLang="en-US" dirty="0" smtClean="0"/>
            <a:t>专家咨询费</a:t>
          </a:r>
          <a:endParaRPr lang="zh-CN" altLang="en-US"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83967" custScaleY="69584"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5317" custScaleY="46310">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55317" custScaleY="46310">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5317" custScaleY="46310">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5317" custScaleY="4631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5317" custScaleY="46310">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DD22802A-6577-4820-9096-33B3A00E9485}" srcId="{FE0AF671-58B1-40F8-8B7A-983E652E7D40}" destId="{EA880416-D651-45A6-84F2-C54398F7B105}" srcOrd="8" destOrd="0" parTransId="{72BD0BD4-4B36-42CF-88B3-59B975F26DB9}" sibTransId="{7630EC86-B5D2-4E6A-906C-EC36BCBD2F9B}"/>
    <dgm:cxn modelId="{C078FF49-88DD-44B5-9CAF-96A3B5B5F74C}" type="presOf" srcId="{91162D75-99DA-487C-940D-DAE8D13C4447}" destId="{157C4094-4D48-4CA4-8FE3-C846251355F5}" srcOrd="0" destOrd="0" presId="urn:microsoft.com/office/officeart/2005/8/layout/cycle2"/>
    <dgm:cxn modelId="{D9C871F4-1E68-4CB7-9DAF-18D31408DCD3}" type="presOf" srcId="{4D369322-CA3E-425E-AC5C-D9DEAEAC5E3C}" destId="{9B0B857B-DA14-4DB2-9764-FAEA0033B125}" srcOrd="0" destOrd="0" presId="urn:microsoft.com/office/officeart/2005/8/layout/cycle2"/>
    <dgm:cxn modelId="{A2E89518-E82F-4442-ABA7-ADFD6B88C23B}" type="presOf" srcId="{E2CB592C-1787-44C9-8686-4F00CBFA5CB1}" destId="{45B6EB01-0DBC-44EB-8631-D6071B6D84B4}" srcOrd="1" destOrd="0" presId="urn:microsoft.com/office/officeart/2005/8/layout/cycle2"/>
    <dgm:cxn modelId="{3AAAD214-95A5-413B-8F48-196BE6D9ACFE}" type="presOf" srcId="{BF32EDA5-B1A7-4C67-9DEE-B0EFED1F5B2B}" destId="{6C754846-F75A-4A89-A242-6671D8DDC5A9}" srcOrd="1" destOrd="0" presId="urn:microsoft.com/office/officeart/2005/8/layout/cycle2"/>
    <dgm:cxn modelId="{1B47263E-C826-41FE-BD22-15212FD06FB0}" type="presOf" srcId="{FE0AF671-58B1-40F8-8B7A-983E652E7D40}" destId="{0314D0E1-52B0-4957-906A-3DED1FE20AB6}" srcOrd="0" destOrd="0" presId="urn:microsoft.com/office/officeart/2005/8/layout/cycle2"/>
    <dgm:cxn modelId="{060F367B-82AA-445D-B669-5AA201B79F7B}" type="presOf" srcId="{20D4FDE3-C196-41C9-8DB2-EF038981D495}" destId="{B1CEE351-6D90-4A79-B4AC-9CB274EA73AC}" srcOrd="1" destOrd="0" presId="urn:microsoft.com/office/officeart/2005/8/layout/cycle2"/>
    <dgm:cxn modelId="{AA100ED0-F01A-4CD4-9D86-C9D9F620341C}" type="presOf" srcId="{EA880416-D651-45A6-84F2-C54398F7B105}" destId="{AA562BA4-1362-4B11-BE12-AAF95F9B0655}" srcOrd="0" destOrd="0" presId="urn:microsoft.com/office/officeart/2005/8/layout/cycle2"/>
    <dgm:cxn modelId="{BE86A220-7DE4-48D8-9A4B-D51306CA385C}" type="presOf" srcId="{36CA222D-1275-4473-881C-488A61C55835}" destId="{7EFAF541-47AF-4C3C-9CFE-C8EF5507A27C}" srcOrd="1" destOrd="0" presId="urn:microsoft.com/office/officeart/2005/8/layout/cycle2"/>
    <dgm:cxn modelId="{5CC5978C-A5C7-4CAA-904B-9A38D7AD5511}" type="presOf" srcId="{1A1A6082-1BF4-40F3-BF25-E2599BB53BFA}" destId="{CF57B3AA-9D23-4D82-8D72-1A4D072C9CF6}" srcOrd="0" destOrd="0" presId="urn:microsoft.com/office/officeart/2005/8/layout/cycle2"/>
    <dgm:cxn modelId="{CF4774D6-777B-48D6-894A-5E18A24A1A35}" type="presOf" srcId="{0E50710D-2BD5-4826-B9D1-2870E5EAFE57}" destId="{80B8A62C-CA65-4F7F-B3E1-E47A6F8DBF28}"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9CD22671-CE7B-4C89-8210-DEEEDE5C0375}" type="presOf" srcId="{275AFB5B-A843-4E45-89A6-0D625719EC18}" destId="{AEC3BFE0-4A84-4A7A-9D2A-077ED9AD905B}" srcOrd="0" destOrd="0" presId="urn:microsoft.com/office/officeart/2005/8/layout/cycle2"/>
    <dgm:cxn modelId="{A1FDBE9D-4B50-4C1C-8F89-0B6ACE6714F4}" type="presOf" srcId="{B9C095A4-09B3-4524-A547-0933F3DD34F1}" destId="{5E517795-696C-4478-8F77-24582CDCDF88}" srcOrd="0" destOrd="0" presId="urn:microsoft.com/office/officeart/2005/8/layout/cycle2"/>
    <dgm:cxn modelId="{C6E90E79-403B-4876-B243-FB111B77EB83}" type="presOf" srcId="{D5290F46-685B-42D9-A176-CA6370062CB6}" destId="{EFE96AD8-1B36-480F-B9D4-5217307D065E}" srcOrd="1" destOrd="0" presId="urn:microsoft.com/office/officeart/2005/8/layout/cycle2"/>
    <dgm:cxn modelId="{0C6EC328-907C-4985-AF41-96CF98F7443F}" type="presOf" srcId="{E8860603-B54B-464D-847C-F39AD96130A4}" destId="{83195273-D2D4-405D-A258-93AFE8C7BE7A}" srcOrd="0" destOrd="0" presId="urn:microsoft.com/office/officeart/2005/8/layout/cycle2"/>
    <dgm:cxn modelId="{647EE0DB-EB24-40BA-BED7-7D2FF9E663FD}" type="presOf" srcId="{A48FC8E7-DEF6-47DD-9FD7-A42C236E411D}" destId="{9851BCFD-6C0F-44EE-A90D-93FA72FAD479}" srcOrd="0" destOrd="0" presId="urn:microsoft.com/office/officeart/2005/8/layout/cycle2"/>
    <dgm:cxn modelId="{900DED52-2DB3-4D90-88BF-2E83814281B9}" type="presOf" srcId="{D5290F46-685B-42D9-A176-CA6370062CB6}" destId="{342C44B1-3496-43E6-B7A3-2E7DE47A0EB1}" srcOrd="0" destOrd="0" presId="urn:microsoft.com/office/officeart/2005/8/layout/cycle2"/>
    <dgm:cxn modelId="{3C197A43-6FF0-4247-8AC7-E1C60D703EDF}" type="presOf" srcId="{C3EFBD6A-E3EC-4E4A-B112-75A580157B18}" destId="{9336A9F3-2A53-40E9-8F9F-8E4C967B12C1}" srcOrd="0" destOrd="0" presId="urn:microsoft.com/office/officeart/2005/8/layout/cycle2"/>
    <dgm:cxn modelId="{77290E69-FD8A-4EB5-B0ED-BC4995BB2643}" type="presOf" srcId="{A48FC8E7-DEF6-47DD-9FD7-A42C236E411D}" destId="{587F2F10-0AE6-474A-8CEB-4172CC329BE3}" srcOrd="1" destOrd="0" presId="urn:microsoft.com/office/officeart/2005/8/layout/cycle2"/>
    <dgm:cxn modelId="{16C493FE-0669-45E6-8E22-2009914A13E0}" type="presOf" srcId="{B9D5BAA1-0541-416B-9895-A63D7BC366EC}" destId="{6B1C954F-37B9-4616-8073-9C538A00A4CD}" srcOrd="0" destOrd="0" presId="urn:microsoft.com/office/officeart/2005/8/layout/cycle2"/>
    <dgm:cxn modelId="{0CEF5992-00BA-4C5F-A5AA-D27731708BE1}" type="presOf" srcId="{DCEF1A9F-ED00-4444-8E7D-348279B7611D}" destId="{BB722067-4A31-4156-9489-71E129EF8E43}"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B7F2E3A2-C20B-4F98-8951-749FD5D19AAC}" type="presOf" srcId="{BF32EDA5-B1A7-4C67-9DEE-B0EFED1F5B2B}" destId="{798A8C5B-4663-468B-BDAB-5BC0D323EF4E}" srcOrd="0" destOrd="0" presId="urn:microsoft.com/office/officeart/2005/8/layout/cycle2"/>
    <dgm:cxn modelId="{0D2C5742-8AFB-49C2-A82B-FA114525E7A9}" type="presOf" srcId="{7630EC86-B5D2-4E6A-906C-EC36BCBD2F9B}" destId="{8F1FDF32-78E0-4ED1-970D-21E8309CEF5A}" srcOrd="0" destOrd="0" presId="urn:microsoft.com/office/officeart/2005/8/layout/cycle2"/>
    <dgm:cxn modelId="{104A26E1-B78A-49BD-A3C8-2AAB637ACCFC}" type="presOf" srcId="{315727AA-F8CB-4FAC-81F0-3D8F3BB1B56E}" destId="{1AFE4D34-A1BE-488A-9816-71CABDC842F3}" srcOrd="1" destOrd="0" presId="urn:microsoft.com/office/officeart/2005/8/layout/cycle2"/>
    <dgm:cxn modelId="{2CB4D9C3-E78B-408D-ABC4-1232169E9014}" type="presOf" srcId="{20D4FDE3-C196-41C9-8DB2-EF038981D495}" destId="{48C0BD33-5F17-45F5-9058-93C87A9DDC1F}" srcOrd="0" destOrd="0" presId="urn:microsoft.com/office/officeart/2005/8/layout/cycle2"/>
    <dgm:cxn modelId="{D2E7833B-DF90-4A18-93B6-1AA6B30D47A4}" type="presOf" srcId="{DCEF1A9F-ED00-4444-8E7D-348279B7611D}" destId="{A40E58EC-493C-4310-A857-E6D93F3F5222}" srcOrd="1" destOrd="0" presId="urn:microsoft.com/office/officeart/2005/8/layout/cycle2"/>
    <dgm:cxn modelId="{138D359C-A962-40E5-B876-005C03F23009}" type="presOf" srcId="{C1163CC9-4ECF-4D31-855C-26A2B3DCC5C4}" destId="{4C7C445F-E1C6-4F7A-821E-F674A343F87A}" srcOrd="0" destOrd="0" presId="urn:microsoft.com/office/officeart/2005/8/layout/cycle2"/>
    <dgm:cxn modelId="{2189BC46-5820-424C-8764-E9A66E4E826A}" type="presOf" srcId="{E2CB592C-1787-44C9-8686-4F00CBFA5CB1}" destId="{00C6A176-9825-494C-8FDD-D407F0EF76CB}" srcOrd="0" destOrd="0" presId="urn:microsoft.com/office/officeart/2005/8/layout/cycle2"/>
    <dgm:cxn modelId="{852A28C2-17E6-48DF-A751-6C1F3E47B8C4}" type="presOf" srcId="{0E50710D-2BD5-4826-B9D1-2870E5EAFE57}" destId="{D0FD9655-5A6C-4F6C-98FD-3B2D55F73505}" srcOrd="1"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CB28C2B0-66BE-464C-89C4-4BD4513154E8}" type="presOf" srcId="{315727AA-F8CB-4FAC-81F0-3D8F3BB1B56E}" destId="{FEA59801-9672-4D23-8192-A605C46BE70F}"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BC6A350F-D0B3-496B-AEFD-FD9F08F35BB5}" type="presOf" srcId="{1A1A6082-1BF4-40F3-BF25-E2599BB53BFA}" destId="{2546BF50-5AD8-40D0-A01F-A649CF2327DE}" srcOrd="1" destOrd="0" presId="urn:microsoft.com/office/officeart/2005/8/layout/cycle2"/>
    <dgm:cxn modelId="{CC1378A5-16ED-4A41-A20D-7EAE42FA45CD}" type="presOf" srcId="{36CA222D-1275-4473-881C-488A61C55835}" destId="{9347F69F-9A85-4B8D-9DE5-233494D2AF22}"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F2167190-DF36-40E0-8E07-A39452BE64C4}" srcId="{FE0AF671-58B1-40F8-8B7A-983E652E7D40}" destId="{6A94E007-355E-4DF8-8BC8-31F5F07906F8}" srcOrd="6" destOrd="0" parTransId="{0B989E99-4766-4E2D-BC08-E4F4A6472D16}" sibTransId="{A48FC8E7-DEF6-47DD-9FD7-A42C236E411D}"/>
    <dgm:cxn modelId="{B18FBBF0-8F89-4769-BA21-0C4926844780}" type="presOf" srcId="{4AB5C3AA-E12D-487A-99B0-D76EFF1AB462}" destId="{B05F7D2C-D848-4E12-98C6-11FDD917CB93}"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5D1B2F7C-38D5-4436-AF38-DC1F33AE9D1F}" type="presOf" srcId="{6A94E007-355E-4DF8-8BC8-31F5F07906F8}" destId="{23AEF67E-B71E-4BFF-8274-B39880BE8995}" srcOrd="0" destOrd="0" presId="urn:microsoft.com/office/officeart/2005/8/layout/cycle2"/>
    <dgm:cxn modelId="{64365DE1-BD5E-4CC7-A159-773C023B0A49}" type="presOf" srcId="{7630EC86-B5D2-4E6A-906C-EC36BCBD2F9B}" destId="{56E98031-14F7-4FF4-8CB0-C66FC7DF872F}" srcOrd="1" destOrd="0" presId="urn:microsoft.com/office/officeart/2005/8/layout/cycle2"/>
    <dgm:cxn modelId="{90A381CC-43D1-49F9-BAF1-9157E7D7EA3F}" type="presParOf" srcId="{0314D0E1-52B0-4957-906A-3DED1FE20AB6}" destId="{6B1C954F-37B9-4616-8073-9C538A00A4CD}" srcOrd="0" destOrd="0" presId="urn:microsoft.com/office/officeart/2005/8/layout/cycle2"/>
    <dgm:cxn modelId="{62A24BFB-70E9-4952-8E04-E67C89FA9C8D}" type="presParOf" srcId="{0314D0E1-52B0-4957-906A-3DED1FE20AB6}" destId="{CF57B3AA-9D23-4D82-8D72-1A4D072C9CF6}" srcOrd="1" destOrd="0" presId="urn:microsoft.com/office/officeart/2005/8/layout/cycle2"/>
    <dgm:cxn modelId="{E7D850C1-C72E-4F62-A770-D3F202A5E910}" type="presParOf" srcId="{CF57B3AA-9D23-4D82-8D72-1A4D072C9CF6}" destId="{2546BF50-5AD8-40D0-A01F-A649CF2327DE}" srcOrd="0" destOrd="0" presId="urn:microsoft.com/office/officeart/2005/8/layout/cycle2"/>
    <dgm:cxn modelId="{06A8298B-2A2D-4EEB-B5B8-722F600933C6}" type="presParOf" srcId="{0314D0E1-52B0-4957-906A-3DED1FE20AB6}" destId="{83195273-D2D4-405D-A258-93AFE8C7BE7A}" srcOrd="2" destOrd="0" presId="urn:microsoft.com/office/officeart/2005/8/layout/cycle2"/>
    <dgm:cxn modelId="{AEB5EBC9-143A-4D89-80CF-8977BA5DEC8F}" type="presParOf" srcId="{0314D0E1-52B0-4957-906A-3DED1FE20AB6}" destId="{798A8C5B-4663-468B-BDAB-5BC0D323EF4E}" srcOrd="3" destOrd="0" presId="urn:microsoft.com/office/officeart/2005/8/layout/cycle2"/>
    <dgm:cxn modelId="{BAC282E6-4CA0-4B8B-A532-D8A8BFC170C7}" type="presParOf" srcId="{798A8C5B-4663-468B-BDAB-5BC0D323EF4E}" destId="{6C754846-F75A-4A89-A242-6671D8DDC5A9}" srcOrd="0" destOrd="0" presId="urn:microsoft.com/office/officeart/2005/8/layout/cycle2"/>
    <dgm:cxn modelId="{DC78CC67-49BB-41F5-92C3-BBE98974D023}" type="presParOf" srcId="{0314D0E1-52B0-4957-906A-3DED1FE20AB6}" destId="{B05F7D2C-D848-4E12-98C6-11FDD917CB93}" srcOrd="4" destOrd="0" presId="urn:microsoft.com/office/officeart/2005/8/layout/cycle2"/>
    <dgm:cxn modelId="{6E7F4F19-AA9E-437E-875D-2193C375AA2C}" type="presParOf" srcId="{0314D0E1-52B0-4957-906A-3DED1FE20AB6}" destId="{342C44B1-3496-43E6-B7A3-2E7DE47A0EB1}" srcOrd="5" destOrd="0" presId="urn:microsoft.com/office/officeart/2005/8/layout/cycle2"/>
    <dgm:cxn modelId="{7261CDCA-19E2-4E3A-9AF1-90E2CF38BF3F}" type="presParOf" srcId="{342C44B1-3496-43E6-B7A3-2E7DE47A0EB1}" destId="{EFE96AD8-1B36-480F-B9D4-5217307D065E}" srcOrd="0" destOrd="0" presId="urn:microsoft.com/office/officeart/2005/8/layout/cycle2"/>
    <dgm:cxn modelId="{A4692F43-A72A-46A0-9380-BA3E3A0A9824}" type="presParOf" srcId="{0314D0E1-52B0-4957-906A-3DED1FE20AB6}" destId="{AEC3BFE0-4A84-4A7A-9D2A-077ED9AD905B}" srcOrd="6" destOrd="0" presId="urn:microsoft.com/office/officeart/2005/8/layout/cycle2"/>
    <dgm:cxn modelId="{4B96AB17-CCBE-40FB-B79B-767202B7A3E6}" type="presParOf" srcId="{0314D0E1-52B0-4957-906A-3DED1FE20AB6}" destId="{BB722067-4A31-4156-9489-71E129EF8E43}" srcOrd="7" destOrd="0" presId="urn:microsoft.com/office/officeart/2005/8/layout/cycle2"/>
    <dgm:cxn modelId="{BA0777D6-12E8-492B-8F89-153D59F3B8CD}" type="presParOf" srcId="{BB722067-4A31-4156-9489-71E129EF8E43}" destId="{A40E58EC-493C-4310-A857-E6D93F3F5222}" srcOrd="0" destOrd="0" presId="urn:microsoft.com/office/officeart/2005/8/layout/cycle2"/>
    <dgm:cxn modelId="{FABC4949-8ED7-4725-9C68-621D8EF86822}" type="presParOf" srcId="{0314D0E1-52B0-4957-906A-3DED1FE20AB6}" destId="{157C4094-4D48-4CA4-8FE3-C846251355F5}" srcOrd="8" destOrd="0" presId="urn:microsoft.com/office/officeart/2005/8/layout/cycle2"/>
    <dgm:cxn modelId="{CC2896FF-AC06-4017-818C-6D8D136C0B80}" type="presParOf" srcId="{0314D0E1-52B0-4957-906A-3DED1FE20AB6}" destId="{9347F69F-9A85-4B8D-9DE5-233494D2AF22}" srcOrd="9" destOrd="0" presId="urn:microsoft.com/office/officeart/2005/8/layout/cycle2"/>
    <dgm:cxn modelId="{A0F726C6-7F97-49F2-9C4D-217C276241C6}" type="presParOf" srcId="{9347F69F-9A85-4B8D-9DE5-233494D2AF22}" destId="{7EFAF541-47AF-4C3C-9CFE-C8EF5507A27C}" srcOrd="0" destOrd="0" presId="urn:microsoft.com/office/officeart/2005/8/layout/cycle2"/>
    <dgm:cxn modelId="{1D08834E-039C-4489-8920-1EE25C3E14F9}" type="presParOf" srcId="{0314D0E1-52B0-4957-906A-3DED1FE20AB6}" destId="{5E517795-696C-4478-8F77-24582CDCDF88}" srcOrd="10" destOrd="0" presId="urn:microsoft.com/office/officeart/2005/8/layout/cycle2"/>
    <dgm:cxn modelId="{F4DF8B55-E82C-48CE-900C-D62A4B6276BB}" type="presParOf" srcId="{0314D0E1-52B0-4957-906A-3DED1FE20AB6}" destId="{48C0BD33-5F17-45F5-9058-93C87A9DDC1F}" srcOrd="11" destOrd="0" presId="urn:microsoft.com/office/officeart/2005/8/layout/cycle2"/>
    <dgm:cxn modelId="{7CE6BB2B-7E66-4E26-A5F3-5E5C309613D1}" type="presParOf" srcId="{48C0BD33-5F17-45F5-9058-93C87A9DDC1F}" destId="{B1CEE351-6D90-4A79-B4AC-9CB274EA73AC}" srcOrd="0" destOrd="0" presId="urn:microsoft.com/office/officeart/2005/8/layout/cycle2"/>
    <dgm:cxn modelId="{615580E8-C7BF-4F87-B21B-3E3C05AF375A}" type="presParOf" srcId="{0314D0E1-52B0-4957-906A-3DED1FE20AB6}" destId="{23AEF67E-B71E-4BFF-8274-B39880BE8995}" srcOrd="12" destOrd="0" presId="urn:microsoft.com/office/officeart/2005/8/layout/cycle2"/>
    <dgm:cxn modelId="{D313147C-F039-4796-B290-EFA33CD68E0B}" type="presParOf" srcId="{0314D0E1-52B0-4957-906A-3DED1FE20AB6}" destId="{9851BCFD-6C0F-44EE-A90D-93FA72FAD479}" srcOrd="13" destOrd="0" presId="urn:microsoft.com/office/officeart/2005/8/layout/cycle2"/>
    <dgm:cxn modelId="{D92445FE-7ABA-41E5-BD07-A5B63F7C1D95}" type="presParOf" srcId="{9851BCFD-6C0F-44EE-A90D-93FA72FAD479}" destId="{587F2F10-0AE6-474A-8CEB-4172CC329BE3}" srcOrd="0" destOrd="0" presId="urn:microsoft.com/office/officeart/2005/8/layout/cycle2"/>
    <dgm:cxn modelId="{66046B47-5E53-4812-BC77-1CCD1F7C33F9}" type="presParOf" srcId="{0314D0E1-52B0-4957-906A-3DED1FE20AB6}" destId="{9336A9F3-2A53-40E9-8F9F-8E4C967B12C1}" srcOrd="14" destOrd="0" presId="urn:microsoft.com/office/officeart/2005/8/layout/cycle2"/>
    <dgm:cxn modelId="{09856977-1488-4360-BA1E-0FCD49DDF802}" type="presParOf" srcId="{0314D0E1-52B0-4957-906A-3DED1FE20AB6}" destId="{80B8A62C-CA65-4F7F-B3E1-E47A6F8DBF28}" srcOrd="15" destOrd="0" presId="urn:microsoft.com/office/officeart/2005/8/layout/cycle2"/>
    <dgm:cxn modelId="{3978D9CF-BAB1-4233-A7FF-7845A30C4715}" type="presParOf" srcId="{80B8A62C-CA65-4F7F-B3E1-E47A6F8DBF28}" destId="{D0FD9655-5A6C-4F6C-98FD-3B2D55F73505}" srcOrd="0" destOrd="0" presId="urn:microsoft.com/office/officeart/2005/8/layout/cycle2"/>
    <dgm:cxn modelId="{76D8B34D-93A1-45AF-945E-274CCBFE5BFB}" type="presParOf" srcId="{0314D0E1-52B0-4957-906A-3DED1FE20AB6}" destId="{AA562BA4-1362-4B11-BE12-AAF95F9B0655}" srcOrd="16" destOrd="0" presId="urn:microsoft.com/office/officeart/2005/8/layout/cycle2"/>
    <dgm:cxn modelId="{589F7A91-E9C7-4089-9204-CB5151BF246B}" type="presParOf" srcId="{0314D0E1-52B0-4957-906A-3DED1FE20AB6}" destId="{8F1FDF32-78E0-4ED1-970D-21E8309CEF5A}" srcOrd="17" destOrd="0" presId="urn:microsoft.com/office/officeart/2005/8/layout/cycle2"/>
    <dgm:cxn modelId="{87BF034E-4EA9-4A99-9B74-441FAA0EB05F}" type="presParOf" srcId="{8F1FDF32-78E0-4ED1-970D-21E8309CEF5A}" destId="{56E98031-14F7-4FF4-8CB0-C66FC7DF872F}" srcOrd="0" destOrd="0" presId="urn:microsoft.com/office/officeart/2005/8/layout/cycle2"/>
    <dgm:cxn modelId="{0BAF71AF-D44E-416E-84D7-BBA8DE526403}" type="presParOf" srcId="{0314D0E1-52B0-4957-906A-3DED1FE20AB6}" destId="{4C7C445F-E1C6-4F7A-821E-F674A343F87A}" srcOrd="18" destOrd="0" presId="urn:microsoft.com/office/officeart/2005/8/layout/cycle2"/>
    <dgm:cxn modelId="{EDDA8170-5518-4692-8BC8-3DBDCDF9F3BA}" type="presParOf" srcId="{0314D0E1-52B0-4957-906A-3DED1FE20AB6}" destId="{00C6A176-9825-494C-8FDD-D407F0EF76CB}" srcOrd="19" destOrd="0" presId="urn:microsoft.com/office/officeart/2005/8/layout/cycle2"/>
    <dgm:cxn modelId="{3FDBD92C-3342-43A2-995C-3FABEDDEA414}" type="presParOf" srcId="{00C6A176-9825-494C-8FDD-D407F0EF76CB}" destId="{45B6EB01-0DBC-44EB-8631-D6071B6D84B4}" srcOrd="0" destOrd="0" presId="urn:microsoft.com/office/officeart/2005/8/layout/cycle2"/>
    <dgm:cxn modelId="{48BEE83B-20C3-4314-A4C0-BB27C54C59A5}" type="presParOf" srcId="{0314D0E1-52B0-4957-906A-3DED1FE20AB6}" destId="{9B0B857B-DA14-4DB2-9764-FAEA0033B125}" srcOrd="20" destOrd="0" presId="urn:microsoft.com/office/officeart/2005/8/layout/cycle2"/>
    <dgm:cxn modelId="{26C0887D-7342-48BA-B4D2-5FF638D9E323}" type="presParOf" srcId="{0314D0E1-52B0-4957-906A-3DED1FE20AB6}" destId="{FEA59801-9672-4D23-8192-A605C46BE70F}" srcOrd="21" destOrd="0" presId="urn:microsoft.com/office/officeart/2005/8/layout/cycle2"/>
    <dgm:cxn modelId="{9D9B35B6-4426-4AE1-925D-A822634DB875}"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rgbClr val="848A9A"/>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a:solidFill>
          <a:schemeClr val="accent2"/>
        </a:solidFill>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160017D0-B450-47AB-B229-BC2A716109B3}" type="presOf" srcId="{20D4FDE3-C196-41C9-8DB2-EF038981D495}" destId="{48C0BD33-5F17-45F5-9058-93C87A9DDC1F}" srcOrd="0" destOrd="0" presId="urn:microsoft.com/office/officeart/2005/8/layout/cycle2"/>
    <dgm:cxn modelId="{DE51AB1B-35B6-4AA6-A1C7-B37FDD7373BB}" type="presOf" srcId="{36CA222D-1275-4473-881C-488A61C55835}" destId="{7EFAF541-47AF-4C3C-9CFE-C8EF5507A27C}"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3FCEE93E-CB33-422A-A131-EB131C8E37C9}" type="presOf" srcId="{4AB5C3AA-E12D-487A-99B0-D76EFF1AB462}" destId="{B05F7D2C-D848-4E12-98C6-11FDD917CB93}" srcOrd="0" destOrd="0" presId="urn:microsoft.com/office/officeart/2005/8/layout/cycle2"/>
    <dgm:cxn modelId="{3D69B05C-1B06-4DB3-B0CE-857236442832}" type="presOf" srcId="{C3EFBD6A-E3EC-4E4A-B112-75A580157B18}" destId="{9336A9F3-2A53-40E9-8F9F-8E4C967B12C1}" srcOrd="0" destOrd="0" presId="urn:microsoft.com/office/officeart/2005/8/layout/cycle2"/>
    <dgm:cxn modelId="{BB34BB3E-8D41-4F94-A788-8EDAA1C5ABBA}" type="presOf" srcId="{DCEF1A9F-ED00-4444-8E7D-348279B7611D}" destId="{A40E58EC-493C-4310-A857-E6D93F3F5222}"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C7F2CC48-4C13-4346-92BB-6E36884BDB76}" type="presOf" srcId="{DCEF1A9F-ED00-4444-8E7D-348279B7611D}" destId="{BB722067-4A31-4156-9489-71E129EF8E43}" srcOrd="0" destOrd="0" presId="urn:microsoft.com/office/officeart/2005/8/layout/cycle2"/>
    <dgm:cxn modelId="{F8D5BFB8-E019-44E2-AA7E-10A689DD38CE}" type="presOf" srcId="{0E50710D-2BD5-4826-B9D1-2870E5EAFE57}" destId="{D0FD9655-5A6C-4F6C-98FD-3B2D55F73505}" srcOrd="1" destOrd="0" presId="urn:microsoft.com/office/officeart/2005/8/layout/cycle2"/>
    <dgm:cxn modelId="{86A34C73-59AF-41C5-A5FB-FE92ED6B47A7}" type="presOf" srcId="{D5290F46-685B-42D9-A176-CA6370062CB6}" destId="{342C44B1-3496-43E6-B7A3-2E7DE47A0EB1}" srcOrd="0" destOrd="0" presId="urn:microsoft.com/office/officeart/2005/8/layout/cycle2"/>
    <dgm:cxn modelId="{DA0A2293-C64A-46D8-829E-020A958D3ED7}" type="presOf" srcId="{B9C095A4-09B3-4524-A547-0933F3DD34F1}" destId="{5E517795-696C-4478-8F77-24582CDCDF88}" srcOrd="0" destOrd="0" presId="urn:microsoft.com/office/officeart/2005/8/layout/cycle2"/>
    <dgm:cxn modelId="{3F37B7BF-8D9D-43CD-BC5D-71665DE2AD23}" type="presOf" srcId="{275AFB5B-A843-4E45-89A6-0D625719EC18}" destId="{AEC3BFE0-4A84-4A7A-9D2A-077ED9AD905B}" srcOrd="0" destOrd="0" presId="urn:microsoft.com/office/officeart/2005/8/layout/cycle2"/>
    <dgm:cxn modelId="{780B2506-3605-4439-8588-D0A018E04646}" type="presOf" srcId="{315727AA-F8CB-4FAC-81F0-3D8F3BB1B56E}" destId="{1AFE4D34-A1BE-488A-9816-71CABDC842F3}" srcOrd="1" destOrd="0" presId="urn:microsoft.com/office/officeart/2005/8/layout/cycle2"/>
    <dgm:cxn modelId="{B5E8DB0F-621E-4506-8016-34133B3C13CD}" type="presOf" srcId="{E8860603-B54B-464D-847C-F39AD96130A4}" destId="{83195273-D2D4-405D-A258-93AFE8C7BE7A}" srcOrd="0" destOrd="0" presId="urn:microsoft.com/office/officeart/2005/8/layout/cycle2"/>
    <dgm:cxn modelId="{DDD279CC-EEF0-42D8-BAA7-64E6A01A7330}" type="presOf" srcId="{A48FC8E7-DEF6-47DD-9FD7-A42C236E411D}" destId="{587F2F10-0AE6-474A-8CEB-4172CC329BE3}" srcOrd="1" destOrd="0" presId="urn:microsoft.com/office/officeart/2005/8/layout/cycle2"/>
    <dgm:cxn modelId="{54B35D21-F5AC-4B45-9AD9-E91FAFF879F3}" type="presOf" srcId="{E2CB592C-1787-44C9-8686-4F00CBFA5CB1}" destId="{45B6EB01-0DBC-44EB-8631-D6071B6D84B4}" srcOrd="1" destOrd="0" presId="urn:microsoft.com/office/officeart/2005/8/layout/cycle2"/>
    <dgm:cxn modelId="{8A15A545-E1F6-444C-B48B-1042A76AC9C2}" type="presOf" srcId="{36CA222D-1275-4473-881C-488A61C55835}" destId="{9347F69F-9A85-4B8D-9DE5-233494D2AF22}" srcOrd="0" destOrd="0" presId="urn:microsoft.com/office/officeart/2005/8/layout/cycle2"/>
    <dgm:cxn modelId="{A5B29D99-6094-4369-A57C-86AC9603F9BC}" type="presOf" srcId="{6A94E007-355E-4DF8-8BC8-31F5F07906F8}" destId="{23AEF67E-B71E-4BFF-8274-B39880BE8995}"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3BEC7EE0-BC2A-4E2B-9236-71676BCAC70C}" type="presOf" srcId="{315727AA-F8CB-4FAC-81F0-3D8F3BB1B56E}" destId="{FEA59801-9672-4D23-8192-A605C46BE70F}" srcOrd="0" destOrd="0" presId="urn:microsoft.com/office/officeart/2005/8/layout/cycle2"/>
    <dgm:cxn modelId="{E84C01C0-E6E0-490D-B97E-0F7F6DBB07BE}" type="presOf" srcId="{BF32EDA5-B1A7-4C67-9DEE-B0EFED1F5B2B}" destId="{798A8C5B-4663-468B-BDAB-5BC0D323EF4E}" srcOrd="0" destOrd="0" presId="urn:microsoft.com/office/officeart/2005/8/layout/cycle2"/>
    <dgm:cxn modelId="{DE1A4895-26AD-4FC8-86BF-8C23C80CF06F}" type="presOf" srcId="{A48FC8E7-DEF6-47DD-9FD7-A42C236E411D}" destId="{9851BCFD-6C0F-44EE-A90D-93FA72FAD479}" srcOrd="0" destOrd="0" presId="urn:microsoft.com/office/officeart/2005/8/layout/cycle2"/>
    <dgm:cxn modelId="{137DBCEF-25D2-44D2-84AF-7A9E64CA84F1}" type="presOf" srcId="{0E50710D-2BD5-4826-B9D1-2870E5EAFE57}" destId="{80B8A62C-CA65-4F7F-B3E1-E47A6F8DBF28}" srcOrd="0"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9A3C2B1E-44F9-469C-A7BC-5A1AD392331C}" srcId="{FE0AF671-58B1-40F8-8B7A-983E652E7D40}" destId="{C3EFBD6A-E3EC-4E4A-B112-75A580157B18}" srcOrd="7" destOrd="0" parTransId="{3612719D-4FCA-4865-A190-987513537793}" sibTransId="{0E50710D-2BD5-4826-B9D1-2870E5EAFE57}"/>
    <dgm:cxn modelId="{AEB7EDE5-1D16-475A-B61C-CBF7CFCC2F0F}" srcId="{FE0AF671-58B1-40F8-8B7A-983E652E7D40}" destId="{C1163CC9-4ECF-4D31-855C-26A2B3DCC5C4}" srcOrd="9" destOrd="0" parTransId="{B8FEF4D3-4E21-4BAE-801E-7205F8E8EF77}" sibTransId="{E2CB592C-1787-44C9-8686-4F00CBFA5CB1}"/>
    <dgm:cxn modelId="{724F11B8-AE8B-4BD5-9285-8B8999698E24}" type="presOf" srcId="{4D369322-CA3E-425E-AC5C-D9DEAEAC5E3C}" destId="{9B0B857B-DA14-4DB2-9764-FAEA0033B125}"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40C865AA-8C32-4E1A-A2CC-9C034AF6C127}" type="presOf" srcId="{EA880416-D651-45A6-84F2-C54398F7B105}" destId="{AA562BA4-1362-4B11-BE12-AAF95F9B0655}" srcOrd="0" destOrd="0" presId="urn:microsoft.com/office/officeart/2005/8/layout/cycle2"/>
    <dgm:cxn modelId="{596CBBF2-D987-4582-A394-CF328FE28EED}" type="presOf" srcId="{E2CB592C-1787-44C9-8686-4F00CBFA5CB1}" destId="{00C6A176-9825-494C-8FDD-D407F0EF76CB}" srcOrd="0" destOrd="0" presId="urn:microsoft.com/office/officeart/2005/8/layout/cycle2"/>
    <dgm:cxn modelId="{329FDC3D-F237-4E06-8D7A-C23573D53C30}" type="presOf" srcId="{1A1A6082-1BF4-40F3-BF25-E2599BB53BFA}" destId="{2546BF50-5AD8-40D0-A01F-A649CF2327DE}" srcOrd="1" destOrd="0" presId="urn:microsoft.com/office/officeart/2005/8/layout/cycle2"/>
    <dgm:cxn modelId="{DA6D30F8-D331-4C0B-A926-F5FB9EB53B57}" type="presOf" srcId="{D5290F46-685B-42D9-A176-CA6370062CB6}" destId="{EFE96AD8-1B36-480F-B9D4-5217307D065E}" srcOrd="1" destOrd="0" presId="urn:microsoft.com/office/officeart/2005/8/layout/cycle2"/>
    <dgm:cxn modelId="{AB87AA0D-C60A-4884-AD42-CB25071EE697}" type="presOf" srcId="{C1163CC9-4ECF-4D31-855C-26A2B3DCC5C4}" destId="{4C7C445F-E1C6-4F7A-821E-F674A343F87A}"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5F27AA08-348E-415A-9FBA-6A723D7E3B36}" type="presOf" srcId="{91162D75-99DA-487C-940D-DAE8D13C4447}" destId="{157C4094-4D48-4CA4-8FE3-C846251355F5}" srcOrd="0" destOrd="0" presId="urn:microsoft.com/office/officeart/2005/8/layout/cycle2"/>
    <dgm:cxn modelId="{23B8953B-93AB-434B-BB9D-AFD24B517D9D}" type="presOf" srcId="{1A1A6082-1BF4-40F3-BF25-E2599BB53BFA}" destId="{CF57B3AA-9D23-4D82-8D72-1A4D072C9CF6}" srcOrd="0" destOrd="0" presId="urn:microsoft.com/office/officeart/2005/8/layout/cycle2"/>
    <dgm:cxn modelId="{C21208EC-B932-455D-9A81-B0C5FA8C4581}" type="presOf" srcId="{BF32EDA5-B1A7-4C67-9DEE-B0EFED1F5B2B}" destId="{6C754846-F75A-4A89-A242-6671D8DDC5A9}" srcOrd="1"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1D064A05-48DD-45D3-9DC7-EEB9329B5EC4}" srcId="{FE0AF671-58B1-40F8-8B7A-983E652E7D40}" destId="{91162D75-99DA-487C-940D-DAE8D13C4447}" srcOrd="4" destOrd="0" parTransId="{80DE664A-ECD6-4435-A4B2-FD6572B36AF8}" sibTransId="{36CA222D-1275-4473-881C-488A61C55835}"/>
    <dgm:cxn modelId="{67AC0505-06AF-4C23-8DFD-08B5DA8BB17B}" type="presOf" srcId="{7630EC86-B5D2-4E6A-906C-EC36BCBD2F9B}" destId="{56E98031-14F7-4FF4-8CB0-C66FC7DF872F}" srcOrd="1" destOrd="0" presId="urn:microsoft.com/office/officeart/2005/8/layout/cycle2"/>
    <dgm:cxn modelId="{9DC32722-2A79-4088-B531-CDFE26F287BA}" type="presOf" srcId="{FE0AF671-58B1-40F8-8B7A-983E652E7D40}" destId="{0314D0E1-52B0-4957-906A-3DED1FE20AB6}" srcOrd="0" destOrd="0" presId="urn:microsoft.com/office/officeart/2005/8/layout/cycle2"/>
    <dgm:cxn modelId="{1F32FE82-943B-4B7C-975D-C5763060D10C}" type="presOf" srcId="{20D4FDE3-C196-41C9-8DB2-EF038981D495}" destId="{B1CEE351-6D90-4A79-B4AC-9CB274EA73AC}" srcOrd="1" destOrd="0" presId="urn:microsoft.com/office/officeart/2005/8/layout/cycle2"/>
    <dgm:cxn modelId="{FBEAEB55-5B5F-4C40-B328-F98AEB25DE80}" type="presOf" srcId="{B9D5BAA1-0541-416B-9895-A63D7BC366EC}" destId="{6B1C954F-37B9-4616-8073-9C538A00A4CD}" srcOrd="0" destOrd="0" presId="urn:microsoft.com/office/officeart/2005/8/layout/cycle2"/>
    <dgm:cxn modelId="{AAFFD8FE-CDBE-477C-B6A7-CA7F0567AA4E}" type="presOf" srcId="{7630EC86-B5D2-4E6A-906C-EC36BCBD2F9B}" destId="{8F1FDF32-78E0-4ED1-970D-21E8309CEF5A}" srcOrd="0" destOrd="0" presId="urn:microsoft.com/office/officeart/2005/8/layout/cycle2"/>
    <dgm:cxn modelId="{C77746D0-28B7-4AA8-A921-AC1186CB2459}" type="presParOf" srcId="{0314D0E1-52B0-4957-906A-3DED1FE20AB6}" destId="{6B1C954F-37B9-4616-8073-9C538A00A4CD}" srcOrd="0" destOrd="0" presId="urn:microsoft.com/office/officeart/2005/8/layout/cycle2"/>
    <dgm:cxn modelId="{C88DA077-5BC2-420E-973C-5037D3EA91D5}" type="presParOf" srcId="{0314D0E1-52B0-4957-906A-3DED1FE20AB6}" destId="{CF57B3AA-9D23-4D82-8D72-1A4D072C9CF6}" srcOrd="1" destOrd="0" presId="urn:microsoft.com/office/officeart/2005/8/layout/cycle2"/>
    <dgm:cxn modelId="{5E98376C-21AE-4547-B6AD-2FCC84E9CBAF}" type="presParOf" srcId="{CF57B3AA-9D23-4D82-8D72-1A4D072C9CF6}" destId="{2546BF50-5AD8-40D0-A01F-A649CF2327DE}" srcOrd="0" destOrd="0" presId="urn:microsoft.com/office/officeart/2005/8/layout/cycle2"/>
    <dgm:cxn modelId="{6C211483-4F6A-43DF-8474-242EB11157A8}" type="presParOf" srcId="{0314D0E1-52B0-4957-906A-3DED1FE20AB6}" destId="{83195273-D2D4-405D-A258-93AFE8C7BE7A}" srcOrd="2" destOrd="0" presId="urn:microsoft.com/office/officeart/2005/8/layout/cycle2"/>
    <dgm:cxn modelId="{6B8EC5F6-554C-4EE3-BE7C-6478405C4EC1}" type="presParOf" srcId="{0314D0E1-52B0-4957-906A-3DED1FE20AB6}" destId="{798A8C5B-4663-468B-BDAB-5BC0D323EF4E}" srcOrd="3" destOrd="0" presId="urn:microsoft.com/office/officeart/2005/8/layout/cycle2"/>
    <dgm:cxn modelId="{60EAECEE-863E-41CF-861D-F86F388628EB}" type="presParOf" srcId="{798A8C5B-4663-468B-BDAB-5BC0D323EF4E}" destId="{6C754846-F75A-4A89-A242-6671D8DDC5A9}" srcOrd="0" destOrd="0" presId="urn:microsoft.com/office/officeart/2005/8/layout/cycle2"/>
    <dgm:cxn modelId="{BA40400E-8A6F-4C7D-93BA-833128C28141}" type="presParOf" srcId="{0314D0E1-52B0-4957-906A-3DED1FE20AB6}" destId="{B05F7D2C-D848-4E12-98C6-11FDD917CB93}" srcOrd="4" destOrd="0" presId="urn:microsoft.com/office/officeart/2005/8/layout/cycle2"/>
    <dgm:cxn modelId="{52711BB5-263F-4B4C-874D-3512D73D1F84}" type="presParOf" srcId="{0314D0E1-52B0-4957-906A-3DED1FE20AB6}" destId="{342C44B1-3496-43E6-B7A3-2E7DE47A0EB1}" srcOrd="5" destOrd="0" presId="urn:microsoft.com/office/officeart/2005/8/layout/cycle2"/>
    <dgm:cxn modelId="{31BD2DF8-A896-4A78-B2F6-5B730B5AFB52}" type="presParOf" srcId="{342C44B1-3496-43E6-B7A3-2E7DE47A0EB1}" destId="{EFE96AD8-1B36-480F-B9D4-5217307D065E}" srcOrd="0" destOrd="0" presId="urn:microsoft.com/office/officeart/2005/8/layout/cycle2"/>
    <dgm:cxn modelId="{DDF305BC-D74F-4195-8D34-BC4F35C29CEB}" type="presParOf" srcId="{0314D0E1-52B0-4957-906A-3DED1FE20AB6}" destId="{AEC3BFE0-4A84-4A7A-9D2A-077ED9AD905B}" srcOrd="6" destOrd="0" presId="urn:microsoft.com/office/officeart/2005/8/layout/cycle2"/>
    <dgm:cxn modelId="{446968F4-FFC4-4F56-A435-5B2E966E1DAF}" type="presParOf" srcId="{0314D0E1-52B0-4957-906A-3DED1FE20AB6}" destId="{BB722067-4A31-4156-9489-71E129EF8E43}" srcOrd="7" destOrd="0" presId="urn:microsoft.com/office/officeart/2005/8/layout/cycle2"/>
    <dgm:cxn modelId="{258CAE99-0745-49DD-9C3D-B634E113A378}" type="presParOf" srcId="{BB722067-4A31-4156-9489-71E129EF8E43}" destId="{A40E58EC-493C-4310-A857-E6D93F3F5222}" srcOrd="0" destOrd="0" presId="urn:microsoft.com/office/officeart/2005/8/layout/cycle2"/>
    <dgm:cxn modelId="{512052BA-401A-4231-A1C5-700D0D2DFFAE}" type="presParOf" srcId="{0314D0E1-52B0-4957-906A-3DED1FE20AB6}" destId="{157C4094-4D48-4CA4-8FE3-C846251355F5}" srcOrd="8" destOrd="0" presId="urn:microsoft.com/office/officeart/2005/8/layout/cycle2"/>
    <dgm:cxn modelId="{E3843A32-1A38-46C6-B906-8DC17E53044E}" type="presParOf" srcId="{0314D0E1-52B0-4957-906A-3DED1FE20AB6}" destId="{9347F69F-9A85-4B8D-9DE5-233494D2AF22}" srcOrd="9" destOrd="0" presId="urn:microsoft.com/office/officeart/2005/8/layout/cycle2"/>
    <dgm:cxn modelId="{42F53E55-72E8-4D40-8B38-99F02E77EC72}" type="presParOf" srcId="{9347F69F-9A85-4B8D-9DE5-233494D2AF22}" destId="{7EFAF541-47AF-4C3C-9CFE-C8EF5507A27C}" srcOrd="0" destOrd="0" presId="urn:microsoft.com/office/officeart/2005/8/layout/cycle2"/>
    <dgm:cxn modelId="{5D58B9BD-CADE-4452-9CD3-466ADC58959A}" type="presParOf" srcId="{0314D0E1-52B0-4957-906A-3DED1FE20AB6}" destId="{5E517795-696C-4478-8F77-24582CDCDF88}" srcOrd="10" destOrd="0" presId="urn:microsoft.com/office/officeart/2005/8/layout/cycle2"/>
    <dgm:cxn modelId="{49D0300C-6B63-4C46-BD04-A43BC74807ED}" type="presParOf" srcId="{0314D0E1-52B0-4957-906A-3DED1FE20AB6}" destId="{48C0BD33-5F17-45F5-9058-93C87A9DDC1F}" srcOrd="11" destOrd="0" presId="urn:microsoft.com/office/officeart/2005/8/layout/cycle2"/>
    <dgm:cxn modelId="{C79EE861-212A-4302-B032-29F758F6F5C3}" type="presParOf" srcId="{48C0BD33-5F17-45F5-9058-93C87A9DDC1F}" destId="{B1CEE351-6D90-4A79-B4AC-9CB274EA73AC}" srcOrd="0" destOrd="0" presId="urn:microsoft.com/office/officeart/2005/8/layout/cycle2"/>
    <dgm:cxn modelId="{A85EE752-512D-4EA5-8DF0-C75F1B61CA0D}" type="presParOf" srcId="{0314D0E1-52B0-4957-906A-3DED1FE20AB6}" destId="{23AEF67E-B71E-4BFF-8274-B39880BE8995}" srcOrd="12" destOrd="0" presId="urn:microsoft.com/office/officeart/2005/8/layout/cycle2"/>
    <dgm:cxn modelId="{5AB127B1-C694-4D50-AE88-0360807F598B}" type="presParOf" srcId="{0314D0E1-52B0-4957-906A-3DED1FE20AB6}" destId="{9851BCFD-6C0F-44EE-A90D-93FA72FAD479}" srcOrd="13" destOrd="0" presId="urn:microsoft.com/office/officeart/2005/8/layout/cycle2"/>
    <dgm:cxn modelId="{A237EF34-4220-4225-996A-FB43A2466907}" type="presParOf" srcId="{9851BCFD-6C0F-44EE-A90D-93FA72FAD479}" destId="{587F2F10-0AE6-474A-8CEB-4172CC329BE3}" srcOrd="0" destOrd="0" presId="urn:microsoft.com/office/officeart/2005/8/layout/cycle2"/>
    <dgm:cxn modelId="{E9DA9F1B-061D-4A62-90D1-6387F7B09622}" type="presParOf" srcId="{0314D0E1-52B0-4957-906A-3DED1FE20AB6}" destId="{9336A9F3-2A53-40E9-8F9F-8E4C967B12C1}" srcOrd="14" destOrd="0" presId="urn:microsoft.com/office/officeart/2005/8/layout/cycle2"/>
    <dgm:cxn modelId="{6167D98F-058D-46FA-9CEA-24899A7B64CA}" type="presParOf" srcId="{0314D0E1-52B0-4957-906A-3DED1FE20AB6}" destId="{80B8A62C-CA65-4F7F-B3E1-E47A6F8DBF28}" srcOrd="15" destOrd="0" presId="urn:microsoft.com/office/officeart/2005/8/layout/cycle2"/>
    <dgm:cxn modelId="{7C1564BC-2E54-4E6B-8CA8-4ECF6DCD720C}" type="presParOf" srcId="{80B8A62C-CA65-4F7F-B3E1-E47A6F8DBF28}" destId="{D0FD9655-5A6C-4F6C-98FD-3B2D55F73505}" srcOrd="0" destOrd="0" presId="urn:microsoft.com/office/officeart/2005/8/layout/cycle2"/>
    <dgm:cxn modelId="{2CFEA4A0-963F-4D1F-A363-621DD3223078}" type="presParOf" srcId="{0314D0E1-52B0-4957-906A-3DED1FE20AB6}" destId="{AA562BA4-1362-4B11-BE12-AAF95F9B0655}" srcOrd="16" destOrd="0" presId="urn:microsoft.com/office/officeart/2005/8/layout/cycle2"/>
    <dgm:cxn modelId="{5A86C8ED-A949-4B12-BD71-BBBC1D254594}" type="presParOf" srcId="{0314D0E1-52B0-4957-906A-3DED1FE20AB6}" destId="{8F1FDF32-78E0-4ED1-970D-21E8309CEF5A}" srcOrd="17" destOrd="0" presId="urn:microsoft.com/office/officeart/2005/8/layout/cycle2"/>
    <dgm:cxn modelId="{C34468E9-6EE9-4CE2-AD5A-5F694913E244}" type="presParOf" srcId="{8F1FDF32-78E0-4ED1-970D-21E8309CEF5A}" destId="{56E98031-14F7-4FF4-8CB0-C66FC7DF872F}" srcOrd="0" destOrd="0" presId="urn:microsoft.com/office/officeart/2005/8/layout/cycle2"/>
    <dgm:cxn modelId="{DB9CAE09-DE04-4D46-97FE-2FC86AB3E8AC}" type="presParOf" srcId="{0314D0E1-52B0-4957-906A-3DED1FE20AB6}" destId="{4C7C445F-E1C6-4F7A-821E-F674A343F87A}" srcOrd="18" destOrd="0" presId="urn:microsoft.com/office/officeart/2005/8/layout/cycle2"/>
    <dgm:cxn modelId="{67991C44-D43B-4792-9372-3E16817FCE3D}" type="presParOf" srcId="{0314D0E1-52B0-4957-906A-3DED1FE20AB6}" destId="{00C6A176-9825-494C-8FDD-D407F0EF76CB}" srcOrd="19" destOrd="0" presId="urn:microsoft.com/office/officeart/2005/8/layout/cycle2"/>
    <dgm:cxn modelId="{A8103511-DF95-4ED5-9B32-44B32D49166E}" type="presParOf" srcId="{00C6A176-9825-494C-8FDD-D407F0EF76CB}" destId="{45B6EB01-0DBC-44EB-8631-D6071B6D84B4}" srcOrd="0" destOrd="0" presId="urn:microsoft.com/office/officeart/2005/8/layout/cycle2"/>
    <dgm:cxn modelId="{6AF27E2A-9E8C-49D2-A9AD-6CAD1A0A6AA0}" type="presParOf" srcId="{0314D0E1-52B0-4957-906A-3DED1FE20AB6}" destId="{9B0B857B-DA14-4DB2-9764-FAEA0033B125}" srcOrd="20" destOrd="0" presId="urn:microsoft.com/office/officeart/2005/8/layout/cycle2"/>
    <dgm:cxn modelId="{8682C1CC-5118-4ABA-A445-5FA612AFBB03}" type="presParOf" srcId="{0314D0E1-52B0-4957-906A-3DED1FE20AB6}" destId="{FEA59801-9672-4D23-8192-A605C46BE70F}" srcOrd="21" destOrd="0" presId="urn:microsoft.com/office/officeart/2005/8/layout/cycle2"/>
    <dgm:cxn modelId="{900E3CBF-A9E4-4F6C-94B8-B1BD0E20FB11}"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rgbClr val="848A9A"/>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a:solidFill>
          <a:schemeClr val="accent2"/>
        </a:solidFill>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3E5032D6-8394-49CB-8F20-C87481EBFA41}" type="presOf" srcId="{1A1A6082-1BF4-40F3-BF25-E2599BB53BFA}" destId="{2546BF50-5AD8-40D0-A01F-A649CF2327DE}" srcOrd="1" destOrd="0" presId="urn:microsoft.com/office/officeart/2005/8/layout/cycle2"/>
    <dgm:cxn modelId="{F51839F0-2124-4548-92E6-A1F50F94F78E}" type="presOf" srcId="{0E50710D-2BD5-4826-B9D1-2870E5EAFE57}" destId="{80B8A62C-CA65-4F7F-B3E1-E47A6F8DBF28}" srcOrd="0"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4A0F066D-7257-48B5-9132-E044D9EAF85E}" type="presOf" srcId="{C3EFBD6A-E3EC-4E4A-B112-75A580157B18}" destId="{9336A9F3-2A53-40E9-8F9F-8E4C967B12C1}" srcOrd="0" destOrd="0" presId="urn:microsoft.com/office/officeart/2005/8/layout/cycle2"/>
    <dgm:cxn modelId="{B98A1F58-E752-4077-9CE9-3B6DFAA7C5DE}" type="presOf" srcId="{91162D75-99DA-487C-940D-DAE8D13C4447}" destId="{157C4094-4D48-4CA4-8FE3-C846251355F5}" srcOrd="0" destOrd="0" presId="urn:microsoft.com/office/officeart/2005/8/layout/cycle2"/>
    <dgm:cxn modelId="{08A27013-32C6-42AB-AC61-21D3B0C97530}" type="presOf" srcId="{C1163CC9-4ECF-4D31-855C-26A2B3DCC5C4}" destId="{4C7C445F-E1C6-4F7A-821E-F674A343F87A}" srcOrd="0" destOrd="0" presId="urn:microsoft.com/office/officeart/2005/8/layout/cycle2"/>
    <dgm:cxn modelId="{8991D0B7-80C3-4E4C-A777-C75277047336}" type="presOf" srcId="{B9D5BAA1-0541-416B-9895-A63D7BC366EC}" destId="{6B1C954F-37B9-4616-8073-9C538A00A4CD}"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C6B8291C-4E3A-492A-8E4F-F9D01102C1AD}" type="presOf" srcId="{A48FC8E7-DEF6-47DD-9FD7-A42C236E411D}" destId="{9851BCFD-6C0F-44EE-A90D-93FA72FAD479}" srcOrd="0" destOrd="0" presId="urn:microsoft.com/office/officeart/2005/8/layout/cycle2"/>
    <dgm:cxn modelId="{7B065E57-27D3-422B-B76F-FF5BBEE06E49}" type="presOf" srcId="{DCEF1A9F-ED00-4444-8E7D-348279B7611D}" destId="{BB722067-4A31-4156-9489-71E129EF8E43}" srcOrd="0" destOrd="0" presId="urn:microsoft.com/office/officeart/2005/8/layout/cycle2"/>
    <dgm:cxn modelId="{A93722B1-79E9-480A-8586-FA24B7D14067}" type="presOf" srcId="{BF32EDA5-B1A7-4C67-9DEE-B0EFED1F5B2B}" destId="{6C754846-F75A-4A89-A242-6671D8DDC5A9}" srcOrd="1" destOrd="0" presId="urn:microsoft.com/office/officeart/2005/8/layout/cycle2"/>
    <dgm:cxn modelId="{ECACEF58-30F4-4343-BADF-C8E90A7CE916}" type="presOf" srcId="{36CA222D-1275-4473-881C-488A61C55835}" destId="{9347F69F-9A85-4B8D-9DE5-233494D2AF22}" srcOrd="0" destOrd="0" presId="urn:microsoft.com/office/officeart/2005/8/layout/cycle2"/>
    <dgm:cxn modelId="{192CF45A-F6B9-4221-BA38-B06C0C537908}" type="presOf" srcId="{7630EC86-B5D2-4E6A-906C-EC36BCBD2F9B}" destId="{56E98031-14F7-4FF4-8CB0-C66FC7DF872F}" srcOrd="1" destOrd="0" presId="urn:microsoft.com/office/officeart/2005/8/layout/cycle2"/>
    <dgm:cxn modelId="{A25D4C47-1E59-4838-9482-5DFBC03B8BC0}" type="presOf" srcId="{6A94E007-355E-4DF8-8BC8-31F5F07906F8}" destId="{23AEF67E-B71E-4BFF-8274-B39880BE8995}" srcOrd="0" destOrd="0" presId="urn:microsoft.com/office/officeart/2005/8/layout/cycle2"/>
    <dgm:cxn modelId="{9FA1F5A4-5453-4C6C-992E-E30B00B19B68}" type="presOf" srcId="{4D369322-CA3E-425E-AC5C-D9DEAEAC5E3C}" destId="{9B0B857B-DA14-4DB2-9764-FAEA0033B125}" srcOrd="0" destOrd="0" presId="urn:microsoft.com/office/officeart/2005/8/layout/cycle2"/>
    <dgm:cxn modelId="{AB02CD3D-1C44-462C-A616-B1A89008D1FE}" type="presOf" srcId="{D5290F46-685B-42D9-A176-CA6370062CB6}" destId="{342C44B1-3496-43E6-B7A3-2E7DE47A0EB1}" srcOrd="0" destOrd="0" presId="urn:microsoft.com/office/officeart/2005/8/layout/cycle2"/>
    <dgm:cxn modelId="{D7936F62-E28F-4E37-A98A-40AC1BFBE1E5}" type="presOf" srcId="{315727AA-F8CB-4FAC-81F0-3D8F3BB1B56E}" destId="{FEA59801-9672-4D23-8192-A605C46BE70F}" srcOrd="0" destOrd="0" presId="urn:microsoft.com/office/officeart/2005/8/layout/cycle2"/>
    <dgm:cxn modelId="{1065838D-6503-402A-A685-D4C550EB873B}" type="presOf" srcId="{FE0AF671-58B1-40F8-8B7A-983E652E7D40}" destId="{0314D0E1-52B0-4957-906A-3DED1FE20AB6}" srcOrd="0" destOrd="0" presId="urn:microsoft.com/office/officeart/2005/8/layout/cycle2"/>
    <dgm:cxn modelId="{062C6420-5834-4705-BDCF-D2137085B9C2}" type="presOf" srcId="{315727AA-F8CB-4FAC-81F0-3D8F3BB1B56E}" destId="{1AFE4D34-A1BE-488A-9816-71CABDC842F3}" srcOrd="1" destOrd="0" presId="urn:microsoft.com/office/officeart/2005/8/layout/cycle2"/>
    <dgm:cxn modelId="{E49C6797-359D-4B3A-B372-74D636D26770}" type="presOf" srcId="{E2CB592C-1787-44C9-8686-4F00CBFA5CB1}" destId="{00C6A176-9825-494C-8FDD-D407F0EF76CB}"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9272CDA9-3211-4F1F-929B-EBBD6068E89A}" type="presOf" srcId="{20D4FDE3-C196-41C9-8DB2-EF038981D495}" destId="{B1CEE351-6D90-4A79-B4AC-9CB274EA73AC}" srcOrd="1" destOrd="0" presId="urn:microsoft.com/office/officeart/2005/8/layout/cycle2"/>
    <dgm:cxn modelId="{CE133263-E745-4EE8-A6C3-C7CF6676A8E3}" type="presOf" srcId="{E2CB592C-1787-44C9-8686-4F00CBFA5CB1}" destId="{45B6EB01-0DBC-44EB-8631-D6071B6D84B4}" srcOrd="1" destOrd="0" presId="urn:microsoft.com/office/officeart/2005/8/layout/cycle2"/>
    <dgm:cxn modelId="{E0255E41-CC4D-4F27-BBEB-DA77B0EE2991}" type="presOf" srcId="{7630EC86-B5D2-4E6A-906C-EC36BCBD2F9B}" destId="{8F1FDF32-78E0-4ED1-970D-21E8309CEF5A}" srcOrd="0" destOrd="0" presId="urn:microsoft.com/office/officeart/2005/8/layout/cycle2"/>
    <dgm:cxn modelId="{BEA31357-385B-49DB-81AB-73C9BAB86A61}" type="presOf" srcId="{36CA222D-1275-4473-881C-488A61C55835}" destId="{7EFAF541-47AF-4C3C-9CFE-C8EF5507A27C}" srcOrd="1" destOrd="0" presId="urn:microsoft.com/office/officeart/2005/8/layout/cycle2"/>
    <dgm:cxn modelId="{5AD961E0-C136-4AAC-82B3-A3540F2F753F}" type="presOf" srcId="{D5290F46-685B-42D9-A176-CA6370062CB6}" destId="{EFE96AD8-1B36-480F-B9D4-5217307D065E}" srcOrd="1"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53D0C93B-E4C5-48FF-A94F-D03919328B2B}" type="presOf" srcId="{EA880416-D651-45A6-84F2-C54398F7B105}" destId="{AA562BA4-1362-4B11-BE12-AAF95F9B0655}" srcOrd="0" destOrd="0" presId="urn:microsoft.com/office/officeart/2005/8/layout/cycle2"/>
    <dgm:cxn modelId="{A71C64E4-EE28-4AEB-B2D8-5A9B68619E8B}" type="presOf" srcId="{20D4FDE3-C196-41C9-8DB2-EF038981D495}" destId="{48C0BD33-5F17-45F5-9058-93C87A9DDC1F}" srcOrd="0" destOrd="0" presId="urn:microsoft.com/office/officeart/2005/8/layout/cycle2"/>
    <dgm:cxn modelId="{A9D25412-758B-4E31-A7C6-4B4601E59F6A}" type="presOf" srcId="{E8860603-B54B-464D-847C-F39AD96130A4}" destId="{83195273-D2D4-405D-A258-93AFE8C7BE7A}"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0CEC62B3-C507-443C-8350-9FC940E9917D}" type="presOf" srcId="{0E50710D-2BD5-4826-B9D1-2870E5EAFE57}" destId="{D0FD9655-5A6C-4F6C-98FD-3B2D55F73505}" srcOrd="1" destOrd="0" presId="urn:microsoft.com/office/officeart/2005/8/layout/cycle2"/>
    <dgm:cxn modelId="{EAC10DB1-8678-4343-91ED-46FFED957C36}" type="presOf" srcId="{A48FC8E7-DEF6-47DD-9FD7-A42C236E411D}" destId="{587F2F10-0AE6-474A-8CEB-4172CC329BE3}" srcOrd="1"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274D64E1-87F7-42D2-99B3-56340D1A7FF1}" type="presOf" srcId="{4AB5C3AA-E12D-487A-99B0-D76EFF1AB462}" destId="{B05F7D2C-D848-4E12-98C6-11FDD917CB93}" srcOrd="0" destOrd="0" presId="urn:microsoft.com/office/officeart/2005/8/layout/cycle2"/>
    <dgm:cxn modelId="{6C285D9F-C69F-4C85-A926-EFD5945A3CE0}" type="presOf" srcId="{B9C095A4-09B3-4524-A547-0933F3DD34F1}" destId="{5E517795-696C-4478-8F77-24582CDCDF88}" srcOrd="0" destOrd="0" presId="urn:microsoft.com/office/officeart/2005/8/layout/cycle2"/>
    <dgm:cxn modelId="{0CDF5BC7-E11B-476D-BA9A-B7F549D01991}" type="presOf" srcId="{BF32EDA5-B1A7-4C67-9DEE-B0EFED1F5B2B}" destId="{798A8C5B-4663-468B-BDAB-5BC0D323EF4E}" srcOrd="0" destOrd="0" presId="urn:microsoft.com/office/officeart/2005/8/layout/cycle2"/>
    <dgm:cxn modelId="{0CFB27B2-523B-47F9-AD34-8D57988E737A}" type="presOf" srcId="{275AFB5B-A843-4E45-89A6-0D625719EC18}" destId="{AEC3BFE0-4A84-4A7A-9D2A-077ED9AD905B}"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1D246346-593A-4714-A0A8-1E4A420BBAB6}" type="presOf" srcId="{DCEF1A9F-ED00-4444-8E7D-348279B7611D}" destId="{A40E58EC-493C-4310-A857-E6D93F3F5222}" srcOrd="1"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E166AC25-A290-4C1D-8CCC-8575DDD57252}" type="presOf" srcId="{1A1A6082-1BF4-40F3-BF25-E2599BB53BFA}" destId="{CF57B3AA-9D23-4D82-8D72-1A4D072C9CF6}" srcOrd="0" destOrd="0" presId="urn:microsoft.com/office/officeart/2005/8/layout/cycle2"/>
    <dgm:cxn modelId="{7907A9F8-75F5-4067-A5EC-A63B71DBEBF9}" type="presParOf" srcId="{0314D0E1-52B0-4957-906A-3DED1FE20AB6}" destId="{6B1C954F-37B9-4616-8073-9C538A00A4CD}" srcOrd="0" destOrd="0" presId="urn:microsoft.com/office/officeart/2005/8/layout/cycle2"/>
    <dgm:cxn modelId="{83837764-67B6-4E26-A90E-D3EE254DD941}" type="presParOf" srcId="{0314D0E1-52B0-4957-906A-3DED1FE20AB6}" destId="{CF57B3AA-9D23-4D82-8D72-1A4D072C9CF6}" srcOrd="1" destOrd="0" presId="urn:microsoft.com/office/officeart/2005/8/layout/cycle2"/>
    <dgm:cxn modelId="{D0E2E2D5-9DB9-43C7-BF75-6DFA14037CB9}" type="presParOf" srcId="{CF57B3AA-9D23-4D82-8D72-1A4D072C9CF6}" destId="{2546BF50-5AD8-40D0-A01F-A649CF2327DE}" srcOrd="0" destOrd="0" presId="urn:microsoft.com/office/officeart/2005/8/layout/cycle2"/>
    <dgm:cxn modelId="{BBA16F5F-F589-4EB0-A973-9674BC4FAEE7}" type="presParOf" srcId="{0314D0E1-52B0-4957-906A-3DED1FE20AB6}" destId="{83195273-D2D4-405D-A258-93AFE8C7BE7A}" srcOrd="2" destOrd="0" presId="urn:microsoft.com/office/officeart/2005/8/layout/cycle2"/>
    <dgm:cxn modelId="{D909145E-CA29-40F1-B0CC-71B8D7C434C4}" type="presParOf" srcId="{0314D0E1-52B0-4957-906A-3DED1FE20AB6}" destId="{798A8C5B-4663-468B-BDAB-5BC0D323EF4E}" srcOrd="3" destOrd="0" presId="urn:microsoft.com/office/officeart/2005/8/layout/cycle2"/>
    <dgm:cxn modelId="{687C6C3B-0FFC-4E7D-B498-C82B8C0DE652}" type="presParOf" srcId="{798A8C5B-4663-468B-BDAB-5BC0D323EF4E}" destId="{6C754846-F75A-4A89-A242-6671D8DDC5A9}" srcOrd="0" destOrd="0" presId="urn:microsoft.com/office/officeart/2005/8/layout/cycle2"/>
    <dgm:cxn modelId="{B90A76D6-3728-4961-8116-C862562D3FE0}" type="presParOf" srcId="{0314D0E1-52B0-4957-906A-3DED1FE20AB6}" destId="{B05F7D2C-D848-4E12-98C6-11FDD917CB93}" srcOrd="4" destOrd="0" presId="urn:microsoft.com/office/officeart/2005/8/layout/cycle2"/>
    <dgm:cxn modelId="{BCB9AAD2-2E86-4449-B007-4A65A781CA13}" type="presParOf" srcId="{0314D0E1-52B0-4957-906A-3DED1FE20AB6}" destId="{342C44B1-3496-43E6-B7A3-2E7DE47A0EB1}" srcOrd="5" destOrd="0" presId="urn:microsoft.com/office/officeart/2005/8/layout/cycle2"/>
    <dgm:cxn modelId="{1416845C-DA93-4FD9-8E3D-97127718BBFD}" type="presParOf" srcId="{342C44B1-3496-43E6-B7A3-2E7DE47A0EB1}" destId="{EFE96AD8-1B36-480F-B9D4-5217307D065E}" srcOrd="0" destOrd="0" presId="urn:microsoft.com/office/officeart/2005/8/layout/cycle2"/>
    <dgm:cxn modelId="{A2A2BCC6-CD4A-496D-AE4F-46EDEC8691CF}" type="presParOf" srcId="{0314D0E1-52B0-4957-906A-3DED1FE20AB6}" destId="{AEC3BFE0-4A84-4A7A-9D2A-077ED9AD905B}" srcOrd="6" destOrd="0" presId="urn:microsoft.com/office/officeart/2005/8/layout/cycle2"/>
    <dgm:cxn modelId="{DC9F96BE-61B6-4514-B66C-F41787E80B2B}" type="presParOf" srcId="{0314D0E1-52B0-4957-906A-3DED1FE20AB6}" destId="{BB722067-4A31-4156-9489-71E129EF8E43}" srcOrd="7" destOrd="0" presId="urn:microsoft.com/office/officeart/2005/8/layout/cycle2"/>
    <dgm:cxn modelId="{C6A666B3-EE2E-4BEE-8E7E-1FB574F9D7F2}" type="presParOf" srcId="{BB722067-4A31-4156-9489-71E129EF8E43}" destId="{A40E58EC-493C-4310-A857-E6D93F3F5222}" srcOrd="0" destOrd="0" presId="urn:microsoft.com/office/officeart/2005/8/layout/cycle2"/>
    <dgm:cxn modelId="{48D8F28D-4468-4515-8D93-700D099F9C9A}" type="presParOf" srcId="{0314D0E1-52B0-4957-906A-3DED1FE20AB6}" destId="{157C4094-4D48-4CA4-8FE3-C846251355F5}" srcOrd="8" destOrd="0" presId="urn:microsoft.com/office/officeart/2005/8/layout/cycle2"/>
    <dgm:cxn modelId="{281B5A30-E68E-42D3-8AA4-58FBCA8B920D}" type="presParOf" srcId="{0314D0E1-52B0-4957-906A-3DED1FE20AB6}" destId="{9347F69F-9A85-4B8D-9DE5-233494D2AF22}" srcOrd="9" destOrd="0" presId="urn:microsoft.com/office/officeart/2005/8/layout/cycle2"/>
    <dgm:cxn modelId="{BA3F9EED-6154-4B23-9E5F-7FDC87C0C3D4}" type="presParOf" srcId="{9347F69F-9A85-4B8D-9DE5-233494D2AF22}" destId="{7EFAF541-47AF-4C3C-9CFE-C8EF5507A27C}" srcOrd="0" destOrd="0" presId="urn:microsoft.com/office/officeart/2005/8/layout/cycle2"/>
    <dgm:cxn modelId="{2411E47A-EA5A-4827-91C2-20C3BE2AA524}" type="presParOf" srcId="{0314D0E1-52B0-4957-906A-3DED1FE20AB6}" destId="{5E517795-696C-4478-8F77-24582CDCDF88}" srcOrd="10" destOrd="0" presId="urn:microsoft.com/office/officeart/2005/8/layout/cycle2"/>
    <dgm:cxn modelId="{9DD59363-AE99-4625-B3F0-328481CC12CD}" type="presParOf" srcId="{0314D0E1-52B0-4957-906A-3DED1FE20AB6}" destId="{48C0BD33-5F17-45F5-9058-93C87A9DDC1F}" srcOrd="11" destOrd="0" presId="urn:microsoft.com/office/officeart/2005/8/layout/cycle2"/>
    <dgm:cxn modelId="{6415607E-688F-4451-BA5A-8B5AAEA8F910}" type="presParOf" srcId="{48C0BD33-5F17-45F5-9058-93C87A9DDC1F}" destId="{B1CEE351-6D90-4A79-B4AC-9CB274EA73AC}" srcOrd="0" destOrd="0" presId="urn:microsoft.com/office/officeart/2005/8/layout/cycle2"/>
    <dgm:cxn modelId="{8E7D4517-C287-479F-BE7B-DE0776AA7386}" type="presParOf" srcId="{0314D0E1-52B0-4957-906A-3DED1FE20AB6}" destId="{23AEF67E-B71E-4BFF-8274-B39880BE8995}" srcOrd="12" destOrd="0" presId="urn:microsoft.com/office/officeart/2005/8/layout/cycle2"/>
    <dgm:cxn modelId="{8F79018C-BA9D-41BF-B953-14A9BFA88760}" type="presParOf" srcId="{0314D0E1-52B0-4957-906A-3DED1FE20AB6}" destId="{9851BCFD-6C0F-44EE-A90D-93FA72FAD479}" srcOrd="13" destOrd="0" presId="urn:microsoft.com/office/officeart/2005/8/layout/cycle2"/>
    <dgm:cxn modelId="{8F8B55C5-0D47-4F91-825A-FC0B0FF37877}" type="presParOf" srcId="{9851BCFD-6C0F-44EE-A90D-93FA72FAD479}" destId="{587F2F10-0AE6-474A-8CEB-4172CC329BE3}" srcOrd="0" destOrd="0" presId="urn:microsoft.com/office/officeart/2005/8/layout/cycle2"/>
    <dgm:cxn modelId="{524A090D-3E0F-4ACA-8B2A-049C16C0BD04}" type="presParOf" srcId="{0314D0E1-52B0-4957-906A-3DED1FE20AB6}" destId="{9336A9F3-2A53-40E9-8F9F-8E4C967B12C1}" srcOrd="14" destOrd="0" presId="urn:microsoft.com/office/officeart/2005/8/layout/cycle2"/>
    <dgm:cxn modelId="{E94D0A3B-D26B-4C14-8FB9-FAFE38EFBF51}" type="presParOf" srcId="{0314D0E1-52B0-4957-906A-3DED1FE20AB6}" destId="{80B8A62C-CA65-4F7F-B3E1-E47A6F8DBF28}" srcOrd="15" destOrd="0" presId="urn:microsoft.com/office/officeart/2005/8/layout/cycle2"/>
    <dgm:cxn modelId="{0AA6F36F-6A02-4703-B213-98B4C362DD44}" type="presParOf" srcId="{80B8A62C-CA65-4F7F-B3E1-E47A6F8DBF28}" destId="{D0FD9655-5A6C-4F6C-98FD-3B2D55F73505}" srcOrd="0" destOrd="0" presId="urn:microsoft.com/office/officeart/2005/8/layout/cycle2"/>
    <dgm:cxn modelId="{53688807-0799-4AA8-926A-F40B49570E26}" type="presParOf" srcId="{0314D0E1-52B0-4957-906A-3DED1FE20AB6}" destId="{AA562BA4-1362-4B11-BE12-AAF95F9B0655}" srcOrd="16" destOrd="0" presId="urn:microsoft.com/office/officeart/2005/8/layout/cycle2"/>
    <dgm:cxn modelId="{479CFD4D-6D6D-473E-8EBD-8FB79AC93147}" type="presParOf" srcId="{0314D0E1-52B0-4957-906A-3DED1FE20AB6}" destId="{8F1FDF32-78E0-4ED1-970D-21E8309CEF5A}" srcOrd="17" destOrd="0" presId="urn:microsoft.com/office/officeart/2005/8/layout/cycle2"/>
    <dgm:cxn modelId="{463DB817-32DB-4807-832C-8138F8F8AD70}" type="presParOf" srcId="{8F1FDF32-78E0-4ED1-970D-21E8309CEF5A}" destId="{56E98031-14F7-4FF4-8CB0-C66FC7DF872F}" srcOrd="0" destOrd="0" presId="urn:microsoft.com/office/officeart/2005/8/layout/cycle2"/>
    <dgm:cxn modelId="{99F3BE45-ED57-4729-AFD0-4C808376091E}" type="presParOf" srcId="{0314D0E1-52B0-4957-906A-3DED1FE20AB6}" destId="{4C7C445F-E1C6-4F7A-821E-F674A343F87A}" srcOrd="18" destOrd="0" presId="urn:microsoft.com/office/officeart/2005/8/layout/cycle2"/>
    <dgm:cxn modelId="{393CB720-FF2C-45D0-A6BD-FBE5378CB5ED}" type="presParOf" srcId="{0314D0E1-52B0-4957-906A-3DED1FE20AB6}" destId="{00C6A176-9825-494C-8FDD-D407F0EF76CB}" srcOrd="19" destOrd="0" presId="urn:microsoft.com/office/officeart/2005/8/layout/cycle2"/>
    <dgm:cxn modelId="{7B118A21-6F63-43A7-8264-F4E25EEB3A24}" type="presParOf" srcId="{00C6A176-9825-494C-8FDD-D407F0EF76CB}" destId="{45B6EB01-0DBC-44EB-8631-D6071B6D84B4}" srcOrd="0" destOrd="0" presId="urn:microsoft.com/office/officeart/2005/8/layout/cycle2"/>
    <dgm:cxn modelId="{205448CE-B6C9-491B-9FAA-A49503EA0474}" type="presParOf" srcId="{0314D0E1-52B0-4957-906A-3DED1FE20AB6}" destId="{9B0B857B-DA14-4DB2-9764-FAEA0033B125}" srcOrd="20" destOrd="0" presId="urn:microsoft.com/office/officeart/2005/8/layout/cycle2"/>
    <dgm:cxn modelId="{69798CE1-1D6E-4677-8EC7-B16397C16A54}" type="presParOf" srcId="{0314D0E1-52B0-4957-906A-3DED1FE20AB6}" destId="{FEA59801-9672-4D23-8192-A605C46BE70F}" srcOrd="21" destOrd="0" presId="urn:microsoft.com/office/officeart/2005/8/layout/cycle2"/>
    <dgm:cxn modelId="{4D0CA033-C304-4CF2-A4AF-8E0D45D87AAB}"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rgbClr val="848A9A"/>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a:solidFill>
          <a:schemeClr val="accent2"/>
        </a:solidFill>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5C34D024-3F9E-42D6-940F-15C521EF0853}" type="presOf" srcId="{A48FC8E7-DEF6-47DD-9FD7-A42C236E411D}" destId="{9851BCFD-6C0F-44EE-A90D-93FA72FAD479}" srcOrd="0"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F7D1060D-7AE3-45B7-96B0-A32CACE75FFA}" type="presOf" srcId="{DCEF1A9F-ED00-4444-8E7D-348279B7611D}" destId="{A40E58EC-493C-4310-A857-E6D93F3F5222}" srcOrd="1"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80C1300E-484C-4F2A-9BCF-2F30F1F62DAD}" type="presOf" srcId="{20D4FDE3-C196-41C9-8DB2-EF038981D495}" destId="{B1CEE351-6D90-4A79-B4AC-9CB274EA73AC}" srcOrd="1" destOrd="0" presId="urn:microsoft.com/office/officeart/2005/8/layout/cycle2"/>
    <dgm:cxn modelId="{C9F053E5-0D6C-44AB-AA2F-3FF5E847973C}" type="presOf" srcId="{DCEF1A9F-ED00-4444-8E7D-348279B7611D}" destId="{BB722067-4A31-4156-9489-71E129EF8E43}" srcOrd="0" destOrd="0" presId="urn:microsoft.com/office/officeart/2005/8/layout/cycle2"/>
    <dgm:cxn modelId="{044C66E1-C658-443B-96B2-D1521F306BD7}" type="presOf" srcId="{B9D5BAA1-0541-416B-9895-A63D7BC366EC}" destId="{6B1C954F-37B9-4616-8073-9C538A00A4CD}" srcOrd="0" destOrd="0" presId="urn:microsoft.com/office/officeart/2005/8/layout/cycle2"/>
    <dgm:cxn modelId="{0142C045-CC5A-4A92-BDBD-1CF3C5825562}" type="presOf" srcId="{1A1A6082-1BF4-40F3-BF25-E2599BB53BFA}" destId="{2546BF50-5AD8-40D0-A01F-A649CF2327DE}" srcOrd="1"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F622E6B6-7145-4F22-B16D-E523989087C9}" type="presOf" srcId="{0E50710D-2BD5-4826-B9D1-2870E5EAFE57}" destId="{80B8A62C-CA65-4F7F-B3E1-E47A6F8DBF28}" srcOrd="0" destOrd="0" presId="urn:microsoft.com/office/officeart/2005/8/layout/cycle2"/>
    <dgm:cxn modelId="{5505DDE3-0F72-407A-813F-11B24DC6CFBE}" type="presOf" srcId="{E2CB592C-1787-44C9-8686-4F00CBFA5CB1}" destId="{45B6EB01-0DBC-44EB-8631-D6071B6D84B4}" srcOrd="1" destOrd="0" presId="urn:microsoft.com/office/officeart/2005/8/layout/cycle2"/>
    <dgm:cxn modelId="{9755C524-2C6A-4F04-B3C5-6F3D49367913}" type="presOf" srcId="{36CA222D-1275-4473-881C-488A61C55835}" destId="{9347F69F-9A85-4B8D-9DE5-233494D2AF22}" srcOrd="0" destOrd="0" presId="urn:microsoft.com/office/officeart/2005/8/layout/cycle2"/>
    <dgm:cxn modelId="{518CD6A2-A824-4745-80AC-8D75B694C8D7}" type="presOf" srcId="{91162D75-99DA-487C-940D-DAE8D13C4447}" destId="{157C4094-4D48-4CA4-8FE3-C846251355F5}" srcOrd="0" destOrd="0" presId="urn:microsoft.com/office/officeart/2005/8/layout/cycle2"/>
    <dgm:cxn modelId="{B1308A96-87DA-437E-9652-708075874EBB}" type="presOf" srcId="{6A94E007-355E-4DF8-8BC8-31F5F07906F8}" destId="{23AEF67E-B71E-4BFF-8274-B39880BE8995}" srcOrd="0" destOrd="0" presId="urn:microsoft.com/office/officeart/2005/8/layout/cycle2"/>
    <dgm:cxn modelId="{C77F2E6B-C622-421E-B614-20F93EBB85B8}" type="presOf" srcId="{E8860603-B54B-464D-847C-F39AD96130A4}" destId="{83195273-D2D4-405D-A258-93AFE8C7BE7A}" srcOrd="0" destOrd="0" presId="urn:microsoft.com/office/officeart/2005/8/layout/cycle2"/>
    <dgm:cxn modelId="{6E0516AC-4CA8-4EE7-8B2D-FF784699ABB4}" type="presOf" srcId="{275AFB5B-A843-4E45-89A6-0D625719EC18}" destId="{AEC3BFE0-4A84-4A7A-9D2A-077ED9AD905B}" srcOrd="0" destOrd="0" presId="urn:microsoft.com/office/officeart/2005/8/layout/cycle2"/>
    <dgm:cxn modelId="{2E1F7DF5-8B8E-40DB-AA88-25B4B7DA8EDB}" type="presOf" srcId="{4AB5C3AA-E12D-487A-99B0-D76EFF1AB462}" destId="{B05F7D2C-D848-4E12-98C6-11FDD917CB93}" srcOrd="0" destOrd="0" presId="urn:microsoft.com/office/officeart/2005/8/layout/cycle2"/>
    <dgm:cxn modelId="{10AED736-2B84-4949-9EFB-D2B49F8622E5}" type="presOf" srcId="{D5290F46-685B-42D9-A176-CA6370062CB6}" destId="{342C44B1-3496-43E6-B7A3-2E7DE47A0EB1}" srcOrd="0" destOrd="0" presId="urn:microsoft.com/office/officeart/2005/8/layout/cycle2"/>
    <dgm:cxn modelId="{4AF36FF6-760F-4C83-9BBA-071F041AF37D}" type="presOf" srcId="{BF32EDA5-B1A7-4C67-9DEE-B0EFED1F5B2B}" destId="{798A8C5B-4663-468B-BDAB-5BC0D323EF4E}" srcOrd="0"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D9482BE7-2CDB-4DA4-BE50-B111C9BF1102}" type="presOf" srcId="{BF32EDA5-B1A7-4C67-9DEE-B0EFED1F5B2B}" destId="{6C754846-F75A-4A89-A242-6671D8DDC5A9}" srcOrd="1" destOrd="0" presId="urn:microsoft.com/office/officeart/2005/8/layout/cycle2"/>
    <dgm:cxn modelId="{197DA70D-DDA0-4D8E-8151-5E2B7F337F59}" type="presOf" srcId="{36CA222D-1275-4473-881C-488A61C55835}" destId="{7EFAF541-47AF-4C3C-9CFE-C8EF5507A27C}" srcOrd="1" destOrd="0" presId="urn:microsoft.com/office/officeart/2005/8/layout/cycle2"/>
    <dgm:cxn modelId="{E1A74F99-F293-411D-AA2A-91FD2243DA5E}" type="presOf" srcId="{A48FC8E7-DEF6-47DD-9FD7-A42C236E411D}" destId="{587F2F10-0AE6-474A-8CEB-4172CC329BE3}" srcOrd="1" destOrd="0" presId="urn:microsoft.com/office/officeart/2005/8/layout/cycle2"/>
    <dgm:cxn modelId="{86BC7BCB-74F9-4F02-B2CF-85482CC8F276}" type="presOf" srcId="{C1163CC9-4ECF-4D31-855C-26A2B3DCC5C4}" destId="{4C7C445F-E1C6-4F7A-821E-F674A343F87A}"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B54167BF-8B76-4188-85AA-E36E75B17D2B}" type="presOf" srcId="{4D369322-CA3E-425E-AC5C-D9DEAEAC5E3C}" destId="{9B0B857B-DA14-4DB2-9764-FAEA0033B125}" srcOrd="0" destOrd="0" presId="urn:microsoft.com/office/officeart/2005/8/layout/cycle2"/>
    <dgm:cxn modelId="{7D405103-151A-49FE-A24C-58D47CE5493F}" type="presOf" srcId="{FE0AF671-58B1-40F8-8B7A-983E652E7D40}" destId="{0314D0E1-52B0-4957-906A-3DED1FE20AB6}"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1D064A05-48DD-45D3-9DC7-EEB9329B5EC4}" srcId="{FE0AF671-58B1-40F8-8B7A-983E652E7D40}" destId="{91162D75-99DA-487C-940D-DAE8D13C4447}" srcOrd="4" destOrd="0" parTransId="{80DE664A-ECD6-4435-A4B2-FD6572B36AF8}" sibTransId="{36CA222D-1275-4473-881C-488A61C55835}"/>
    <dgm:cxn modelId="{C3560302-AAF5-4E3B-A094-FB7579D5AB7D}" type="presOf" srcId="{E2CB592C-1787-44C9-8686-4F00CBFA5CB1}" destId="{00C6A176-9825-494C-8FDD-D407F0EF76CB}" srcOrd="0" destOrd="0" presId="urn:microsoft.com/office/officeart/2005/8/layout/cycle2"/>
    <dgm:cxn modelId="{AEB7EDE5-1D16-475A-B61C-CBF7CFCC2F0F}" srcId="{FE0AF671-58B1-40F8-8B7A-983E652E7D40}" destId="{C1163CC9-4ECF-4D31-855C-26A2B3DCC5C4}" srcOrd="9" destOrd="0" parTransId="{B8FEF4D3-4E21-4BAE-801E-7205F8E8EF77}" sibTransId="{E2CB592C-1787-44C9-8686-4F00CBFA5CB1}"/>
    <dgm:cxn modelId="{1B7478BB-4743-49ED-9ED5-B561DDF8A81D}" type="presOf" srcId="{C3EFBD6A-E3EC-4E4A-B112-75A580157B18}" destId="{9336A9F3-2A53-40E9-8F9F-8E4C967B12C1}" srcOrd="0" destOrd="0" presId="urn:microsoft.com/office/officeart/2005/8/layout/cycle2"/>
    <dgm:cxn modelId="{3F4DE623-1A39-4654-AA89-3914499AF7BA}" type="presOf" srcId="{EA880416-D651-45A6-84F2-C54398F7B105}" destId="{AA562BA4-1362-4B11-BE12-AAF95F9B0655}" srcOrd="0" destOrd="0" presId="urn:microsoft.com/office/officeart/2005/8/layout/cycle2"/>
    <dgm:cxn modelId="{E188736D-AA2A-4FC3-ABE8-613C99324CC9}" type="presOf" srcId="{B9C095A4-09B3-4524-A547-0933F3DD34F1}" destId="{5E517795-696C-4478-8F77-24582CDCDF88}" srcOrd="0" destOrd="0" presId="urn:microsoft.com/office/officeart/2005/8/layout/cycle2"/>
    <dgm:cxn modelId="{71BFF7E1-FDF8-4DE9-9F10-B89AE4EF43BB}" type="presOf" srcId="{315727AA-F8CB-4FAC-81F0-3D8F3BB1B56E}" destId="{FEA59801-9672-4D23-8192-A605C46BE70F}"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5DEAB011-6A4A-4AF6-B7F6-00F286FF06DD}" type="presOf" srcId="{20D4FDE3-C196-41C9-8DB2-EF038981D495}" destId="{48C0BD33-5F17-45F5-9058-93C87A9DDC1F}" srcOrd="0" destOrd="0" presId="urn:microsoft.com/office/officeart/2005/8/layout/cycle2"/>
    <dgm:cxn modelId="{E900AB63-CFF9-4F0C-8C02-B970FCD8F40C}" type="presOf" srcId="{0E50710D-2BD5-4826-B9D1-2870E5EAFE57}" destId="{D0FD9655-5A6C-4F6C-98FD-3B2D55F73505}" srcOrd="1" destOrd="0" presId="urn:microsoft.com/office/officeart/2005/8/layout/cycle2"/>
    <dgm:cxn modelId="{E902EEF6-0D55-4F98-8B10-6C95C897930C}" type="presOf" srcId="{1A1A6082-1BF4-40F3-BF25-E2599BB53BFA}" destId="{CF57B3AA-9D23-4D82-8D72-1A4D072C9CF6}" srcOrd="0" destOrd="0" presId="urn:microsoft.com/office/officeart/2005/8/layout/cycle2"/>
    <dgm:cxn modelId="{CCFD5335-0FF0-4A5C-8969-32B20BAC3113}" type="presOf" srcId="{7630EC86-B5D2-4E6A-906C-EC36BCBD2F9B}" destId="{56E98031-14F7-4FF4-8CB0-C66FC7DF872F}" srcOrd="1" destOrd="0" presId="urn:microsoft.com/office/officeart/2005/8/layout/cycle2"/>
    <dgm:cxn modelId="{F6C5365A-55C1-4525-98D1-412A3F05246E}" type="presOf" srcId="{315727AA-F8CB-4FAC-81F0-3D8F3BB1B56E}" destId="{1AFE4D34-A1BE-488A-9816-71CABDC842F3}" srcOrd="1" destOrd="0" presId="urn:microsoft.com/office/officeart/2005/8/layout/cycle2"/>
    <dgm:cxn modelId="{DFE81A07-50D5-4CB7-B64D-BD51736E46E6}" type="presOf" srcId="{7630EC86-B5D2-4E6A-906C-EC36BCBD2F9B}" destId="{8F1FDF32-78E0-4ED1-970D-21E8309CEF5A}" srcOrd="0" destOrd="0" presId="urn:microsoft.com/office/officeart/2005/8/layout/cycle2"/>
    <dgm:cxn modelId="{8CDBB91D-42FF-441A-A5BC-5B0950606327}" type="presOf" srcId="{D5290F46-685B-42D9-A176-CA6370062CB6}" destId="{EFE96AD8-1B36-480F-B9D4-5217307D065E}"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C453EFB5-21B8-4DB0-B688-5FE3A729BD0D}" srcId="{FE0AF671-58B1-40F8-8B7A-983E652E7D40}" destId="{B9C095A4-09B3-4524-A547-0933F3DD34F1}" srcOrd="5" destOrd="0" parTransId="{0988FE12-EB7E-4D50-B71D-E1CCF85FF4CB}" sibTransId="{20D4FDE3-C196-41C9-8DB2-EF038981D495}"/>
    <dgm:cxn modelId="{B5036D84-0A3F-44AB-869E-D1927BE33EAE}" type="presParOf" srcId="{0314D0E1-52B0-4957-906A-3DED1FE20AB6}" destId="{6B1C954F-37B9-4616-8073-9C538A00A4CD}" srcOrd="0" destOrd="0" presId="urn:microsoft.com/office/officeart/2005/8/layout/cycle2"/>
    <dgm:cxn modelId="{A5451FC2-28CD-41B8-A30D-6EDC091A3ACE}" type="presParOf" srcId="{0314D0E1-52B0-4957-906A-3DED1FE20AB6}" destId="{CF57B3AA-9D23-4D82-8D72-1A4D072C9CF6}" srcOrd="1" destOrd="0" presId="urn:microsoft.com/office/officeart/2005/8/layout/cycle2"/>
    <dgm:cxn modelId="{790AC367-EDE1-4DD4-88E1-AECB8CB6F2A2}" type="presParOf" srcId="{CF57B3AA-9D23-4D82-8D72-1A4D072C9CF6}" destId="{2546BF50-5AD8-40D0-A01F-A649CF2327DE}" srcOrd="0" destOrd="0" presId="urn:microsoft.com/office/officeart/2005/8/layout/cycle2"/>
    <dgm:cxn modelId="{AF45B407-5C10-42ED-9AD8-BB70F01021F2}" type="presParOf" srcId="{0314D0E1-52B0-4957-906A-3DED1FE20AB6}" destId="{83195273-D2D4-405D-A258-93AFE8C7BE7A}" srcOrd="2" destOrd="0" presId="urn:microsoft.com/office/officeart/2005/8/layout/cycle2"/>
    <dgm:cxn modelId="{E6B5C2B2-A5CF-4A21-9A38-809520F2E80B}" type="presParOf" srcId="{0314D0E1-52B0-4957-906A-3DED1FE20AB6}" destId="{798A8C5B-4663-468B-BDAB-5BC0D323EF4E}" srcOrd="3" destOrd="0" presId="urn:microsoft.com/office/officeart/2005/8/layout/cycle2"/>
    <dgm:cxn modelId="{8C015FE5-8BD5-4D65-A3D9-B015005D83A4}" type="presParOf" srcId="{798A8C5B-4663-468B-BDAB-5BC0D323EF4E}" destId="{6C754846-F75A-4A89-A242-6671D8DDC5A9}" srcOrd="0" destOrd="0" presId="urn:microsoft.com/office/officeart/2005/8/layout/cycle2"/>
    <dgm:cxn modelId="{00188ADD-1872-4457-A07B-22EAED1AC63C}" type="presParOf" srcId="{0314D0E1-52B0-4957-906A-3DED1FE20AB6}" destId="{B05F7D2C-D848-4E12-98C6-11FDD917CB93}" srcOrd="4" destOrd="0" presId="urn:microsoft.com/office/officeart/2005/8/layout/cycle2"/>
    <dgm:cxn modelId="{D535767E-D8C2-42F0-81DD-C60986D6F214}" type="presParOf" srcId="{0314D0E1-52B0-4957-906A-3DED1FE20AB6}" destId="{342C44B1-3496-43E6-B7A3-2E7DE47A0EB1}" srcOrd="5" destOrd="0" presId="urn:microsoft.com/office/officeart/2005/8/layout/cycle2"/>
    <dgm:cxn modelId="{61472939-B8CF-44B8-90CE-4159A39E62BF}" type="presParOf" srcId="{342C44B1-3496-43E6-B7A3-2E7DE47A0EB1}" destId="{EFE96AD8-1B36-480F-B9D4-5217307D065E}" srcOrd="0" destOrd="0" presId="urn:microsoft.com/office/officeart/2005/8/layout/cycle2"/>
    <dgm:cxn modelId="{5A3498FA-59D8-4C8F-8DA7-5B011D7446DD}" type="presParOf" srcId="{0314D0E1-52B0-4957-906A-3DED1FE20AB6}" destId="{AEC3BFE0-4A84-4A7A-9D2A-077ED9AD905B}" srcOrd="6" destOrd="0" presId="urn:microsoft.com/office/officeart/2005/8/layout/cycle2"/>
    <dgm:cxn modelId="{BA9DA31B-8E49-4912-93E7-3C3ECEA2BF19}" type="presParOf" srcId="{0314D0E1-52B0-4957-906A-3DED1FE20AB6}" destId="{BB722067-4A31-4156-9489-71E129EF8E43}" srcOrd="7" destOrd="0" presId="urn:microsoft.com/office/officeart/2005/8/layout/cycle2"/>
    <dgm:cxn modelId="{CE23FDA9-E398-4522-8AF8-9CADA6CC04A8}" type="presParOf" srcId="{BB722067-4A31-4156-9489-71E129EF8E43}" destId="{A40E58EC-493C-4310-A857-E6D93F3F5222}" srcOrd="0" destOrd="0" presId="urn:microsoft.com/office/officeart/2005/8/layout/cycle2"/>
    <dgm:cxn modelId="{4614CC53-E9E7-4698-B718-27B0119BB2AE}" type="presParOf" srcId="{0314D0E1-52B0-4957-906A-3DED1FE20AB6}" destId="{157C4094-4D48-4CA4-8FE3-C846251355F5}" srcOrd="8" destOrd="0" presId="urn:microsoft.com/office/officeart/2005/8/layout/cycle2"/>
    <dgm:cxn modelId="{25704865-61FE-4846-8F31-77A7E518B8A5}" type="presParOf" srcId="{0314D0E1-52B0-4957-906A-3DED1FE20AB6}" destId="{9347F69F-9A85-4B8D-9DE5-233494D2AF22}" srcOrd="9" destOrd="0" presId="urn:microsoft.com/office/officeart/2005/8/layout/cycle2"/>
    <dgm:cxn modelId="{6897A526-7BB5-4CAE-8CDA-FDFB6BAFA588}" type="presParOf" srcId="{9347F69F-9A85-4B8D-9DE5-233494D2AF22}" destId="{7EFAF541-47AF-4C3C-9CFE-C8EF5507A27C}" srcOrd="0" destOrd="0" presId="urn:microsoft.com/office/officeart/2005/8/layout/cycle2"/>
    <dgm:cxn modelId="{21703D7A-D267-45EF-AA90-330292C8EF07}" type="presParOf" srcId="{0314D0E1-52B0-4957-906A-3DED1FE20AB6}" destId="{5E517795-696C-4478-8F77-24582CDCDF88}" srcOrd="10" destOrd="0" presId="urn:microsoft.com/office/officeart/2005/8/layout/cycle2"/>
    <dgm:cxn modelId="{5E4BD08D-D743-4883-B8F5-8FA4CFB3E223}" type="presParOf" srcId="{0314D0E1-52B0-4957-906A-3DED1FE20AB6}" destId="{48C0BD33-5F17-45F5-9058-93C87A9DDC1F}" srcOrd="11" destOrd="0" presId="urn:microsoft.com/office/officeart/2005/8/layout/cycle2"/>
    <dgm:cxn modelId="{D7B1DF45-F9C5-469F-9E4F-9D5B044C1EA9}" type="presParOf" srcId="{48C0BD33-5F17-45F5-9058-93C87A9DDC1F}" destId="{B1CEE351-6D90-4A79-B4AC-9CB274EA73AC}" srcOrd="0" destOrd="0" presId="urn:microsoft.com/office/officeart/2005/8/layout/cycle2"/>
    <dgm:cxn modelId="{4657A05C-7144-496A-9D3E-C3BC223775B5}" type="presParOf" srcId="{0314D0E1-52B0-4957-906A-3DED1FE20AB6}" destId="{23AEF67E-B71E-4BFF-8274-B39880BE8995}" srcOrd="12" destOrd="0" presId="urn:microsoft.com/office/officeart/2005/8/layout/cycle2"/>
    <dgm:cxn modelId="{75989AD8-FED4-4A8A-8DA9-0E70E7EAB7D9}" type="presParOf" srcId="{0314D0E1-52B0-4957-906A-3DED1FE20AB6}" destId="{9851BCFD-6C0F-44EE-A90D-93FA72FAD479}" srcOrd="13" destOrd="0" presId="urn:microsoft.com/office/officeart/2005/8/layout/cycle2"/>
    <dgm:cxn modelId="{EC4557E4-846D-4B9B-AE06-FCE9371361C0}" type="presParOf" srcId="{9851BCFD-6C0F-44EE-A90D-93FA72FAD479}" destId="{587F2F10-0AE6-474A-8CEB-4172CC329BE3}" srcOrd="0" destOrd="0" presId="urn:microsoft.com/office/officeart/2005/8/layout/cycle2"/>
    <dgm:cxn modelId="{162F55FF-F7DE-434D-8F94-833A308161C4}" type="presParOf" srcId="{0314D0E1-52B0-4957-906A-3DED1FE20AB6}" destId="{9336A9F3-2A53-40E9-8F9F-8E4C967B12C1}" srcOrd="14" destOrd="0" presId="urn:microsoft.com/office/officeart/2005/8/layout/cycle2"/>
    <dgm:cxn modelId="{FAE7B3C0-CEB7-4798-A5E2-88DAB8F1E5E3}" type="presParOf" srcId="{0314D0E1-52B0-4957-906A-3DED1FE20AB6}" destId="{80B8A62C-CA65-4F7F-B3E1-E47A6F8DBF28}" srcOrd="15" destOrd="0" presId="urn:microsoft.com/office/officeart/2005/8/layout/cycle2"/>
    <dgm:cxn modelId="{3F66DC1B-5CE3-4B7D-BA76-8CDB6327A319}" type="presParOf" srcId="{80B8A62C-CA65-4F7F-B3E1-E47A6F8DBF28}" destId="{D0FD9655-5A6C-4F6C-98FD-3B2D55F73505}" srcOrd="0" destOrd="0" presId="urn:microsoft.com/office/officeart/2005/8/layout/cycle2"/>
    <dgm:cxn modelId="{1C2EE1D4-020F-4DC5-9E77-A7CA9F0E94E1}" type="presParOf" srcId="{0314D0E1-52B0-4957-906A-3DED1FE20AB6}" destId="{AA562BA4-1362-4B11-BE12-AAF95F9B0655}" srcOrd="16" destOrd="0" presId="urn:microsoft.com/office/officeart/2005/8/layout/cycle2"/>
    <dgm:cxn modelId="{D27049F3-D0B9-49F6-BC27-8F3F158663F9}" type="presParOf" srcId="{0314D0E1-52B0-4957-906A-3DED1FE20AB6}" destId="{8F1FDF32-78E0-4ED1-970D-21E8309CEF5A}" srcOrd="17" destOrd="0" presId="urn:microsoft.com/office/officeart/2005/8/layout/cycle2"/>
    <dgm:cxn modelId="{22E29A3A-C66F-4D6B-96FA-09A0E0AB3478}" type="presParOf" srcId="{8F1FDF32-78E0-4ED1-970D-21E8309CEF5A}" destId="{56E98031-14F7-4FF4-8CB0-C66FC7DF872F}" srcOrd="0" destOrd="0" presId="urn:microsoft.com/office/officeart/2005/8/layout/cycle2"/>
    <dgm:cxn modelId="{399B5183-D562-44B1-86E5-536C796E18BB}" type="presParOf" srcId="{0314D0E1-52B0-4957-906A-3DED1FE20AB6}" destId="{4C7C445F-E1C6-4F7A-821E-F674A343F87A}" srcOrd="18" destOrd="0" presId="urn:microsoft.com/office/officeart/2005/8/layout/cycle2"/>
    <dgm:cxn modelId="{B5240947-F4D6-443F-9B36-670A83F00BCB}" type="presParOf" srcId="{0314D0E1-52B0-4957-906A-3DED1FE20AB6}" destId="{00C6A176-9825-494C-8FDD-D407F0EF76CB}" srcOrd="19" destOrd="0" presId="urn:microsoft.com/office/officeart/2005/8/layout/cycle2"/>
    <dgm:cxn modelId="{93F3C626-27F1-444D-AF6A-DEB7C3FD451F}" type="presParOf" srcId="{00C6A176-9825-494C-8FDD-D407F0EF76CB}" destId="{45B6EB01-0DBC-44EB-8631-D6071B6D84B4}" srcOrd="0" destOrd="0" presId="urn:microsoft.com/office/officeart/2005/8/layout/cycle2"/>
    <dgm:cxn modelId="{00EDF8E5-04B0-4808-8F48-E63E4AD12D9F}" type="presParOf" srcId="{0314D0E1-52B0-4957-906A-3DED1FE20AB6}" destId="{9B0B857B-DA14-4DB2-9764-FAEA0033B125}" srcOrd="20" destOrd="0" presId="urn:microsoft.com/office/officeart/2005/8/layout/cycle2"/>
    <dgm:cxn modelId="{172511BA-B102-4350-A483-E2B0E4DBAD7A}" type="presParOf" srcId="{0314D0E1-52B0-4957-906A-3DED1FE20AB6}" destId="{FEA59801-9672-4D23-8192-A605C46BE70F}" srcOrd="21" destOrd="0" presId="urn:microsoft.com/office/officeart/2005/8/layout/cycle2"/>
    <dgm:cxn modelId="{AAD65A4D-AD81-4BD6-93F8-0C78F56AED85}"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rgbClr val="848A9A"/>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a:solidFill>
          <a:schemeClr val="accent2"/>
        </a:solidFill>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DD22802A-6577-4820-9096-33B3A00E9485}" srcId="{FE0AF671-58B1-40F8-8B7A-983E652E7D40}" destId="{EA880416-D651-45A6-84F2-C54398F7B105}" srcOrd="8" destOrd="0" parTransId="{72BD0BD4-4B36-42CF-88B3-59B975F26DB9}" sibTransId="{7630EC86-B5D2-4E6A-906C-EC36BCBD2F9B}"/>
    <dgm:cxn modelId="{BE249C18-F382-4DB1-BEBA-EF9157A45788}" type="presOf" srcId="{D5290F46-685B-42D9-A176-CA6370062CB6}" destId="{EFE96AD8-1B36-480F-B9D4-5217307D065E}" srcOrd="1" destOrd="0" presId="urn:microsoft.com/office/officeart/2005/8/layout/cycle2"/>
    <dgm:cxn modelId="{73CB3161-9805-4AC7-AD61-59C169DEF2DB}" type="presOf" srcId="{B9D5BAA1-0541-416B-9895-A63D7BC366EC}" destId="{6B1C954F-37B9-4616-8073-9C538A00A4CD}" srcOrd="0" destOrd="0" presId="urn:microsoft.com/office/officeart/2005/8/layout/cycle2"/>
    <dgm:cxn modelId="{C973586D-9BC7-478B-BC41-DC3BABD45022}" type="presOf" srcId="{6A94E007-355E-4DF8-8BC8-31F5F07906F8}" destId="{23AEF67E-B71E-4BFF-8274-B39880BE8995}" srcOrd="0" destOrd="0" presId="urn:microsoft.com/office/officeart/2005/8/layout/cycle2"/>
    <dgm:cxn modelId="{E265DED6-5206-437D-B783-D13280D4AB1C}" type="presOf" srcId="{20D4FDE3-C196-41C9-8DB2-EF038981D495}" destId="{B1CEE351-6D90-4A79-B4AC-9CB274EA73AC}" srcOrd="1" destOrd="0" presId="urn:microsoft.com/office/officeart/2005/8/layout/cycle2"/>
    <dgm:cxn modelId="{F3DC66F5-84FE-4CB8-839B-E605C98E79F5}" type="presOf" srcId="{BF32EDA5-B1A7-4C67-9DEE-B0EFED1F5B2B}" destId="{6C754846-F75A-4A89-A242-6671D8DDC5A9}"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3D72F322-3955-48E6-82F8-436FDDF13D90}" type="presOf" srcId="{91162D75-99DA-487C-940D-DAE8D13C4447}" destId="{157C4094-4D48-4CA4-8FE3-C846251355F5}" srcOrd="0" destOrd="0" presId="urn:microsoft.com/office/officeart/2005/8/layout/cycle2"/>
    <dgm:cxn modelId="{EDF28F6B-B810-48C4-8C97-5A8DCBD613FF}" type="presOf" srcId="{DCEF1A9F-ED00-4444-8E7D-348279B7611D}" destId="{BB722067-4A31-4156-9489-71E129EF8E43}" srcOrd="0" destOrd="0" presId="urn:microsoft.com/office/officeart/2005/8/layout/cycle2"/>
    <dgm:cxn modelId="{79BB6563-CA9F-4115-B41C-99A1B765F967}" type="presOf" srcId="{275AFB5B-A843-4E45-89A6-0D625719EC18}" destId="{AEC3BFE0-4A84-4A7A-9D2A-077ED9AD905B}" srcOrd="0" destOrd="0" presId="urn:microsoft.com/office/officeart/2005/8/layout/cycle2"/>
    <dgm:cxn modelId="{8EC641EC-393F-438E-99A4-5954D1FA6A8A}" type="presOf" srcId="{C3EFBD6A-E3EC-4E4A-B112-75A580157B18}" destId="{9336A9F3-2A53-40E9-8F9F-8E4C967B12C1}" srcOrd="0" destOrd="0" presId="urn:microsoft.com/office/officeart/2005/8/layout/cycle2"/>
    <dgm:cxn modelId="{C7CF077D-2C85-4E74-9B89-04D9FEC33B55}" type="presOf" srcId="{C1163CC9-4ECF-4D31-855C-26A2B3DCC5C4}" destId="{4C7C445F-E1C6-4F7A-821E-F674A343F87A}" srcOrd="0" destOrd="0" presId="urn:microsoft.com/office/officeart/2005/8/layout/cycle2"/>
    <dgm:cxn modelId="{FC9E91D8-E896-47B7-9647-153B5E5126FF}" type="presOf" srcId="{EA880416-D651-45A6-84F2-C54398F7B105}" destId="{AA562BA4-1362-4B11-BE12-AAF95F9B0655}" srcOrd="0" destOrd="0" presId="urn:microsoft.com/office/officeart/2005/8/layout/cycle2"/>
    <dgm:cxn modelId="{300F6620-AAD7-4BA8-AF2C-F3C605101FCF}" type="presOf" srcId="{315727AA-F8CB-4FAC-81F0-3D8F3BB1B56E}" destId="{FEA59801-9672-4D23-8192-A605C46BE70F}" srcOrd="0" destOrd="0" presId="urn:microsoft.com/office/officeart/2005/8/layout/cycle2"/>
    <dgm:cxn modelId="{83736D5A-FEF5-4D26-9AF4-F5F0E480B294}" type="presOf" srcId="{315727AA-F8CB-4FAC-81F0-3D8F3BB1B56E}" destId="{1AFE4D34-A1BE-488A-9816-71CABDC842F3}" srcOrd="1" destOrd="0" presId="urn:microsoft.com/office/officeart/2005/8/layout/cycle2"/>
    <dgm:cxn modelId="{D2EF1398-B483-4A9B-BFFD-CC4C51AC2118}" type="presOf" srcId="{1A1A6082-1BF4-40F3-BF25-E2599BB53BFA}" destId="{CF57B3AA-9D23-4D82-8D72-1A4D072C9CF6}" srcOrd="0" destOrd="0" presId="urn:microsoft.com/office/officeart/2005/8/layout/cycle2"/>
    <dgm:cxn modelId="{2CDB3937-2775-4677-9334-CA1D297129B2}" type="presOf" srcId="{4D369322-CA3E-425E-AC5C-D9DEAEAC5E3C}" destId="{9B0B857B-DA14-4DB2-9764-FAEA0033B125}"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C11F76B7-8E02-45F6-80B9-4B7B13DE674E}" type="presOf" srcId="{D5290F46-685B-42D9-A176-CA6370062CB6}" destId="{342C44B1-3496-43E6-B7A3-2E7DE47A0EB1}" srcOrd="0" destOrd="0" presId="urn:microsoft.com/office/officeart/2005/8/layout/cycle2"/>
    <dgm:cxn modelId="{776EBF77-35C4-430E-896E-9FF5F238016F}" type="presOf" srcId="{FE0AF671-58B1-40F8-8B7A-983E652E7D40}" destId="{0314D0E1-52B0-4957-906A-3DED1FE20AB6}" srcOrd="0" destOrd="0" presId="urn:microsoft.com/office/officeart/2005/8/layout/cycle2"/>
    <dgm:cxn modelId="{C465A6B0-A1CD-4099-A4D0-E33DC9FC38DB}" type="presOf" srcId="{B9C095A4-09B3-4524-A547-0933F3DD34F1}" destId="{5E517795-696C-4478-8F77-24582CDCDF88}" srcOrd="0" destOrd="0" presId="urn:microsoft.com/office/officeart/2005/8/layout/cycle2"/>
    <dgm:cxn modelId="{0054DF7A-DCCC-4234-B7A4-364B255C66FE}" type="presOf" srcId="{7630EC86-B5D2-4E6A-906C-EC36BCBD2F9B}" destId="{56E98031-14F7-4FF4-8CB0-C66FC7DF872F}" srcOrd="1" destOrd="0" presId="urn:microsoft.com/office/officeart/2005/8/layout/cycle2"/>
    <dgm:cxn modelId="{237E20FA-90DE-4B03-B03C-33DF2D163607}" type="presOf" srcId="{DCEF1A9F-ED00-4444-8E7D-348279B7611D}" destId="{A40E58EC-493C-4310-A857-E6D93F3F5222}" srcOrd="1" destOrd="0" presId="urn:microsoft.com/office/officeart/2005/8/layout/cycle2"/>
    <dgm:cxn modelId="{C4CA5BDE-56D2-4545-A464-522C8E56A807}" type="presOf" srcId="{0E50710D-2BD5-4826-B9D1-2870E5EAFE57}" destId="{80B8A62C-CA65-4F7F-B3E1-E47A6F8DBF28}" srcOrd="0" destOrd="0" presId="urn:microsoft.com/office/officeart/2005/8/layout/cycle2"/>
    <dgm:cxn modelId="{730B4C77-DB44-445D-8791-D2020A17E18F}" type="presOf" srcId="{E8860603-B54B-464D-847C-F39AD96130A4}" destId="{83195273-D2D4-405D-A258-93AFE8C7BE7A}" srcOrd="0" destOrd="0" presId="urn:microsoft.com/office/officeart/2005/8/layout/cycle2"/>
    <dgm:cxn modelId="{7C160060-E3A2-4DAF-871E-55B342B60202}" type="presOf" srcId="{0E50710D-2BD5-4826-B9D1-2870E5EAFE57}" destId="{D0FD9655-5A6C-4F6C-98FD-3B2D55F73505}" srcOrd="1" destOrd="0" presId="urn:microsoft.com/office/officeart/2005/8/layout/cycle2"/>
    <dgm:cxn modelId="{D27E80BE-68BD-425A-AD8E-7C1B7031D1A8}" type="presOf" srcId="{A48FC8E7-DEF6-47DD-9FD7-A42C236E411D}" destId="{9851BCFD-6C0F-44EE-A90D-93FA72FAD479}" srcOrd="0" destOrd="0" presId="urn:microsoft.com/office/officeart/2005/8/layout/cycle2"/>
    <dgm:cxn modelId="{A0A5A4F1-B5BE-4A8B-A815-B69C13762EAE}" type="presOf" srcId="{BF32EDA5-B1A7-4C67-9DEE-B0EFED1F5B2B}" destId="{798A8C5B-4663-468B-BDAB-5BC0D323EF4E}"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17632B81-3263-4DFD-A893-859B2B3D9988}" type="presOf" srcId="{36CA222D-1275-4473-881C-488A61C55835}" destId="{7EFAF541-47AF-4C3C-9CFE-C8EF5507A27C}" srcOrd="1" destOrd="0" presId="urn:microsoft.com/office/officeart/2005/8/layout/cycle2"/>
    <dgm:cxn modelId="{4D48420E-D669-4B4D-BDF2-5D318E4FB440}" type="presOf" srcId="{20D4FDE3-C196-41C9-8DB2-EF038981D495}" destId="{48C0BD33-5F17-45F5-9058-93C87A9DDC1F}" srcOrd="0" destOrd="0" presId="urn:microsoft.com/office/officeart/2005/8/layout/cycle2"/>
    <dgm:cxn modelId="{BB08D5F6-3BB8-4871-A7DD-2CD071C7AA35}" type="presOf" srcId="{E2CB592C-1787-44C9-8686-4F00CBFA5CB1}" destId="{00C6A176-9825-494C-8FDD-D407F0EF76CB}" srcOrd="0" destOrd="0" presId="urn:microsoft.com/office/officeart/2005/8/layout/cycle2"/>
    <dgm:cxn modelId="{13DED0FF-A99C-4E6E-AE18-6F23A50F6006}" type="presOf" srcId="{7630EC86-B5D2-4E6A-906C-EC36BCBD2F9B}" destId="{8F1FDF32-78E0-4ED1-970D-21E8309CEF5A}"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FC392C14-A878-4735-B880-CD7B582007C5}" type="presOf" srcId="{E2CB592C-1787-44C9-8686-4F00CBFA5CB1}" destId="{45B6EB01-0DBC-44EB-8631-D6071B6D84B4}" srcOrd="1" destOrd="0" presId="urn:microsoft.com/office/officeart/2005/8/layout/cycle2"/>
    <dgm:cxn modelId="{37D01B9F-048F-4870-80FB-3E90D09824B5}" type="presOf" srcId="{36CA222D-1275-4473-881C-488A61C55835}" destId="{9347F69F-9A85-4B8D-9DE5-233494D2AF22}"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4CD3035E-4589-4A44-BA89-6CF91213FA21}" type="presOf" srcId="{4AB5C3AA-E12D-487A-99B0-D76EFF1AB462}" destId="{B05F7D2C-D848-4E12-98C6-11FDD917CB93}"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1D064A05-48DD-45D3-9DC7-EEB9329B5EC4}" srcId="{FE0AF671-58B1-40F8-8B7A-983E652E7D40}" destId="{91162D75-99DA-487C-940D-DAE8D13C4447}" srcOrd="4" destOrd="0" parTransId="{80DE664A-ECD6-4435-A4B2-FD6572B36AF8}" sibTransId="{36CA222D-1275-4473-881C-488A61C55835}"/>
    <dgm:cxn modelId="{A731F8E3-40E7-49FE-9384-2AEAFCAFA561}" type="presOf" srcId="{1A1A6082-1BF4-40F3-BF25-E2599BB53BFA}" destId="{2546BF50-5AD8-40D0-A01F-A649CF2327DE}" srcOrd="1" destOrd="0" presId="urn:microsoft.com/office/officeart/2005/8/layout/cycle2"/>
    <dgm:cxn modelId="{4E50B77E-76DD-4574-967C-4F80C7F002A3}" type="presOf" srcId="{A48FC8E7-DEF6-47DD-9FD7-A42C236E411D}" destId="{587F2F10-0AE6-474A-8CEB-4172CC329BE3}" srcOrd="1" destOrd="0" presId="urn:microsoft.com/office/officeart/2005/8/layout/cycle2"/>
    <dgm:cxn modelId="{FFF030DA-AF70-43D4-8563-372B8427D3DE}" type="presParOf" srcId="{0314D0E1-52B0-4957-906A-3DED1FE20AB6}" destId="{6B1C954F-37B9-4616-8073-9C538A00A4CD}" srcOrd="0" destOrd="0" presId="urn:microsoft.com/office/officeart/2005/8/layout/cycle2"/>
    <dgm:cxn modelId="{BF7CCFB2-86C7-4DD7-8684-4942B0374866}" type="presParOf" srcId="{0314D0E1-52B0-4957-906A-3DED1FE20AB6}" destId="{CF57B3AA-9D23-4D82-8D72-1A4D072C9CF6}" srcOrd="1" destOrd="0" presId="urn:microsoft.com/office/officeart/2005/8/layout/cycle2"/>
    <dgm:cxn modelId="{C094056E-1C89-4A5B-B1E1-7CFE211D38E8}" type="presParOf" srcId="{CF57B3AA-9D23-4D82-8D72-1A4D072C9CF6}" destId="{2546BF50-5AD8-40D0-A01F-A649CF2327DE}" srcOrd="0" destOrd="0" presId="urn:microsoft.com/office/officeart/2005/8/layout/cycle2"/>
    <dgm:cxn modelId="{98E713FB-8C8E-486F-886B-E02B5DB4C0A7}" type="presParOf" srcId="{0314D0E1-52B0-4957-906A-3DED1FE20AB6}" destId="{83195273-D2D4-405D-A258-93AFE8C7BE7A}" srcOrd="2" destOrd="0" presId="urn:microsoft.com/office/officeart/2005/8/layout/cycle2"/>
    <dgm:cxn modelId="{1732245C-EA0A-4239-ABEF-65882F292788}" type="presParOf" srcId="{0314D0E1-52B0-4957-906A-3DED1FE20AB6}" destId="{798A8C5B-4663-468B-BDAB-5BC0D323EF4E}" srcOrd="3" destOrd="0" presId="urn:microsoft.com/office/officeart/2005/8/layout/cycle2"/>
    <dgm:cxn modelId="{1E66540A-4F57-419D-B8B2-5A29E20CD677}" type="presParOf" srcId="{798A8C5B-4663-468B-BDAB-5BC0D323EF4E}" destId="{6C754846-F75A-4A89-A242-6671D8DDC5A9}" srcOrd="0" destOrd="0" presId="urn:microsoft.com/office/officeart/2005/8/layout/cycle2"/>
    <dgm:cxn modelId="{CAAF86D4-147B-4413-9C12-3094F26C4ABE}" type="presParOf" srcId="{0314D0E1-52B0-4957-906A-3DED1FE20AB6}" destId="{B05F7D2C-D848-4E12-98C6-11FDD917CB93}" srcOrd="4" destOrd="0" presId="urn:microsoft.com/office/officeart/2005/8/layout/cycle2"/>
    <dgm:cxn modelId="{3F28AB3C-3F54-4524-AE7F-F2E9DF1A3999}" type="presParOf" srcId="{0314D0E1-52B0-4957-906A-3DED1FE20AB6}" destId="{342C44B1-3496-43E6-B7A3-2E7DE47A0EB1}" srcOrd="5" destOrd="0" presId="urn:microsoft.com/office/officeart/2005/8/layout/cycle2"/>
    <dgm:cxn modelId="{DD3F08A5-5D79-4B31-B252-6680331D6D9E}" type="presParOf" srcId="{342C44B1-3496-43E6-B7A3-2E7DE47A0EB1}" destId="{EFE96AD8-1B36-480F-B9D4-5217307D065E}" srcOrd="0" destOrd="0" presId="urn:microsoft.com/office/officeart/2005/8/layout/cycle2"/>
    <dgm:cxn modelId="{1D38F01B-4C37-4401-8A80-273342063DC8}" type="presParOf" srcId="{0314D0E1-52B0-4957-906A-3DED1FE20AB6}" destId="{AEC3BFE0-4A84-4A7A-9D2A-077ED9AD905B}" srcOrd="6" destOrd="0" presId="urn:microsoft.com/office/officeart/2005/8/layout/cycle2"/>
    <dgm:cxn modelId="{0FC975B2-8A31-4506-B00F-C9A750E93D78}" type="presParOf" srcId="{0314D0E1-52B0-4957-906A-3DED1FE20AB6}" destId="{BB722067-4A31-4156-9489-71E129EF8E43}" srcOrd="7" destOrd="0" presId="urn:microsoft.com/office/officeart/2005/8/layout/cycle2"/>
    <dgm:cxn modelId="{36496476-D699-4F76-B7CF-EA21EC17012C}" type="presParOf" srcId="{BB722067-4A31-4156-9489-71E129EF8E43}" destId="{A40E58EC-493C-4310-A857-E6D93F3F5222}" srcOrd="0" destOrd="0" presId="urn:microsoft.com/office/officeart/2005/8/layout/cycle2"/>
    <dgm:cxn modelId="{618BAB73-4D7C-4EFF-AEFB-180516159DEA}" type="presParOf" srcId="{0314D0E1-52B0-4957-906A-3DED1FE20AB6}" destId="{157C4094-4D48-4CA4-8FE3-C846251355F5}" srcOrd="8" destOrd="0" presId="urn:microsoft.com/office/officeart/2005/8/layout/cycle2"/>
    <dgm:cxn modelId="{83DE2817-F853-4B9E-A5F3-E6D3EBEBADEB}" type="presParOf" srcId="{0314D0E1-52B0-4957-906A-3DED1FE20AB6}" destId="{9347F69F-9A85-4B8D-9DE5-233494D2AF22}" srcOrd="9" destOrd="0" presId="urn:microsoft.com/office/officeart/2005/8/layout/cycle2"/>
    <dgm:cxn modelId="{36439485-6D5D-408E-A79F-03AC547DD882}" type="presParOf" srcId="{9347F69F-9A85-4B8D-9DE5-233494D2AF22}" destId="{7EFAF541-47AF-4C3C-9CFE-C8EF5507A27C}" srcOrd="0" destOrd="0" presId="urn:microsoft.com/office/officeart/2005/8/layout/cycle2"/>
    <dgm:cxn modelId="{A880D0AB-10A2-4A05-B5A9-76EC02479355}" type="presParOf" srcId="{0314D0E1-52B0-4957-906A-3DED1FE20AB6}" destId="{5E517795-696C-4478-8F77-24582CDCDF88}" srcOrd="10" destOrd="0" presId="urn:microsoft.com/office/officeart/2005/8/layout/cycle2"/>
    <dgm:cxn modelId="{97D21127-2421-4B76-B0CC-0ABED84C526B}" type="presParOf" srcId="{0314D0E1-52B0-4957-906A-3DED1FE20AB6}" destId="{48C0BD33-5F17-45F5-9058-93C87A9DDC1F}" srcOrd="11" destOrd="0" presId="urn:microsoft.com/office/officeart/2005/8/layout/cycle2"/>
    <dgm:cxn modelId="{E7E82FC9-BBB0-439F-A51F-AA86F9939200}" type="presParOf" srcId="{48C0BD33-5F17-45F5-9058-93C87A9DDC1F}" destId="{B1CEE351-6D90-4A79-B4AC-9CB274EA73AC}" srcOrd="0" destOrd="0" presId="urn:microsoft.com/office/officeart/2005/8/layout/cycle2"/>
    <dgm:cxn modelId="{58A2FACB-81CE-49E2-9955-CA344F819384}" type="presParOf" srcId="{0314D0E1-52B0-4957-906A-3DED1FE20AB6}" destId="{23AEF67E-B71E-4BFF-8274-B39880BE8995}" srcOrd="12" destOrd="0" presId="urn:microsoft.com/office/officeart/2005/8/layout/cycle2"/>
    <dgm:cxn modelId="{BEAC17D2-FD2E-4B63-8B96-27E57D299CB9}" type="presParOf" srcId="{0314D0E1-52B0-4957-906A-3DED1FE20AB6}" destId="{9851BCFD-6C0F-44EE-A90D-93FA72FAD479}" srcOrd="13" destOrd="0" presId="urn:microsoft.com/office/officeart/2005/8/layout/cycle2"/>
    <dgm:cxn modelId="{9C3AA4CF-B1B8-4D4E-BD5A-FEC6559DAF3F}" type="presParOf" srcId="{9851BCFD-6C0F-44EE-A90D-93FA72FAD479}" destId="{587F2F10-0AE6-474A-8CEB-4172CC329BE3}" srcOrd="0" destOrd="0" presId="urn:microsoft.com/office/officeart/2005/8/layout/cycle2"/>
    <dgm:cxn modelId="{FE2CF3AC-4980-4F23-9342-BA5C7BE38767}" type="presParOf" srcId="{0314D0E1-52B0-4957-906A-3DED1FE20AB6}" destId="{9336A9F3-2A53-40E9-8F9F-8E4C967B12C1}" srcOrd="14" destOrd="0" presId="urn:microsoft.com/office/officeart/2005/8/layout/cycle2"/>
    <dgm:cxn modelId="{3DC68474-767E-4A70-84FD-75955F2B7B07}" type="presParOf" srcId="{0314D0E1-52B0-4957-906A-3DED1FE20AB6}" destId="{80B8A62C-CA65-4F7F-B3E1-E47A6F8DBF28}" srcOrd="15" destOrd="0" presId="urn:microsoft.com/office/officeart/2005/8/layout/cycle2"/>
    <dgm:cxn modelId="{2A513462-E37D-4E41-BB37-E724BC6787FD}" type="presParOf" srcId="{80B8A62C-CA65-4F7F-B3E1-E47A6F8DBF28}" destId="{D0FD9655-5A6C-4F6C-98FD-3B2D55F73505}" srcOrd="0" destOrd="0" presId="urn:microsoft.com/office/officeart/2005/8/layout/cycle2"/>
    <dgm:cxn modelId="{8EF0569A-21AD-4169-9E0C-B21D134CA3B1}" type="presParOf" srcId="{0314D0E1-52B0-4957-906A-3DED1FE20AB6}" destId="{AA562BA4-1362-4B11-BE12-AAF95F9B0655}" srcOrd="16" destOrd="0" presId="urn:microsoft.com/office/officeart/2005/8/layout/cycle2"/>
    <dgm:cxn modelId="{0C351324-94D5-4E06-825E-A9E6F2AB19D4}" type="presParOf" srcId="{0314D0E1-52B0-4957-906A-3DED1FE20AB6}" destId="{8F1FDF32-78E0-4ED1-970D-21E8309CEF5A}" srcOrd="17" destOrd="0" presId="urn:microsoft.com/office/officeart/2005/8/layout/cycle2"/>
    <dgm:cxn modelId="{65EF202A-211F-4646-8275-6A88D104EBA4}" type="presParOf" srcId="{8F1FDF32-78E0-4ED1-970D-21E8309CEF5A}" destId="{56E98031-14F7-4FF4-8CB0-C66FC7DF872F}" srcOrd="0" destOrd="0" presId="urn:microsoft.com/office/officeart/2005/8/layout/cycle2"/>
    <dgm:cxn modelId="{78F9E849-BCEA-49A2-8943-D9D80C5B9495}" type="presParOf" srcId="{0314D0E1-52B0-4957-906A-3DED1FE20AB6}" destId="{4C7C445F-E1C6-4F7A-821E-F674A343F87A}" srcOrd="18" destOrd="0" presId="urn:microsoft.com/office/officeart/2005/8/layout/cycle2"/>
    <dgm:cxn modelId="{532373FE-B9DA-4B12-BFD6-A7564022FD9D}" type="presParOf" srcId="{0314D0E1-52B0-4957-906A-3DED1FE20AB6}" destId="{00C6A176-9825-494C-8FDD-D407F0EF76CB}" srcOrd="19" destOrd="0" presId="urn:microsoft.com/office/officeart/2005/8/layout/cycle2"/>
    <dgm:cxn modelId="{77A1D223-7CE3-466C-863D-746C425CDC75}" type="presParOf" srcId="{00C6A176-9825-494C-8FDD-D407F0EF76CB}" destId="{45B6EB01-0DBC-44EB-8631-D6071B6D84B4}" srcOrd="0" destOrd="0" presId="urn:microsoft.com/office/officeart/2005/8/layout/cycle2"/>
    <dgm:cxn modelId="{F3E9A9D2-2FE4-4D4B-A6E8-72483FFE5600}" type="presParOf" srcId="{0314D0E1-52B0-4957-906A-3DED1FE20AB6}" destId="{9B0B857B-DA14-4DB2-9764-FAEA0033B125}" srcOrd="20" destOrd="0" presId="urn:microsoft.com/office/officeart/2005/8/layout/cycle2"/>
    <dgm:cxn modelId="{FB52E4CD-AC4A-41B6-B522-9ABA702C7742}" type="presParOf" srcId="{0314D0E1-52B0-4957-906A-3DED1FE20AB6}" destId="{FEA59801-9672-4D23-8192-A605C46BE70F}" srcOrd="21" destOrd="0" presId="urn:microsoft.com/office/officeart/2005/8/layout/cycle2"/>
    <dgm:cxn modelId="{868943E3-6B05-4AD2-AC1C-B8BD3182863F}"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dgm:t>
        <a:bodyPr/>
        <a:lstStyle/>
        <a:p>
          <a:r>
            <a:rPr lang="zh-CN" altLang="en-US" sz="600" b="0"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600" b="0" smtClean="0"/>
            <a:t>会议费</a:t>
          </a:r>
          <a:endParaRPr lang="zh-CN" altLang="en-US" sz="600" b="0"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600" b="0" dirty="0" smtClean="0"/>
            <a:t>国际合作交流费</a:t>
          </a:r>
          <a:endParaRPr lang="zh-CN" altLang="en-US" sz="600" b="0"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a:solidFill>
          <a:schemeClr val="accent2"/>
        </a:solidFill>
      </dgm:spPr>
      <dgm:t>
        <a:bodyPr/>
        <a:lstStyle/>
        <a:p>
          <a:r>
            <a:rPr lang="zh-CN" altLang="en-US" sz="1000" b="1" dirty="0" smtClean="0"/>
            <a:t>出版</a:t>
          </a:r>
          <a:r>
            <a:rPr lang="en-US" altLang="zh-CN" sz="1000" b="1" dirty="0" smtClean="0"/>
            <a:t>/</a:t>
          </a:r>
          <a:r>
            <a:rPr lang="zh-CN" altLang="en-US" sz="1000" b="1" dirty="0" smtClean="0"/>
            <a:t>文献</a:t>
          </a:r>
          <a:r>
            <a:rPr lang="en-US" altLang="zh-CN" sz="1000" b="1" dirty="0" smtClean="0"/>
            <a:t>/</a:t>
          </a:r>
          <a:r>
            <a:rPr lang="zh-CN" altLang="en-US" sz="1000" b="1" dirty="0" smtClean="0"/>
            <a:t>信息传播</a:t>
          </a:r>
          <a:r>
            <a:rPr lang="en-US" altLang="zh-CN" sz="1000" b="1" dirty="0" smtClean="0"/>
            <a:t>/</a:t>
          </a:r>
          <a:r>
            <a:rPr lang="zh-CN" altLang="en-US" sz="1000" b="1" dirty="0" smtClean="0"/>
            <a:t>知识产权事务费</a:t>
          </a:r>
          <a:endParaRPr lang="zh-CN" altLang="en-US" sz="1000" b="1"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4100" custScaleY="47658">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6027" custScaleY="4569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0857" custScaleY="42986">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99097" custScaleY="96529">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24563D9C-AFD2-4FDD-B25F-AA3B005B8E95}" type="presOf" srcId="{C1163CC9-4ECF-4D31-855C-26A2B3DCC5C4}" destId="{4C7C445F-E1C6-4F7A-821E-F674A343F87A}" srcOrd="0"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5A488705-BD94-4AFC-A818-3A9E4FA7018A}" type="presOf" srcId="{A48FC8E7-DEF6-47DD-9FD7-A42C236E411D}" destId="{9851BCFD-6C0F-44EE-A90D-93FA72FAD479}" srcOrd="0" destOrd="0" presId="urn:microsoft.com/office/officeart/2005/8/layout/cycle2"/>
    <dgm:cxn modelId="{8563F3CB-A066-42F7-AC2C-4B832D597FE5}" type="presOf" srcId="{36CA222D-1275-4473-881C-488A61C55835}" destId="{9347F69F-9A85-4B8D-9DE5-233494D2AF22}" srcOrd="0" destOrd="0" presId="urn:microsoft.com/office/officeart/2005/8/layout/cycle2"/>
    <dgm:cxn modelId="{C8A659F0-B11F-42DD-A07D-044C7E70BF89}" type="presOf" srcId="{315727AA-F8CB-4FAC-81F0-3D8F3BB1B56E}" destId="{1AFE4D34-A1BE-488A-9816-71CABDC842F3}" srcOrd="1" destOrd="0" presId="urn:microsoft.com/office/officeart/2005/8/layout/cycle2"/>
    <dgm:cxn modelId="{CB4E5451-C243-4884-976B-DF0277CE3585}" type="presOf" srcId="{0E50710D-2BD5-4826-B9D1-2870E5EAFE57}" destId="{80B8A62C-CA65-4F7F-B3E1-E47A6F8DBF28}" srcOrd="0" destOrd="0" presId="urn:microsoft.com/office/officeart/2005/8/layout/cycle2"/>
    <dgm:cxn modelId="{04D5BDBD-7BAC-41D7-8711-D1FBDD460066}" type="presOf" srcId="{EA880416-D651-45A6-84F2-C54398F7B105}" destId="{AA562BA4-1362-4B11-BE12-AAF95F9B0655}" srcOrd="0" destOrd="0" presId="urn:microsoft.com/office/officeart/2005/8/layout/cycle2"/>
    <dgm:cxn modelId="{CF4695A0-E4CF-4BC3-A937-6D6F872395AC}" type="presOf" srcId="{4AB5C3AA-E12D-487A-99B0-D76EFF1AB462}" destId="{B05F7D2C-D848-4E12-98C6-11FDD917CB93}"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52E49C2E-9663-4DAD-9994-01C51DBB8F1A}" type="presOf" srcId="{B9D5BAA1-0541-416B-9895-A63D7BC366EC}" destId="{6B1C954F-37B9-4616-8073-9C538A00A4CD}" srcOrd="0" destOrd="0" presId="urn:microsoft.com/office/officeart/2005/8/layout/cycle2"/>
    <dgm:cxn modelId="{1ECCF3F9-3432-4E25-90BA-494C4A71BEAD}" type="presOf" srcId="{E8860603-B54B-464D-847C-F39AD96130A4}" destId="{83195273-D2D4-405D-A258-93AFE8C7BE7A}" srcOrd="0" destOrd="0" presId="urn:microsoft.com/office/officeart/2005/8/layout/cycle2"/>
    <dgm:cxn modelId="{B62D8BCE-3CFF-4F52-98D0-885F0F2E54BE}" type="presOf" srcId="{E2CB592C-1787-44C9-8686-4F00CBFA5CB1}" destId="{00C6A176-9825-494C-8FDD-D407F0EF76CB}" srcOrd="0" destOrd="0" presId="urn:microsoft.com/office/officeart/2005/8/layout/cycle2"/>
    <dgm:cxn modelId="{69E4C70C-ABBF-4B5A-890D-6A4CA9B52DE3}" type="presOf" srcId="{4D369322-CA3E-425E-AC5C-D9DEAEAC5E3C}" destId="{9B0B857B-DA14-4DB2-9764-FAEA0033B125}" srcOrd="0" destOrd="0" presId="urn:microsoft.com/office/officeart/2005/8/layout/cycle2"/>
    <dgm:cxn modelId="{56886438-B556-4509-A4D0-A75E5973087D}" type="presOf" srcId="{DCEF1A9F-ED00-4444-8E7D-348279B7611D}" destId="{A40E58EC-493C-4310-A857-E6D93F3F5222}" srcOrd="1" destOrd="0" presId="urn:microsoft.com/office/officeart/2005/8/layout/cycle2"/>
    <dgm:cxn modelId="{CD2842B1-28DC-4305-86E1-8AFA4127A783}" type="presOf" srcId="{0E50710D-2BD5-4826-B9D1-2870E5EAFE57}" destId="{D0FD9655-5A6C-4F6C-98FD-3B2D55F73505}" srcOrd="1" destOrd="0" presId="urn:microsoft.com/office/officeart/2005/8/layout/cycle2"/>
    <dgm:cxn modelId="{F7681CEC-9F28-4289-A026-D39DEA01B504}" type="presOf" srcId="{6A94E007-355E-4DF8-8BC8-31F5F07906F8}" destId="{23AEF67E-B71E-4BFF-8274-B39880BE8995}" srcOrd="0" destOrd="0" presId="urn:microsoft.com/office/officeart/2005/8/layout/cycle2"/>
    <dgm:cxn modelId="{D4BC2A25-8484-4858-ABF1-C425938ECF08}" type="presOf" srcId="{7630EC86-B5D2-4E6A-906C-EC36BCBD2F9B}" destId="{56E98031-14F7-4FF4-8CB0-C66FC7DF872F}" srcOrd="1" destOrd="0" presId="urn:microsoft.com/office/officeart/2005/8/layout/cycle2"/>
    <dgm:cxn modelId="{1430C9D1-11CA-44CD-8CF7-738138B7ACE6}" type="presOf" srcId="{1A1A6082-1BF4-40F3-BF25-E2599BB53BFA}" destId="{2546BF50-5AD8-40D0-A01F-A649CF2327DE}" srcOrd="1"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8B7557F3-1631-46ED-BAC1-A7D3354C38A9}" type="presOf" srcId="{1A1A6082-1BF4-40F3-BF25-E2599BB53BFA}" destId="{CF57B3AA-9D23-4D82-8D72-1A4D072C9CF6}" srcOrd="0"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3D7D5C36-2440-4D5E-A3CE-2F6ADE3186ED}" type="presOf" srcId="{C3EFBD6A-E3EC-4E4A-B112-75A580157B18}" destId="{9336A9F3-2A53-40E9-8F9F-8E4C967B12C1}" srcOrd="0" destOrd="0" presId="urn:microsoft.com/office/officeart/2005/8/layout/cycle2"/>
    <dgm:cxn modelId="{C12F7312-98F3-46D3-B2B7-10856C0F7BA2}" type="presOf" srcId="{20D4FDE3-C196-41C9-8DB2-EF038981D495}" destId="{B1CEE351-6D90-4A79-B4AC-9CB274EA73AC}" srcOrd="1" destOrd="0" presId="urn:microsoft.com/office/officeart/2005/8/layout/cycle2"/>
    <dgm:cxn modelId="{0A33090C-EEFD-475B-82A4-39B643113116}" type="presOf" srcId="{315727AA-F8CB-4FAC-81F0-3D8F3BB1B56E}" destId="{FEA59801-9672-4D23-8192-A605C46BE70F}" srcOrd="0" destOrd="0" presId="urn:microsoft.com/office/officeart/2005/8/layout/cycle2"/>
    <dgm:cxn modelId="{7134686A-78A7-4D00-9058-04A084C9A1C7}" type="presOf" srcId="{DCEF1A9F-ED00-4444-8E7D-348279B7611D}" destId="{BB722067-4A31-4156-9489-71E129EF8E43}" srcOrd="0" destOrd="0" presId="urn:microsoft.com/office/officeart/2005/8/layout/cycle2"/>
    <dgm:cxn modelId="{4B8C9D09-26E4-4C26-B103-A036256ADAC1}" type="presOf" srcId="{D5290F46-685B-42D9-A176-CA6370062CB6}" destId="{EFE96AD8-1B36-480F-B9D4-5217307D065E}" srcOrd="1" destOrd="0" presId="urn:microsoft.com/office/officeart/2005/8/layout/cycle2"/>
    <dgm:cxn modelId="{088FAF0E-11FA-4681-B88B-43FC26EF8218}" type="presOf" srcId="{BF32EDA5-B1A7-4C67-9DEE-B0EFED1F5B2B}" destId="{798A8C5B-4663-468B-BDAB-5BC0D323EF4E}" srcOrd="0" destOrd="0" presId="urn:microsoft.com/office/officeart/2005/8/layout/cycle2"/>
    <dgm:cxn modelId="{82B05A8C-E71A-4B48-91A5-00C92DD780EB}" type="presOf" srcId="{D5290F46-685B-42D9-A176-CA6370062CB6}" destId="{342C44B1-3496-43E6-B7A3-2E7DE47A0EB1}" srcOrd="0" destOrd="0" presId="urn:microsoft.com/office/officeart/2005/8/layout/cycle2"/>
    <dgm:cxn modelId="{308D37BE-4373-44AB-828D-86767B1E70DD}" type="presOf" srcId="{FE0AF671-58B1-40F8-8B7A-983E652E7D40}" destId="{0314D0E1-52B0-4957-906A-3DED1FE20AB6}"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8F4FA0B8-7419-487C-BE4B-34372B354502}" type="presOf" srcId="{7630EC86-B5D2-4E6A-906C-EC36BCBD2F9B}" destId="{8F1FDF32-78E0-4ED1-970D-21E8309CEF5A}"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A6EA5E60-5580-4E46-9423-4C2271FDF724}" type="presOf" srcId="{20D4FDE3-C196-41C9-8DB2-EF038981D495}" destId="{48C0BD33-5F17-45F5-9058-93C87A9DDC1F}" srcOrd="0" destOrd="0" presId="urn:microsoft.com/office/officeart/2005/8/layout/cycle2"/>
    <dgm:cxn modelId="{90188C65-B065-4D4D-8A60-37928C9410F3}" type="presOf" srcId="{36CA222D-1275-4473-881C-488A61C55835}" destId="{7EFAF541-47AF-4C3C-9CFE-C8EF5507A27C}" srcOrd="1"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C4F4B3FD-FC42-4020-AA44-8967D98BBC55}" type="presOf" srcId="{275AFB5B-A843-4E45-89A6-0D625719EC18}" destId="{AEC3BFE0-4A84-4A7A-9D2A-077ED9AD905B}" srcOrd="0" destOrd="0" presId="urn:microsoft.com/office/officeart/2005/8/layout/cycle2"/>
    <dgm:cxn modelId="{686D91E9-2B59-4EBF-AA2A-8A5050F8E1B5}" type="presOf" srcId="{91162D75-99DA-487C-940D-DAE8D13C4447}" destId="{157C4094-4D48-4CA4-8FE3-C846251355F5}" srcOrd="0" destOrd="0" presId="urn:microsoft.com/office/officeart/2005/8/layout/cycle2"/>
    <dgm:cxn modelId="{B920AC4E-886C-4CC8-B586-EE3609A599CD}" type="presOf" srcId="{A48FC8E7-DEF6-47DD-9FD7-A42C236E411D}" destId="{587F2F10-0AE6-474A-8CEB-4172CC329BE3}" srcOrd="1" destOrd="0" presId="urn:microsoft.com/office/officeart/2005/8/layout/cycle2"/>
    <dgm:cxn modelId="{AC58F9B0-1911-4C6D-BFDF-B0D1BE27CEDA}" type="presOf" srcId="{B9C095A4-09B3-4524-A547-0933F3DD34F1}" destId="{5E517795-696C-4478-8F77-24582CDCDF88}"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6EFD5816-969F-4F5D-8C3F-59290CD1D3E0}" type="presOf" srcId="{E2CB592C-1787-44C9-8686-4F00CBFA5CB1}" destId="{45B6EB01-0DBC-44EB-8631-D6071B6D84B4}" srcOrd="1"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25A1C798-6AE7-41AA-A30F-DFD39EDD3C9F}" type="presOf" srcId="{BF32EDA5-B1A7-4C67-9DEE-B0EFED1F5B2B}" destId="{6C754846-F75A-4A89-A242-6671D8DDC5A9}" srcOrd="1" destOrd="0" presId="urn:microsoft.com/office/officeart/2005/8/layout/cycle2"/>
    <dgm:cxn modelId="{835F52CB-3FE6-41DC-AEF3-38087B7F9DEA}" type="presParOf" srcId="{0314D0E1-52B0-4957-906A-3DED1FE20AB6}" destId="{6B1C954F-37B9-4616-8073-9C538A00A4CD}" srcOrd="0" destOrd="0" presId="urn:microsoft.com/office/officeart/2005/8/layout/cycle2"/>
    <dgm:cxn modelId="{63A333BF-76BC-4CA6-948D-3799107A5A8B}" type="presParOf" srcId="{0314D0E1-52B0-4957-906A-3DED1FE20AB6}" destId="{CF57B3AA-9D23-4D82-8D72-1A4D072C9CF6}" srcOrd="1" destOrd="0" presId="urn:microsoft.com/office/officeart/2005/8/layout/cycle2"/>
    <dgm:cxn modelId="{9451A7C5-A155-422C-A236-5BC7A8EA7ED8}" type="presParOf" srcId="{CF57B3AA-9D23-4D82-8D72-1A4D072C9CF6}" destId="{2546BF50-5AD8-40D0-A01F-A649CF2327DE}" srcOrd="0" destOrd="0" presId="urn:microsoft.com/office/officeart/2005/8/layout/cycle2"/>
    <dgm:cxn modelId="{9ACA39DC-6261-443C-BF31-ED7E14B281AC}" type="presParOf" srcId="{0314D0E1-52B0-4957-906A-3DED1FE20AB6}" destId="{83195273-D2D4-405D-A258-93AFE8C7BE7A}" srcOrd="2" destOrd="0" presId="urn:microsoft.com/office/officeart/2005/8/layout/cycle2"/>
    <dgm:cxn modelId="{B032FBF8-D407-4411-9F83-CC53A7B3490C}" type="presParOf" srcId="{0314D0E1-52B0-4957-906A-3DED1FE20AB6}" destId="{798A8C5B-4663-468B-BDAB-5BC0D323EF4E}" srcOrd="3" destOrd="0" presId="urn:microsoft.com/office/officeart/2005/8/layout/cycle2"/>
    <dgm:cxn modelId="{773A806C-1E07-4C11-9640-DBAD82DA14E2}" type="presParOf" srcId="{798A8C5B-4663-468B-BDAB-5BC0D323EF4E}" destId="{6C754846-F75A-4A89-A242-6671D8DDC5A9}" srcOrd="0" destOrd="0" presId="urn:microsoft.com/office/officeart/2005/8/layout/cycle2"/>
    <dgm:cxn modelId="{9C9079FD-690E-4ACA-8994-0A46CC26C6AF}" type="presParOf" srcId="{0314D0E1-52B0-4957-906A-3DED1FE20AB6}" destId="{B05F7D2C-D848-4E12-98C6-11FDD917CB93}" srcOrd="4" destOrd="0" presId="urn:microsoft.com/office/officeart/2005/8/layout/cycle2"/>
    <dgm:cxn modelId="{11EDE7AA-99F4-4745-97F2-A85DB758AFF3}" type="presParOf" srcId="{0314D0E1-52B0-4957-906A-3DED1FE20AB6}" destId="{342C44B1-3496-43E6-B7A3-2E7DE47A0EB1}" srcOrd="5" destOrd="0" presId="urn:microsoft.com/office/officeart/2005/8/layout/cycle2"/>
    <dgm:cxn modelId="{27DB1150-C7D1-4EBE-A277-013794FE0CAE}" type="presParOf" srcId="{342C44B1-3496-43E6-B7A3-2E7DE47A0EB1}" destId="{EFE96AD8-1B36-480F-B9D4-5217307D065E}" srcOrd="0" destOrd="0" presId="urn:microsoft.com/office/officeart/2005/8/layout/cycle2"/>
    <dgm:cxn modelId="{9D35F3D2-20D7-488E-BA71-5BE3347C5FF9}" type="presParOf" srcId="{0314D0E1-52B0-4957-906A-3DED1FE20AB6}" destId="{AEC3BFE0-4A84-4A7A-9D2A-077ED9AD905B}" srcOrd="6" destOrd="0" presId="urn:microsoft.com/office/officeart/2005/8/layout/cycle2"/>
    <dgm:cxn modelId="{A7A3D778-94DD-45E3-B9B3-837385F3CE68}" type="presParOf" srcId="{0314D0E1-52B0-4957-906A-3DED1FE20AB6}" destId="{BB722067-4A31-4156-9489-71E129EF8E43}" srcOrd="7" destOrd="0" presId="urn:microsoft.com/office/officeart/2005/8/layout/cycle2"/>
    <dgm:cxn modelId="{593D824B-9A3D-4023-A2B2-BB90A364C57C}" type="presParOf" srcId="{BB722067-4A31-4156-9489-71E129EF8E43}" destId="{A40E58EC-493C-4310-A857-E6D93F3F5222}" srcOrd="0" destOrd="0" presId="urn:microsoft.com/office/officeart/2005/8/layout/cycle2"/>
    <dgm:cxn modelId="{CEC98C01-1B48-40B3-9010-E9BA21FDB1D2}" type="presParOf" srcId="{0314D0E1-52B0-4957-906A-3DED1FE20AB6}" destId="{157C4094-4D48-4CA4-8FE3-C846251355F5}" srcOrd="8" destOrd="0" presId="urn:microsoft.com/office/officeart/2005/8/layout/cycle2"/>
    <dgm:cxn modelId="{0501D044-3CB7-4E06-866A-EB1DD756B7C5}" type="presParOf" srcId="{0314D0E1-52B0-4957-906A-3DED1FE20AB6}" destId="{9347F69F-9A85-4B8D-9DE5-233494D2AF22}" srcOrd="9" destOrd="0" presId="urn:microsoft.com/office/officeart/2005/8/layout/cycle2"/>
    <dgm:cxn modelId="{E012806E-9EE7-457E-8AA5-FAA5BB17C177}" type="presParOf" srcId="{9347F69F-9A85-4B8D-9DE5-233494D2AF22}" destId="{7EFAF541-47AF-4C3C-9CFE-C8EF5507A27C}" srcOrd="0" destOrd="0" presId="urn:microsoft.com/office/officeart/2005/8/layout/cycle2"/>
    <dgm:cxn modelId="{C074B3EE-41A9-4D5D-9B53-C059E6F6D30C}" type="presParOf" srcId="{0314D0E1-52B0-4957-906A-3DED1FE20AB6}" destId="{5E517795-696C-4478-8F77-24582CDCDF88}" srcOrd="10" destOrd="0" presId="urn:microsoft.com/office/officeart/2005/8/layout/cycle2"/>
    <dgm:cxn modelId="{1F580A38-B1C1-4465-BAD6-CC9C1DF886D3}" type="presParOf" srcId="{0314D0E1-52B0-4957-906A-3DED1FE20AB6}" destId="{48C0BD33-5F17-45F5-9058-93C87A9DDC1F}" srcOrd="11" destOrd="0" presId="urn:microsoft.com/office/officeart/2005/8/layout/cycle2"/>
    <dgm:cxn modelId="{C1609BB6-8B43-41C6-8B6E-B0E233DEEA5F}" type="presParOf" srcId="{48C0BD33-5F17-45F5-9058-93C87A9DDC1F}" destId="{B1CEE351-6D90-4A79-B4AC-9CB274EA73AC}" srcOrd="0" destOrd="0" presId="urn:microsoft.com/office/officeart/2005/8/layout/cycle2"/>
    <dgm:cxn modelId="{9C63195F-766C-4895-916A-045DB79C68B0}" type="presParOf" srcId="{0314D0E1-52B0-4957-906A-3DED1FE20AB6}" destId="{23AEF67E-B71E-4BFF-8274-B39880BE8995}" srcOrd="12" destOrd="0" presId="urn:microsoft.com/office/officeart/2005/8/layout/cycle2"/>
    <dgm:cxn modelId="{B2EBFF74-79CB-40B4-92C1-CDFBA7D50126}" type="presParOf" srcId="{0314D0E1-52B0-4957-906A-3DED1FE20AB6}" destId="{9851BCFD-6C0F-44EE-A90D-93FA72FAD479}" srcOrd="13" destOrd="0" presId="urn:microsoft.com/office/officeart/2005/8/layout/cycle2"/>
    <dgm:cxn modelId="{79DC781F-D73B-4AB0-A75F-1643E12536C5}" type="presParOf" srcId="{9851BCFD-6C0F-44EE-A90D-93FA72FAD479}" destId="{587F2F10-0AE6-474A-8CEB-4172CC329BE3}" srcOrd="0" destOrd="0" presId="urn:microsoft.com/office/officeart/2005/8/layout/cycle2"/>
    <dgm:cxn modelId="{40CDF4C3-1EF0-40BF-B8D7-AEDE96FAE544}" type="presParOf" srcId="{0314D0E1-52B0-4957-906A-3DED1FE20AB6}" destId="{9336A9F3-2A53-40E9-8F9F-8E4C967B12C1}" srcOrd="14" destOrd="0" presId="urn:microsoft.com/office/officeart/2005/8/layout/cycle2"/>
    <dgm:cxn modelId="{A61CB64E-C275-4F3F-BEF9-6E5C25D4DBFC}" type="presParOf" srcId="{0314D0E1-52B0-4957-906A-3DED1FE20AB6}" destId="{80B8A62C-CA65-4F7F-B3E1-E47A6F8DBF28}" srcOrd="15" destOrd="0" presId="urn:microsoft.com/office/officeart/2005/8/layout/cycle2"/>
    <dgm:cxn modelId="{EDBE8DBF-81F0-4D58-8594-609E0C4ABBF8}" type="presParOf" srcId="{80B8A62C-CA65-4F7F-B3E1-E47A6F8DBF28}" destId="{D0FD9655-5A6C-4F6C-98FD-3B2D55F73505}" srcOrd="0" destOrd="0" presId="urn:microsoft.com/office/officeart/2005/8/layout/cycle2"/>
    <dgm:cxn modelId="{0F2DEF03-5373-4AAB-BC25-86E85708CC4E}" type="presParOf" srcId="{0314D0E1-52B0-4957-906A-3DED1FE20AB6}" destId="{AA562BA4-1362-4B11-BE12-AAF95F9B0655}" srcOrd="16" destOrd="0" presId="urn:microsoft.com/office/officeart/2005/8/layout/cycle2"/>
    <dgm:cxn modelId="{ACD01BD2-9E4A-4219-B6F8-DE8183B15F97}" type="presParOf" srcId="{0314D0E1-52B0-4957-906A-3DED1FE20AB6}" destId="{8F1FDF32-78E0-4ED1-970D-21E8309CEF5A}" srcOrd="17" destOrd="0" presId="urn:microsoft.com/office/officeart/2005/8/layout/cycle2"/>
    <dgm:cxn modelId="{0122139D-19FF-4F3B-BD72-AE8DB7A87727}" type="presParOf" srcId="{8F1FDF32-78E0-4ED1-970D-21E8309CEF5A}" destId="{56E98031-14F7-4FF4-8CB0-C66FC7DF872F}" srcOrd="0" destOrd="0" presId="urn:microsoft.com/office/officeart/2005/8/layout/cycle2"/>
    <dgm:cxn modelId="{EDF8D521-D712-46A3-8BF9-2507CCB23432}" type="presParOf" srcId="{0314D0E1-52B0-4957-906A-3DED1FE20AB6}" destId="{4C7C445F-E1C6-4F7A-821E-F674A343F87A}" srcOrd="18" destOrd="0" presId="urn:microsoft.com/office/officeart/2005/8/layout/cycle2"/>
    <dgm:cxn modelId="{430479C1-40E4-4399-8BF6-5EB09309EF77}" type="presParOf" srcId="{0314D0E1-52B0-4957-906A-3DED1FE20AB6}" destId="{00C6A176-9825-494C-8FDD-D407F0EF76CB}" srcOrd="19" destOrd="0" presId="urn:microsoft.com/office/officeart/2005/8/layout/cycle2"/>
    <dgm:cxn modelId="{89D916F7-B139-4331-9D26-57AD73DDDE91}" type="presParOf" srcId="{00C6A176-9825-494C-8FDD-D407F0EF76CB}" destId="{45B6EB01-0DBC-44EB-8631-D6071B6D84B4}" srcOrd="0" destOrd="0" presId="urn:microsoft.com/office/officeart/2005/8/layout/cycle2"/>
    <dgm:cxn modelId="{FF1922ED-5850-4B88-9091-099D83830FFA}" type="presParOf" srcId="{0314D0E1-52B0-4957-906A-3DED1FE20AB6}" destId="{9B0B857B-DA14-4DB2-9764-FAEA0033B125}" srcOrd="20" destOrd="0" presId="urn:microsoft.com/office/officeart/2005/8/layout/cycle2"/>
    <dgm:cxn modelId="{F0724983-3EF2-40BE-B257-2F8C51FC5CE6}" type="presParOf" srcId="{0314D0E1-52B0-4957-906A-3DED1FE20AB6}" destId="{FEA59801-9672-4D23-8192-A605C46BE70F}" srcOrd="21" destOrd="0" presId="urn:microsoft.com/office/officeart/2005/8/layout/cycle2"/>
    <dgm:cxn modelId="{257F7E72-582C-46A7-9C79-35DCCAB86E92}"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dgm:t>
        <a:bodyPr/>
        <a:lstStyle/>
        <a:p>
          <a:r>
            <a:rPr lang="zh-CN" altLang="en-US" sz="600" b="0"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600" b="0" smtClean="0"/>
            <a:t>会议费</a:t>
          </a:r>
          <a:endParaRPr lang="zh-CN" altLang="en-US" sz="600" b="0"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600" b="0" dirty="0" smtClean="0"/>
            <a:t>国际合作交流费</a:t>
          </a:r>
          <a:endParaRPr lang="zh-CN" altLang="en-US" sz="600" b="0"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a:solidFill>
          <a:schemeClr val="accent2"/>
        </a:solidFill>
      </dgm:spPr>
      <dgm:t>
        <a:bodyPr/>
        <a:lstStyle/>
        <a:p>
          <a:r>
            <a:rPr lang="zh-CN" altLang="en-US" sz="1200" b="1" dirty="0" smtClean="0"/>
            <a:t>劳务费</a:t>
          </a:r>
          <a:endParaRPr lang="zh-CN" altLang="en-US" sz="1200" b="1"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4100" custScaleY="47658">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6027" custScaleY="4569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0857" custScaleY="42986">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82708" custScaleY="77241">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DD22802A-6577-4820-9096-33B3A00E9485}" srcId="{FE0AF671-58B1-40F8-8B7A-983E652E7D40}" destId="{EA880416-D651-45A6-84F2-C54398F7B105}" srcOrd="8" destOrd="0" parTransId="{72BD0BD4-4B36-42CF-88B3-59B975F26DB9}" sibTransId="{7630EC86-B5D2-4E6A-906C-EC36BCBD2F9B}"/>
    <dgm:cxn modelId="{704F9EA9-205D-4D36-AF56-2CCC973ADE2D}" type="presOf" srcId="{E2CB592C-1787-44C9-8686-4F00CBFA5CB1}" destId="{45B6EB01-0DBC-44EB-8631-D6071B6D84B4}" srcOrd="1" destOrd="0" presId="urn:microsoft.com/office/officeart/2005/8/layout/cycle2"/>
    <dgm:cxn modelId="{6E486DDB-48C6-483B-A8A3-4F35219E53CF}" type="presOf" srcId="{1A1A6082-1BF4-40F3-BF25-E2599BB53BFA}" destId="{2546BF50-5AD8-40D0-A01F-A649CF2327DE}" srcOrd="1" destOrd="0" presId="urn:microsoft.com/office/officeart/2005/8/layout/cycle2"/>
    <dgm:cxn modelId="{D68CC475-2FA8-48B2-9CAE-8D5D234C3CF7}" type="presOf" srcId="{1A1A6082-1BF4-40F3-BF25-E2599BB53BFA}" destId="{CF57B3AA-9D23-4D82-8D72-1A4D072C9CF6}" srcOrd="0" destOrd="0" presId="urn:microsoft.com/office/officeart/2005/8/layout/cycle2"/>
    <dgm:cxn modelId="{4B4909F1-A391-4484-B9CD-08078A65719F}" type="presOf" srcId="{315727AA-F8CB-4FAC-81F0-3D8F3BB1B56E}" destId="{FEA59801-9672-4D23-8192-A605C46BE70F}" srcOrd="0" destOrd="0" presId="urn:microsoft.com/office/officeart/2005/8/layout/cycle2"/>
    <dgm:cxn modelId="{4BDCA2BD-1E59-4367-AD7D-F126EA8006C7}" type="presOf" srcId="{315727AA-F8CB-4FAC-81F0-3D8F3BB1B56E}" destId="{1AFE4D34-A1BE-488A-9816-71CABDC842F3}" srcOrd="1" destOrd="0" presId="urn:microsoft.com/office/officeart/2005/8/layout/cycle2"/>
    <dgm:cxn modelId="{FA22D798-5D2E-4BBB-A8FD-007A73C44819}" type="presOf" srcId="{275AFB5B-A843-4E45-89A6-0D625719EC18}" destId="{AEC3BFE0-4A84-4A7A-9D2A-077ED9AD905B}" srcOrd="0" destOrd="0" presId="urn:microsoft.com/office/officeart/2005/8/layout/cycle2"/>
    <dgm:cxn modelId="{59D60E71-760E-4CD3-9644-21663892BE24}" type="presOf" srcId="{BF32EDA5-B1A7-4C67-9DEE-B0EFED1F5B2B}" destId="{6C754846-F75A-4A89-A242-6671D8DDC5A9}" srcOrd="1" destOrd="0" presId="urn:microsoft.com/office/officeart/2005/8/layout/cycle2"/>
    <dgm:cxn modelId="{C3C49E4B-7486-42DF-A836-0C39791721D0}" type="presOf" srcId="{36CA222D-1275-4473-881C-488A61C55835}" destId="{9347F69F-9A85-4B8D-9DE5-233494D2AF22}" srcOrd="0" destOrd="0" presId="urn:microsoft.com/office/officeart/2005/8/layout/cycle2"/>
    <dgm:cxn modelId="{D3F68CCA-CFC4-4E8E-A3FC-79CAFDB23548}" type="presOf" srcId="{20D4FDE3-C196-41C9-8DB2-EF038981D495}" destId="{B1CEE351-6D90-4A79-B4AC-9CB274EA73AC}" srcOrd="1" destOrd="0" presId="urn:microsoft.com/office/officeart/2005/8/layout/cycle2"/>
    <dgm:cxn modelId="{2A1424DB-63A5-4750-A274-72AE0FA8B185}" type="presOf" srcId="{6A94E007-355E-4DF8-8BC8-31F5F07906F8}" destId="{23AEF67E-B71E-4BFF-8274-B39880BE8995}" srcOrd="0" destOrd="0" presId="urn:microsoft.com/office/officeart/2005/8/layout/cycle2"/>
    <dgm:cxn modelId="{DBE2F9A5-493C-4B7A-A102-EEDA9A5329A1}" type="presOf" srcId="{7630EC86-B5D2-4E6A-906C-EC36BCBD2F9B}" destId="{8F1FDF32-78E0-4ED1-970D-21E8309CEF5A}"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5D7FC98D-8168-4AE4-8321-0F1DBC9D9096}" type="presOf" srcId="{D5290F46-685B-42D9-A176-CA6370062CB6}" destId="{342C44B1-3496-43E6-B7A3-2E7DE47A0EB1}" srcOrd="0" destOrd="0" presId="urn:microsoft.com/office/officeart/2005/8/layout/cycle2"/>
    <dgm:cxn modelId="{3458B648-9C20-47DC-8930-B487A118013B}" type="presOf" srcId="{A48FC8E7-DEF6-47DD-9FD7-A42C236E411D}" destId="{587F2F10-0AE6-474A-8CEB-4172CC329BE3}" srcOrd="1" destOrd="0" presId="urn:microsoft.com/office/officeart/2005/8/layout/cycle2"/>
    <dgm:cxn modelId="{477FCADE-659B-4ACA-8CF9-6D941BC64413}" type="presOf" srcId="{20D4FDE3-C196-41C9-8DB2-EF038981D495}" destId="{48C0BD33-5F17-45F5-9058-93C87A9DDC1F}" srcOrd="0" destOrd="0" presId="urn:microsoft.com/office/officeart/2005/8/layout/cycle2"/>
    <dgm:cxn modelId="{7D4F4D87-F46E-4A69-8317-BCDABC9E80C9}" type="presOf" srcId="{EA880416-D651-45A6-84F2-C54398F7B105}" destId="{AA562BA4-1362-4B11-BE12-AAF95F9B0655}" srcOrd="0" destOrd="0" presId="urn:microsoft.com/office/officeart/2005/8/layout/cycle2"/>
    <dgm:cxn modelId="{74342918-7C2A-4FD2-BEED-DA6BB8EAADC7}" type="presOf" srcId="{0E50710D-2BD5-4826-B9D1-2870E5EAFE57}" destId="{D0FD9655-5A6C-4F6C-98FD-3B2D55F73505}" srcOrd="1" destOrd="0" presId="urn:microsoft.com/office/officeart/2005/8/layout/cycle2"/>
    <dgm:cxn modelId="{FDF0BCC4-B9B3-4A45-AB4D-0DDDCB6D6507}" type="presOf" srcId="{DCEF1A9F-ED00-4444-8E7D-348279B7611D}" destId="{A40E58EC-493C-4310-A857-E6D93F3F5222}" srcOrd="1" destOrd="0" presId="urn:microsoft.com/office/officeart/2005/8/layout/cycle2"/>
    <dgm:cxn modelId="{75F37DDC-0992-4E23-B30D-58A9D7F79B05}" type="presOf" srcId="{4AB5C3AA-E12D-487A-99B0-D76EFF1AB462}" destId="{B05F7D2C-D848-4E12-98C6-11FDD917CB93}" srcOrd="0" destOrd="0" presId="urn:microsoft.com/office/officeart/2005/8/layout/cycle2"/>
    <dgm:cxn modelId="{21B24D6F-575F-4B7D-90F1-F50EBC5FDA44}" type="presOf" srcId="{A48FC8E7-DEF6-47DD-9FD7-A42C236E411D}" destId="{9851BCFD-6C0F-44EE-A90D-93FA72FAD479}" srcOrd="0" destOrd="0" presId="urn:microsoft.com/office/officeart/2005/8/layout/cycle2"/>
    <dgm:cxn modelId="{A1DD552E-E62C-42B1-A6A5-18B32B47A846}" type="presOf" srcId="{D5290F46-685B-42D9-A176-CA6370062CB6}" destId="{EFE96AD8-1B36-480F-B9D4-5217307D065E}" srcOrd="1" destOrd="0" presId="urn:microsoft.com/office/officeart/2005/8/layout/cycle2"/>
    <dgm:cxn modelId="{83600BA8-A3CE-4281-9C5B-32947C9C7201}" type="presOf" srcId="{0E50710D-2BD5-4826-B9D1-2870E5EAFE57}" destId="{80B8A62C-CA65-4F7F-B3E1-E47A6F8DBF28}"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D7856337-9221-49F1-A25F-27DD13915C64}" type="presOf" srcId="{36CA222D-1275-4473-881C-488A61C55835}" destId="{7EFAF541-47AF-4C3C-9CFE-C8EF5507A27C}" srcOrd="1"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18E4BCD5-1D60-4967-9861-57A7DB214B6C}" type="presOf" srcId="{BF32EDA5-B1A7-4C67-9DEE-B0EFED1F5B2B}" destId="{798A8C5B-4663-468B-BDAB-5BC0D323EF4E}" srcOrd="0" destOrd="0" presId="urn:microsoft.com/office/officeart/2005/8/layout/cycle2"/>
    <dgm:cxn modelId="{A800D5BD-3788-472D-926B-4D70B4FA45DC}" type="presOf" srcId="{C3EFBD6A-E3EC-4E4A-B112-75A580157B18}" destId="{9336A9F3-2A53-40E9-8F9F-8E4C967B12C1}" srcOrd="0" destOrd="0" presId="urn:microsoft.com/office/officeart/2005/8/layout/cycle2"/>
    <dgm:cxn modelId="{6216F233-AC86-47F6-96EF-75A5965247F5}" type="presOf" srcId="{E8860603-B54B-464D-847C-F39AD96130A4}" destId="{83195273-D2D4-405D-A258-93AFE8C7BE7A}" srcOrd="0" destOrd="0" presId="urn:microsoft.com/office/officeart/2005/8/layout/cycle2"/>
    <dgm:cxn modelId="{AA433293-1410-4C1C-9733-25EEB3EC0117}" type="presOf" srcId="{91162D75-99DA-487C-940D-DAE8D13C4447}" destId="{157C4094-4D48-4CA4-8FE3-C846251355F5}" srcOrd="0" destOrd="0" presId="urn:microsoft.com/office/officeart/2005/8/layout/cycle2"/>
    <dgm:cxn modelId="{A702672A-C579-47DD-81BF-DC14EA850746}" type="presOf" srcId="{7630EC86-B5D2-4E6A-906C-EC36BCBD2F9B}" destId="{56E98031-14F7-4FF4-8CB0-C66FC7DF872F}" srcOrd="1" destOrd="0" presId="urn:microsoft.com/office/officeart/2005/8/layout/cycle2"/>
    <dgm:cxn modelId="{CCC3D731-CD65-4037-AADD-39A1920713B2}" type="presOf" srcId="{4D369322-CA3E-425E-AC5C-D9DEAEAC5E3C}" destId="{9B0B857B-DA14-4DB2-9764-FAEA0033B125}" srcOrd="0" destOrd="0" presId="urn:microsoft.com/office/officeart/2005/8/layout/cycle2"/>
    <dgm:cxn modelId="{5C2B82BC-9B72-4C71-BEAC-5D181F4EF860}" type="presOf" srcId="{B9C095A4-09B3-4524-A547-0933F3DD34F1}" destId="{5E517795-696C-4478-8F77-24582CDCDF88}"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B694D160-1F53-437D-A918-674B2895CDFC}" type="presOf" srcId="{E2CB592C-1787-44C9-8686-4F00CBFA5CB1}" destId="{00C6A176-9825-494C-8FDD-D407F0EF76CB}" srcOrd="0" destOrd="0" presId="urn:microsoft.com/office/officeart/2005/8/layout/cycle2"/>
    <dgm:cxn modelId="{C173F30B-31F5-4306-8B06-CC9E3B798BAD}" type="presOf" srcId="{DCEF1A9F-ED00-4444-8E7D-348279B7611D}" destId="{BB722067-4A31-4156-9489-71E129EF8E43}"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18C3D8FE-BE3A-4CDB-AEFC-C76C7D72DADC}" srcId="{FE0AF671-58B1-40F8-8B7A-983E652E7D40}" destId="{4D369322-CA3E-425E-AC5C-D9DEAEAC5E3C}" srcOrd="10" destOrd="0" parTransId="{2F3F6BF3-18D4-4D23-9378-A2C8486CF639}" sibTransId="{315727AA-F8CB-4FAC-81F0-3D8F3BB1B56E}"/>
    <dgm:cxn modelId="{20E50D1F-33B5-41A0-B364-319A3B91BA87}" type="presOf" srcId="{C1163CC9-4ECF-4D31-855C-26A2B3DCC5C4}" destId="{4C7C445F-E1C6-4F7A-821E-F674A343F87A}"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6A55BA01-FCCE-42C8-B94E-C6A5F547DDCE}" type="presOf" srcId="{B9D5BAA1-0541-416B-9895-A63D7BC366EC}" destId="{6B1C954F-37B9-4616-8073-9C538A00A4CD}"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A9B24ACE-9DE7-479F-A29D-687E0574B8A6}" type="presOf" srcId="{FE0AF671-58B1-40F8-8B7A-983E652E7D40}" destId="{0314D0E1-52B0-4957-906A-3DED1FE20AB6}" srcOrd="0" destOrd="0" presId="urn:microsoft.com/office/officeart/2005/8/layout/cycle2"/>
    <dgm:cxn modelId="{CB6E7CF9-5958-4B21-8F11-833B51AB21F6}" type="presParOf" srcId="{0314D0E1-52B0-4957-906A-3DED1FE20AB6}" destId="{6B1C954F-37B9-4616-8073-9C538A00A4CD}" srcOrd="0" destOrd="0" presId="urn:microsoft.com/office/officeart/2005/8/layout/cycle2"/>
    <dgm:cxn modelId="{B352E517-5D02-43F4-A98F-4FC84FD9F9FA}" type="presParOf" srcId="{0314D0E1-52B0-4957-906A-3DED1FE20AB6}" destId="{CF57B3AA-9D23-4D82-8D72-1A4D072C9CF6}" srcOrd="1" destOrd="0" presId="urn:microsoft.com/office/officeart/2005/8/layout/cycle2"/>
    <dgm:cxn modelId="{3B9E78D7-DC4C-48F1-A719-587D610F6CF9}" type="presParOf" srcId="{CF57B3AA-9D23-4D82-8D72-1A4D072C9CF6}" destId="{2546BF50-5AD8-40D0-A01F-A649CF2327DE}" srcOrd="0" destOrd="0" presId="urn:microsoft.com/office/officeart/2005/8/layout/cycle2"/>
    <dgm:cxn modelId="{C982207C-956C-4F32-930B-7B0CD46AE8AD}" type="presParOf" srcId="{0314D0E1-52B0-4957-906A-3DED1FE20AB6}" destId="{83195273-D2D4-405D-A258-93AFE8C7BE7A}" srcOrd="2" destOrd="0" presId="urn:microsoft.com/office/officeart/2005/8/layout/cycle2"/>
    <dgm:cxn modelId="{35668921-C63B-46F3-9ABB-744427C61705}" type="presParOf" srcId="{0314D0E1-52B0-4957-906A-3DED1FE20AB6}" destId="{798A8C5B-4663-468B-BDAB-5BC0D323EF4E}" srcOrd="3" destOrd="0" presId="urn:microsoft.com/office/officeart/2005/8/layout/cycle2"/>
    <dgm:cxn modelId="{A3EAAF20-6B05-45AF-B9A8-6CF7AE1380D0}" type="presParOf" srcId="{798A8C5B-4663-468B-BDAB-5BC0D323EF4E}" destId="{6C754846-F75A-4A89-A242-6671D8DDC5A9}" srcOrd="0" destOrd="0" presId="urn:microsoft.com/office/officeart/2005/8/layout/cycle2"/>
    <dgm:cxn modelId="{AFAF1FFF-4990-41EB-A469-B5A9D10FD374}" type="presParOf" srcId="{0314D0E1-52B0-4957-906A-3DED1FE20AB6}" destId="{B05F7D2C-D848-4E12-98C6-11FDD917CB93}" srcOrd="4" destOrd="0" presId="urn:microsoft.com/office/officeart/2005/8/layout/cycle2"/>
    <dgm:cxn modelId="{1E45609C-978E-4985-B64D-4D0AD2EC4202}" type="presParOf" srcId="{0314D0E1-52B0-4957-906A-3DED1FE20AB6}" destId="{342C44B1-3496-43E6-B7A3-2E7DE47A0EB1}" srcOrd="5" destOrd="0" presId="urn:microsoft.com/office/officeart/2005/8/layout/cycle2"/>
    <dgm:cxn modelId="{A3F5E647-6BA7-4B7C-A577-412031BAAC97}" type="presParOf" srcId="{342C44B1-3496-43E6-B7A3-2E7DE47A0EB1}" destId="{EFE96AD8-1B36-480F-B9D4-5217307D065E}" srcOrd="0" destOrd="0" presId="urn:microsoft.com/office/officeart/2005/8/layout/cycle2"/>
    <dgm:cxn modelId="{8923BBE4-6639-4261-B85A-7BF9039E85B0}" type="presParOf" srcId="{0314D0E1-52B0-4957-906A-3DED1FE20AB6}" destId="{AEC3BFE0-4A84-4A7A-9D2A-077ED9AD905B}" srcOrd="6" destOrd="0" presId="urn:microsoft.com/office/officeart/2005/8/layout/cycle2"/>
    <dgm:cxn modelId="{6B55717E-B43F-4409-86F5-244E0753CBAC}" type="presParOf" srcId="{0314D0E1-52B0-4957-906A-3DED1FE20AB6}" destId="{BB722067-4A31-4156-9489-71E129EF8E43}" srcOrd="7" destOrd="0" presId="urn:microsoft.com/office/officeart/2005/8/layout/cycle2"/>
    <dgm:cxn modelId="{0BF1A447-DF5D-4005-95F3-486F6CE49407}" type="presParOf" srcId="{BB722067-4A31-4156-9489-71E129EF8E43}" destId="{A40E58EC-493C-4310-A857-E6D93F3F5222}" srcOrd="0" destOrd="0" presId="urn:microsoft.com/office/officeart/2005/8/layout/cycle2"/>
    <dgm:cxn modelId="{25DF03A4-FF0A-47F6-892F-45C55B861F52}" type="presParOf" srcId="{0314D0E1-52B0-4957-906A-3DED1FE20AB6}" destId="{157C4094-4D48-4CA4-8FE3-C846251355F5}" srcOrd="8" destOrd="0" presId="urn:microsoft.com/office/officeart/2005/8/layout/cycle2"/>
    <dgm:cxn modelId="{5B05EF54-54EF-4181-890F-E264DC2641C5}" type="presParOf" srcId="{0314D0E1-52B0-4957-906A-3DED1FE20AB6}" destId="{9347F69F-9A85-4B8D-9DE5-233494D2AF22}" srcOrd="9" destOrd="0" presId="urn:microsoft.com/office/officeart/2005/8/layout/cycle2"/>
    <dgm:cxn modelId="{B77A21BA-FB62-4153-8819-FEB57F762125}" type="presParOf" srcId="{9347F69F-9A85-4B8D-9DE5-233494D2AF22}" destId="{7EFAF541-47AF-4C3C-9CFE-C8EF5507A27C}" srcOrd="0" destOrd="0" presId="urn:microsoft.com/office/officeart/2005/8/layout/cycle2"/>
    <dgm:cxn modelId="{4AD38810-C1B7-48F4-8871-E8D339A247D6}" type="presParOf" srcId="{0314D0E1-52B0-4957-906A-3DED1FE20AB6}" destId="{5E517795-696C-4478-8F77-24582CDCDF88}" srcOrd="10" destOrd="0" presId="urn:microsoft.com/office/officeart/2005/8/layout/cycle2"/>
    <dgm:cxn modelId="{B6F221F5-EBBD-4D14-B22B-83F64B7164CB}" type="presParOf" srcId="{0314D0E1-52B0-4957-906A-3DED1FE20AB6}" destId="{48C0BD33-5F17-45F5-9058-93C87A9DDC1F}" srcOrd="11" destOrd="0" presId="urn:microsoft.com/office/officeart/2005/8/layout/cycle2"/>
    <dgm:cxn modelId="{27EF3EA4-2600-45E3-A515-F3137CBF597C}" type="presParOf" srcId="{48C0BD33-5F17-45F5-9058-93C87A9DDC1F}" destId="{B1CEE351-6D90-4A79-B4AC-9CB274EA73AC}" srcOrd="0" destOrd="0" presId="urn:microsoft.com/office/officeart/2005/8/layout/cycle2"/>
    <dgm:cxn modelId="{0945C659-82EC-4774-8851-CFDCCA4DA8B0}" type="presParOf" srcId="{0314D0E1-52B0-4957-906A-3DED1FE20AB6}" destId="{23AEF67E-B71E-4BFF-8274-B39880BE8995}" srcOrd="12" destOrd="0" presId="urn:microsoft.com/office/officeart/2005/8/layout/cycle2"/>
    <dgm:cxn modelId="{719C5256-9BD9-46B1-B725-14B1E0DB22AF}" type="presParOf" srcId="{0314D0E1-52B0-4957-906A-3DED1FE20AB6}" destId="{9851BCFD-6C0F-44EE-A90D-93FA72FAD479}" srcOrd="13" destOrd="0" presId="urn:microsoft.com/office/officeart/2005/8/layout/cycle2"/>
    <dgm:cxn modelId="{8B76CF50-F24A-4137-9CEA-A83982BB8D12}" type="presParOf" srcId="{9851BCFD-6C0F-44EE-A90D-93FA72FAD479}" destId="{587F2F10-0AE6-474A-8CEB-4172CC329BE3}" srcOrd="0" destOrd="0" presId="urn:microsoft.com/office/officeart/2005/8/layout/cycle2"/>
    <dgm:cxn modelId="{22B1C471-6B70-413B-8B02-377612B5A421}" type="presParOf" srcId="{0314D0E1-52B0-4957-906A-3DED1FE20AB6}" destId="{9336A9F3-2A53-40E9-8F9F-8E4C967B12C1}" srcOrd="14" destOrd="0" presId="urn:microsoft.com/office/officeart/2005/8/layout/cycle2"/>
    <dgm:cxn modelId="{89554356-CC51-44F6-9C81-FA5F11931432}" type="presParOf" srcId="{0314D0E1-52B0-4957-906A-3DED1FE20AB6}" destId="{80B8A62C-CA65-4F7F-B3E1-E47A6F8DBF28}" srcOrd="15" destOrd="0" presId="urn:microsoft.com/office/officeart/2005/8/layout/cycle2"/>
    <dgm:cxn modelId="{55566EAF-0B54-4A2C-9896-37E2A8F22A6E}" type="presParOf" srcId="{80B8A62C-CA65-4F7F-B3E1-E47A6F8DBF28}" destId="{D0FD9655-5A6C-4F6C-98FD-3B2D55F73505}" srcOrd="0" destOrd="0" presId="urn:microsoft.com/office/officeart/2005/8/layout/cycle2"/>
    <dgm:cxn modelId="{6913CA34-93B7-4655-AC40-4031EBCDCB6C}" type="presParOf" srcId="{0314D0E1-52B0-4957-906A-3DED1FE20AB6}" destId="{AA562BA4-1362-4B11-BE12-AAF95F9B0655}" srcOrd="16" destOrd="0" presId="urn:microsoft.com/office/officeart/2005/8/layout/cycle2"/>
    <dgm:cxn modelId="{4A3B6CCF-60ED-4B1F-8DA6-F3432F42B66E}" type="presParOf" srcId="{0314D0E1-52B0-4957-906A-3DED1FE20AB6}" destId="{8F1FDF32-78E0-4ED1-970D-21E8309CEF5A}" srcOrd="17" destOrd="0" presId="urn:microsoft.com/office/officeart/2005/8/layout/cycle2"/>
    <dgm:cxn modelId="{7722260F-FE5A-4675-80AF-5B2A00C8A140}" type="presParOf" srcId="{8F1FDF32-78E0-4ED1-970D-21E8309CEF5A}" destId="{56E98031-14F7-4FF4-8CB0-C66FC7DF872F}" srcOrd="0" destOrd="0" presId="urn:microsoft.com/office/officeart/2005/8/layout/cycle2"/>
    <dgm:cxn modelId="{2904A902-71E7-4BFD-B6C3-0B2EBB19518B}" type="presParOf" srcId="{0314D0E1-52B0-4957-906A-3DED1FE20AB6}" destId="{4C7C445F-E1C6-4F7A-821E-F674A343F87A}" srcOrd="18" destOrd="0" presId="urn:microsoft.com/office/officeart/2005/8/layout/cycle2"/>
    <dgm:cxn modelId="{BF183C26-A575-4B99-AFA4-F8AFCE769C08}" type="presParOf" srcId="{0314D0E1-52B0-4957-906A-3DED1FE20AB6}" destId="{00C6A176-9825-494C-8FDD-D407F0EF76CB}" srcOrd="19" destOrd="0" presId="urn:microsoft.com/office/officeart/2005/8/layout/cycle2"/>
    <dgm:cxn modelId="{F71CBA73-63E8-4639-AFA7-4BC17B69B8F5}" type="presParOf" srcId="{00C6A176-9825-494C-8FDD-D407F0EF76CB}" destId="{45B6EB01-0DBC-44EB-8631-D6071B6D84B4}" srcOrd="0" destOrd="0" presId="urn:microsoft.com/office/officeart/2005/8/layout/cycle2"/>
    <dgm:cxn modelId="{EFBE14C4-F18D-4713-BD7B-27CE9D2E59AD}" type="presParOf" srcId="{0314D0E1-52B0-4957-906A-3DED1FE20AB6}" destId="{9B0B857B-DA14-4DB2-9764-FAEA0033B125}" srcOrd="20" destOrd="0" presId="urn:microsoft.com/office/officeart/2005/8/layout/cycle2"/>
    <dgm:cxn modelId="{FB89B760-89EA-4212-88D9-42871489ABDC}" type="presParOf" srcId="{0314D0E1-52B0-4957-906A-3DED1FE20AB6}" destId="{FEA59801-9672-4D23-8192-A605C46BE70F}" srcOrd="21" destOrd="0" presId="urn:microsoft.com/office/officeart/2005/8/layout/cycle2"/>
    <dgm:cxn modelId="{FED5B5D6-0D85-4BA5-BB52-7C9802C83934}"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dgm:t>
        <a:bodyPr/>
        <a:lstStyle/>
        <a:p>
          <a:r>
            <a:rPr lang="zh-CN" altLang="en-US" sz="600" b="0"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600" b="0" smtClean="0"/>
            <a:t>会议费</a:t>
          </a:r>
          <a:endParaRPr lang="zh-CN" altLang="en-US" sz="600" b="0"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600" b="0" dirty="0" smtClean="0"/>
            <a:t>国际合作交流费</a:t>
          </a:r>
          <a:endParaRPr lang="zh-CN" altLang="en-US" sz="600" b="0"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a:solidFill>
          <a:schemeClr val="accent2"/>
        </a:solidFill>
      </dgm:spPr>
      <dgm:t>
        <a:bodyPr/>
        <a:lstStyle/>
        <a:p>
          <a:r>
            <a:rPr lang="zh-CN" altLang="en-US" sz="1200" b="1" dirty="0" smtClean="0"/>
            <a:t>劳务费</a:t>
          </a:r>
          <a:endParaRPr lang="zh-CN" altLang="en-US" sz="1200" b="1"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4100" custScaleY="47658">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6027" custScaleY="4569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0857" custScaleY="42986">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82708" custScaleY="77241">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DD22802A-6577-4820-9096-33B3A00E9485}" srcId="{FE0AF671-58B1-40F8-8B7A-983E652E7D40}" destId="{EA880416-D651-45A6-84F2-C54398F7B105}" srcOrd="8" destOrd="0" parTransId="{72BD0BD4-4B36-42CF-88B3-59B975F26DB9}" sibTransId="{7630EC86-B5D2-4E6A-906C-EC36BCBD2F9B}"/>
    <dgm:cxn modelId="{101C94BC-E22C-4143-B55A-2F8144B128DE}" type="presOf" srcId="{20D4FDE3-C196-41C9-8DB2-EF038981D495}" destId="{48C0BD33-5F17-45F5-9058-93C87A9DDC1F}" srcOrd="0" destOrd="0" presId="urn:microsoft.com/office/officeart/2005/8/layout/cycle2"/>
    <dgm:cxn modelId="{3214E48A-D363-4EC3-87BF-3DBE52692CCC}" type="presOf" srcId="{B9C095A4-09B3-4524-A547-0933F3DD34F1}" destId="{5E517795-696C-4478-8F77-24582CDCDF88}" srcOrd="0" destOrd="0" presId="urn:microsoft.com/office/officeart/2005/8/layout/cycle2"/>
    <dgm:cxn modelId="{9CD89C4E-EE54-4494-B023-A907F4BD54DA}" type="presOf" srcId="{315727AA-F8CB-4FAC-81F0-3D8F3BB1B56E}" destId="{1AFE4D34-A1BE-488A-9816-71CABDC842F3}" srcOrd="1" destOrd="0" presId="urn:microsoft.com/office/officeart/2005/8/layout/cycle2"/>
    <dgm:cxn modelId="{6769DBC2-286C-4060-B5AF-F92BD89C5C6C}" type="presOf" srcId="{A48FC8E7-DEF6-47DD-9FD7-A42C236E411D}" destId="{587F2F10-0AE6-474A-8CEB-4172CC329BE3}"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7026DA0C-45DD-4685-A99C-CC37065A508E}" type="presOf" srcId="{E2CB592C-1787-44C9-8686-4F00CBFA5CB1}" destId="{00C6A176-9825-494C-8FDD-D407F0EF76CB}" srcOrd="0" destOrd="0" presId="urn:microsoft.com/office/officeart/2005/8/layout/cycle2"/>
    <dgm:cxn modelId="{B0F069D6-EA9C-4C33-83A3-FC933E90CA77}" type="presOf" srcId="{E2CB592C-1787-44C9-8686-4F00CBFA5CB1}" destId="{45B6EB01-0DBC-44EB-8631-D6071B6D84B4}" srcOrd="1" destOrd="0" presId="urn:microsoft.com/office/officeart/2005/8/layout/cycle2"/>
    <dgm:cxn modelId="{57E38CEA-2B8A-4DB1-9C66-FF0856ACB251}" type="presOf" srcId="{B9D5BAA1-0541-416B-9895-A63D7BC366EC}" destId="{6B1C954F-37B9-4616-8073-9C538A00A4CD}" srcOrd="0" destOrd="0" presId="urn:microsoft.com/office/officeart/2005/8/layout/cycle2"/>
    <dgm:cxn modelId="{4D54363B-40C0-4DED-8C93-DB8AD3E69818}" type="presOf" srcId="{1A1A6082-1BF4-40F3-BF25-E2599BB53BFA}" destId="{CF57B3AA-9D23-4D82-8D72-1A4D072C9CF6}" srcOrd="0" destOrd="0" presId="urn:microsoft.com/office/officeart/2005/8/layout/cycle2"/>
    <dgm:cxn modelId="{B1A51C8F-42B1-47D9-8147-292773AB3CDF}" type="presOf" srcId="{36CA222D-1275-4473-881C-488A61C55835}" destId="{9347F69F-9A85-4B8D-9DE5-233494D2AF22}" srcOrd="0" destOrd="0" presId="urn:microsoft.com/office/officeart/2005/8/layout/cycle2"/>
    <dgm:cxn modelId="{21131A22-9318-4764-8587-E6BC55FD1E12}" type="presOf" srcId="{7630EC86-B5D2-4E6A-906C-EC36BCBD2F9B}" destId="{56E98031-14F7-4FF4-8CB0-C66FC7DF872F}" srcOrd="1" destOrd="0" presId="urn:microsoft.com/office/officeart/2005/8/layout/cycle2"/>
    <dgm:cxn modelId="{DFE0EEFC-CC4F-43B6-992E-2C71A2AEA344}" type="presOf" srcId="{1A1A6082-1BF4-40F3-BF25-E2599BB53BFA}" destId="{2546BF50-5AD8-40D0-A01F-A649CF2327DE}" srcOrd="1" destOrd="0" presId="urn:microsoft.com/office/officeart/2005/8/layout/cycle2"/>
    <dgm:cxn modelId="{8BC3EAA8-BEC8-460A-9435-C0DD4772A0FF}" type="presOf" srcId="{7630EC86-B5D2-4E6A-906C-EC36BCBD2F9B}" destId="{8F1FDF32-78E0-4ED1-970D-21E8309CEF5A}" srcOrd="0" destOrd="0" presId="urn:microsoft.com/office/officeart/2005/8/layout/cycle2"/>
    <dgm:cxn modelId="{0B7BC68F-0814-472B-9DDC-87A0C71D7AE2}" type="presOf" srcId="{DCEF1A9F-ED00-4444-8E7D-348279B7611D}" destId="{BB722067-4A31-4156-9489-71E129EF8E43}" srcOrd="0" destOrd="0" presId="urn:microsoft.com/office/officeart/2005/8/layout/cycle2"/>
    <dgm:cxn modelId="{F9E4170E-62B1-480E-A36B-102903C5987D}" type="presOf" srcId="{315727AA-F8CB-4FAC-81F0-3D8F3BB1B56E}" destId="{FEA59801-9672-4D23-8192-A605C46BE70F}"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70080E6C-FBF9-4980-B9CF-3E64C9208454}" type="presOf" srcId="{36CA222D-1275-4473-881C-488A61C55835}" destId="{7EFAF541-47AF-4C3C-9CFE-C8EF5507A27C}" srcOrd="1" destOrd="0" presId="urn:microsoft.com/office/officeart/2005/8/layout/cycle2"/>
    <dgm:cxn modelId="{5F0CECCD-9803-49ED-8319-290C596EE05D}" type="presOf" srcId="{0E50710D-2BD5-4826-B9D1-2870E5EAFE57}" destId="{D0FD9655-5A6C-4F6C-98FD-3B2D55F73505}" srcOrd="1" destOrd="0" presId="urn:microsoft.com/office/officeart/2005/8/layout/cycle2"/>
    <dgm:cxn modelId="{D90D5465-5E53-455E-8ED3-806B83B10ECC}" type="presOf" srcId="{6A94E007-355E-4DF8-8BC8-31F5F07906F8}" destId="{23AEF67E-B71E-4BFF-8274-B39880BE8995}" srcOrd="0" destOrd="0" presId="urn:microsoft.com/office/officeart/2005/8/layout/cycle2"/>
    <dgm:cxn modelId="{F148444C-66EB-47E8-B710-2D00B1CA9D70}" type="presOf" srcId="{C1163CC9-4ECF-4D31-855C-26A2B3DCC5C4}" destId="{4C7C445F-E1C6-4F7A-821E-F674A343F87A}" srcOrd="0" destOrd="0" presId="urn:microsoft.com/office/officeart/2005/8/layout/cycle2"/>
    <dgm:cxn modelId="{5279EF13-635A-4CD2-BDA1-87F75A6B78A1}" type="presOf" srcId="{BF32EDA5-B1A7-4C67-9DEE-B0EFED1F5B2B}" destId="{6C754846-F75A-4A89-A242-6671D8DDC5A9}" srcOrd="1" destOrd="0" presId="urn:microsoft.com/office/officeart/2005/8/layout/cycle2"/>
    <dgm:cxn modelId="{4A087B62-F5A4-4875-BD17-65B5BDAF8A92}" type="presOf" srcId="{91162D75-99DA-487C-940D-DAE8D13C4447}" destId="{157C4094-4D48-4CA4-8FE3-C846251355F5}" srcOrd="0" destOrd="0" presId="urn:microsoft.com/office/officeart/2005/8/layout/cycle2"/>
    <dgm:cxn modelId="{0E798B9E-48E8-477C-9380-FB703CB32569}" type="presOf" srcId="{BF32EDA5-B1A7-4C67-9DEE-B0EFED1F5B2B}" destId="{798A8C5B-4663-468B-BDAB-5BC0D323EF4E}" srcOrd="0" destOrd="0" presId="urn:microsoft.com/office/officeart/2005/8/layout/cycle2"/>
    <dgm:cxn modelId="{FFDF2B35-97AF-4984-A1FD-498BC87DDA3A}" type="presOf" srcId="{C3EFBD6A-E3EC-4E4A-B112-75A580157B18}" destId="{9336A9F3-2A53-40E9-8F9F-8E4C967B12C1}" srcOrd="0" destOrd="0" presId="urn:microsoft.com/office/officeart/2005/8/layout/cycle2"/>
    <dgm:cxn modelId="{ABB9284B-B71D-476A-9C3F-BE37F8C67696}" type="presOf" srcId="{D5290F46-685B-42D9-A176-CA6370062CB6}" destId="{EFE96AD8-1B36-480F-B9D4-5217307D065E}" srcOrd="1" destOrd="0" presId="urn:microsoft.com/office/officeart/2005/8/layout/cycle2"/>
    <dgm:cxn modelId="{56E46E1E-BB25-4921-9B8E-DA46161FE399}" type="presOf" srcId="{275AFB5B-A843-4E45-89A6-0D625719EC18}" destId="{AEC3BFE0-4A84-4A7A-9D2A-077ED9AD905B}" srcOrd="0" destOrd="0" presId="urn:microsoft.com/office/officeart/2005/8/layout/cycle2"/>
    <dgm:cxn modelId="{4EDC152C-7F34-4DDA-8428-8BC5369BF891}" type="presOf" srcId="{D5290F46-685B-42D9-A176-CA6370062CB6}" destId="{342C44B1-3496-43E6-B7A3-2E7DE47A0EB1}" srcOrd="0"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9A3C2B1E-44F9-469C-A7BC-5A1AD392331C}" srcId="{FE0AF671-58B1-40F8-8B7A-983E652E7D40}" destId="{C3EFBD6A-E3EC-4E4A-B112-75A580157B18}" srcOrd="7" destOrd="0" parTransId="{3612719D-4FCA-4865-A190-987513537793}" sibTransId="{0E50710D-2BD5-4826-B9D1-2870E5EAFE57}"/>
    <dgm:cxn modelId="{AEB7EDE5-1D16-475A-B61C-CBF7CFCC2F0F}" srcId="{FE0AF671-58B1-40F8-8B7A-983E652E7D40}" destId="{C1163CC9-4ECF-4D31-855C-26A2B3DCC5C4}" srcOrd="9" destOrd="0" parTransId="{B8FEF4D3-4E21-4BAE-801E-7205F8E8EF77}" sibTransId="{E2CB592C-1787-44C9-8686-4F00CBFA5CB1}"/>
    <dgm:cxn modelId="{BFAFF34A-14C4-4B70-A678-2E782A80BF1E}" type="presOf" srcId="{DCEF1A9F-ED00-4444-8E7D-348279B7611D}" destId="{A40E58EC-493C-4310-A857-E6D93F3F5222}"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BD1E3688-D974-45B4-9B3B-C20C0BA11585}" type="presOf" srcId="{0E50710D-2BD5-4826-B9D1-2870E5EAFE57}" destId="{80B8A62C-CA65-4F7F-B3E1-E47A6F8DBF28}" srcOrd="0" destOrd="0" presId="urn:microsoft.com/office/officeart/2005/8/layout/cycle2"/>
    <dgm:cxn modelId="{45ED43CE-87B4-4435-A314-5360D6B1AA87}" type="presOf" srcId="{4D369322-CA3E-425E-AC5C-D9DEAEAC5E3C}" destId="{9B0B857B-DA14-4DB2-9764-FAEA0033B125}"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86CD6100-1949-4E6A-A51C-E3C34D25C329}" type="presOf" srcId="{20D4FDE3-C196-41C9-8DB2-EF038981D495}" destId="{B1CEE351-6D90-4A79-B4AC-9CB274EA73AC}" srcOrd="1" destOrd="0" presId="urn:microsoft.com/office/officeart/2005/8/layout/cycle2"/>
    <dgm:cxn modelId="{DD83DD41-AB15-4B07-B3EB-DF07905FEC59}" type="presOf" srcId="{A48FC8E7-DEF6-47DD-9FD7-A42C236E411D}" destId="{9851BCFD-6C0F-44EE-A90D-93FA72FAD479}"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06218D71-A90A-489A-B2EA-10B71EFD96D3}" type="presOf" srcId="{E8860603-B54B-464D-847C-F39AD96130A4}" destId="{83195273-D2D4-405D-A258-93AFE8C7BE7A}"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2AE23E37-4EA3-4262-BE64-48D735744C63}" type="presOf" srcId="{EA880416-D651-45A6-84F2-C54398F7B105}" destId="{AA562BA4-1362-4B11-BE12-AAF95F9B0655}" srcOrd="0" destOrd="0" presId="urn:microsoft.com/office/officeart/2005/8/layout/cycle2"/>
    <dgm:cxn modelId="{CB7D7699-19E0-496B-9539-F2A3CB237BDA}" type="presOf" srcId="{4AB5C3AA-E12D-487A-99B0-D76EFF1AB462}" destId="{B05F7D2C-D848-4E12-98C6-11FDD917CB93}" srcOrd="0" destOrd="0" presId="urn:microsoft.com/office/officeart/2005/8/layout/cycle2"/>
    <dgm:cxn modelId="{72E7A433-543C-4BEF-8A64-43F941D06E8E}" type="presOf" srcId="{FE0AF671-58B1-40F8-8B7A-983E652E7D40}" destId="{0314D0E1-52B0-4957-906A-3DED1FE20AB6}" srcOrd="0" destOrd="0" presId="urn:microsoft.com/office/officeart/2005/8/layout/cycle2"/>
    <dgm:cxn modelId="{1CF42541-DD78-4411-8E0D-451BE602BA34}" type="presParOf" srcId="{0314D0E1-52B0-4957-906A-3DED1FE20AB6}" destId="{6B1C954F-37B9-4616-8073-9C538A00A4CD}" srcOrd="0" destOrd="0" presId="urn:microsoft.com/office/officeart/2005/8/layout/cycle2"/>
    <dgm:cxn modelId="{BA187AD2-FA2D-4C0B-87F2-8D3F09CF6208}" type="presParOf" srcId="{0314D0E1-52B0-4957-906A-3DED1FE20AB6}" destId="{CF57B3AA-9D23-4D82-8D72-1A4D072C9CF6}" srcOrd="1" destOrd="0" presId="urn:microsoft.com/office/officeart/2005/8/layout/cycle2"/>
    <dgm:cxn modelId="{E8F97185-21A0-433A-A8CF-8AF75E3F581D}" type="presParOf" srcId="{CF57B3AA-9D23-4D82-8D72-1A4D072C9CF6}" destId="{2546BF50-5AD8-40D0-A01F-A649CF2327DE}" srcOrd="0" destOrd="0" presId="urn:microsoft.com/office/officeart/2005/8/layout/cycle2"/>
    <dgm:cxn modelId="{18ABAE7D-2051-4327-8834-CF5CBFDD7FDB}" type="presParOf" srcId="{0314D0E1-52B0-4957-906A-3DED1FE20AB6}" destId="{83195273-D2D4-405D-A258-93AFE8C7BE7A}" srcOrd="2" destOrd="0" presId="urn:microsoft.com/office/officeart/2005/8/layout/cycle2"/>
    <dgm:cxn modelId="{B639AFCF-6169-45B2-9E7B-1FECB376330C}" type="presParOf" srcId="{0314D0E1-52B0-4957-906A-3DED1FE20AB6}" destId="{798A8C5B-4663-468B-BDAB-5BC0D323EF4E}" srcOrd="3" destOrd="0" presId="urn:microsoft.com/office/officeart/2005/8/layout/cycle2"/>
    <dgm:cxn modelId="{750869B6-8AA0-4CC2-B7B1-D27FF7A97364}" type="presParOf" srcId="{798A8C5B-4663-468B-BDAB-5BC0D323EF4E}" destId="{6C754846-F75A-4A89-A242-6671D8DDC5A9}" srcOrd="0" destOrd="0" presId="urn:microsoft.com/office/officeart/2005/8/layout/cycle2"/>
    <dgm:cxn modelId="{2AA4C029-F964-462F-8879-F505810BC5E9}" type="presParOf" srcId="{0314D0E1-52B0-4957-906A-3DED1FE20AB6}" destId="{B05F7D2C-D848-4E12-98C6-11FDD917CB93}" srcOrd="4" destOrd="0" presId="urn:microsoft.com/office/officeart/2005/8/layout/cycle2"/>
    <dgm:cxn modelId="{83521B91-B28C-4A11-B52E-18D7FE7574C5}" type="presParOf" srcId="{0314D0E1-52B0-4957-906A-3DED1FE20AB6}" destId="{342C44B1-3496-43E6-B7A3-2E7DE47A0EB1}" srcOrd="5" destOrd="0" presId="urn:microsoft.com/office/officeart/2005/8/layout/cycle2"/>
    <dgm:cxn modelId="{B874BC73-9D7E-4253-8593-28988E4B187D}" type="presParOf" srcId="{342C44B1-3496-43E6-B7A3-2E7DE47A0EB1}" destId="{EFE96AD8-1B36-480F-B9D4-5217307D065E}" srcOrd="0" destOrd="0" presId="urn:microsoft.com/office/officeart/2005/8/layout/cycle2"/>
    <dgm:cxn modelId="{8EDFB098-3F9E-4A9D-88A2-E789002B5A66}" type="presParOf" srcId="{0314D0E1-52B0-4957-906A-3DED1FE20AB6}" destId="{AEC3BFE0-4A84-4A7A-9D2A-077ED9AD905B}" srcOrd="6" destOrd="0" presId="urn:microsoft.com/office/officeart/2005/8/layout/cycle2"/>
    <dgm:cxn modelId="{75D58846-9CA6-4A41-A85A-8EDE06209662}" type="presParOf" srcId="{0314D0E1-52B0-4957-906A-3DED1FE20AB6}" destId="{BB722067-4A31-4156-9489-71E129EF8E43}" srcOrd="7" destOrd="0" presId="urn:microsoft.com/office/officeart/2005/8/layout/cycle2"/>
    <dgm:cxn modelId="{D23C108F-5CC1-4704-B036-7592E823B210}" type="presParOf" srcId="{BB722067-4A31-4156-9489-71E129EF8E43}" destId="{A40E58EC-493C-4310-A857-E6D93F3F5222}" srcOrd="0" destOrd="0" presId="urn:microsoft.com/office/officeart/2005/8/layout/cycle2"/>
    <dgm:cxn modelId="{EF3B84D8-2452-4921-9F35-D8BC63664D4D}" type="presParOf" srcId="{0314D0E1-52B0-4957-906A-3DED1FE20AB6}" destId="{157C4094-4D48-4CA4-8FE3-C846251355F5}" srcOrd="8" destOrd="0" presId="urn:microsoft.com/office/officeart/2005/8/layout/cycle2"/>
    <dgm:cxn modelId="{C1EC1496-EB9E-46D8-A478-8EE6004BF53C}" type="presParOf" srcId="{0314D0E1-52B0-4957-906A-3DED1FE20AB6}" destId="{9347F69F-9A85-4B8D-9DE5-233494D2AF22}" srcOrd="9" destOrd="0" presId="urn:microsoft.com/office/officeart/2005/8/layout/cycle2"/>
    <dgm:cxn modelId="{C2C6D7BD-1C90-451B-A9C9-37B5040726DC}" type="presParOf" srcId="{9347F69F-9A85-4B8D-9DE5-233494D2AF22}" destId="{7EFAF541-47AF-4C3C-9CFE-C8EF5507A27C}" srcOrd="0" destOrd="0" presId="urn:microsoft.com/office/officeart/2005/8/layout/cycle2"/>
    <dgm:cxn modelId="{BAEB9FF5-BFDD-4A0F-B4DA-D4C34D55DE58}" type="presParOf" srcId="{0314D0E1-52B0-4957-906A-3DED1FE20AB6}" destId="{5E517795-696C-4478-8F77-24582CDCDF88}" srcOrd="10" destOrd="0" presId="urn:microsoft.com/office/officeart/2005/8/layout/cycle2"/>
    <dgm:cxn modelId="{D92FC42D-7CFC-49D6-9AFD-820EAB977260}" type="presParOf" srcId="{0314D0E1-52B0-4957-906A-3DED1FE20AB6}" destId="{48C0BD33-5F17-45F5-9058-93C87A9DDC1F}" srcOrd="11" destOrd="0" presId="urn:microsoft.com/office/officeart/2005/8/layout/cycle2"/>
    <dgm:cxn modelId="{F2D732F3-37A6-40F8-87A6-54A1B0991A40}" type="presParOf" srcId="{48C0BD33-5F17-45F5-9058-93C87A9DDC1F}" destId="{B1CEE351-6D90-4A79-B4AC-9CB274EA73AC}" srcOrd="0" destOrd="0" presId="urn:microsoft.com/office/officeart/2005/8/layout/cycle2"/>
    <dgm:cxn modelId="{6102BB26-83D7-49F2-81FA-D508C65ABBBA}" type="presParOf" srcId="{0314D0E1-52B0-4957-906A-3DED1FE20AB6}" destId="{23AEF67E-B71E-4BFF-8274-B39880BE8995}" srcOrd="12" destOrd="0" presId="urn:microsoft.com/office/officeart/2005/8/layout/cycle2"/>
    <dgm:cxn modelId="{81C5AFA9-A142-4E57-A613-B163338BE235}" type="presParOf" srcId="{0314D0E1-52B0-4957-906A-3DED1FE20AB6}" destId="{9851BCFD-6C0F-44EE-A90D-93FA72FAD479}" srcOrd="13" destOrd="0" presId="urn:microsoft.com/office/officeart/2005/8/layout/cycle2"/>
    <dgm:cxn modelId="{CEEE71D9-EE8A-44E0-8F89-2BAA2B4B0CF4}" type="presParOf" srcId="{9851BCFD-6C0F-44EE-A90D-93FA72FAD479}" destId="{587F2F10-0AE6-474A-8CEB-4172CC329BE3}" srcOrd="0" destOrd="0" presId="urn:microsoft.com/office/officeart/2005/8/layout/cycle2"/>
    <dgm:cxn modelId="{89DD0F1E-147C-4E21-93A9-AFB5BCB09D6B}" type="presParOf" srcId="{0314D0E1-52B0-4957-906A-3DED1FE20AB6}" destId="{9336A9F3-2A53-40E9-8F9F-8E4C967B12C1}" srcOrd="14" destOrd="0" presId="urn:microsoft.com/office/officeart/2005/8/layout/cycle2"/>
    <dgm:cxn modelId="{25BAAE1E-4A33-436D-A7C2-90FCBDCD6FB9}" type="presParOf" srcId="{0314D0E1-52B0-4957-906A-3DED1FE20AB6}" destId="{80B8A62C-CA65-4F7F-B3E1-E47A6F8DBF28}" srcOrd="15" destOrd="0" presId="urn:microsoft.com/office/officeart/2005/8/layout/cycle2"/>
    <dgm:cxn modelId="{16680BD3-6718-4F28-896A-54E67A6EBFFA}" type="presParOf" srcId="{80B8A62C-CA65-4F7F-B3E1-E47A6F8DBF28}" destId="{D0FD9655-5A6C-4F6C-98FD-3B2D55F73505}" srcOrd="0" destOrd="0" presId="urn:microsoft.com/office/officeart/2005/8/layout/cycle2"/>
    <dgm:cxn modelId="{C14DF4E2-0DB6-44CC-8542-CF142EF5AEC0}" type="presParOf" srcId="{0314D0E1-52B0-4957-906A-3DED1FE20AB6}" destId="{AA562BA4-1362-4B11-BE12-AAF95F9B0655}" srcOrd="16" destOrd="0" presId="urn:microsoft.com/office/officeart/2005/8/layout/cycle2"/>
    <dgm:cxn modelId="{A230FAE2-1D2C-4BE3-9BFC-74A44558E5AA}" type="presParOf" srcId="{0314D0E1-52B0-4957-906A-3DED1FE20AB6}" destId="{8F1FDF32-78E0-4ED1-970D-21E8309CEF5A}" srcOrd="17" destOrd="0" presId="urn:microsoft.com/office/officeart/2005/8/layout/cycle2"/>
    <dgm:cxn modelId="{7D215AC1-C2D5-4A64-9D42-90B705A5A2A7}" type="presParOf" srcId="{8F1FDF32-78E0-4ED1-970D-21E8309CEF5A}" destId="{56E98031-14F7-4FF4-8CB0-C66FC7DF872F}" srcOrd="0" destOrd="0" presId="urn:microsoft.com/office/officeart/2005/8/layout/cycle2"/>
    <dgm:cxn modelId="{76F31FE4-D0D9-43D7-B791-254382F55CD7}" type="presParOf" srcId="{0314D0E1-52B0-4957-906A-3DED1FE20AB6}" destId="{4C7C445F-E1C6-4F7A-821E-F674A343F87A}" srcOrd="18" destOrd="0" presId="urn:microsoft.com/office/officeart/2005/8/layout/cycle2"/>
    <dgm:cxn modelId="{98ED7B52-7297-4E43-984C-CB2E9B77901C}" type="presParOf" srcId="{0314D0E1-52B0-4957-906A-3DED1FE20AB6}" destId="{00C6A176-9825-494C-8FDD-D407F0EF76CB}" srcOrd="19" destOrd="0" presId="urn:microsoft.com/office/officeart/2005/8/layout/cycle2"/>
    <dgm:cxn modelId="{E63287C6-DFB2-4B5C-9F8E-F72019225073}" type="presParOf" srcId="{00C6A176-9825-494C-8FDD-D407F0EF76CB}" destId="{45B6EB01-0DBC-44EB-8631-D6071B6D84B4}" srcOrd="0" destOrd="0" presId="urn:microsoft.com/office/officeart/2005/8/layout/cycle2"/>
    <dgm:cxn modelId="{45CB6187-47C3-40F1-83FB-294212610AAF}" type="presParOf" srcId="{0314D0E1-52B0-4957-906A-3DED1FE20AB6}" destId="{9B0B857B-DA14-4DB2-9764-FAEA0033B125}" srcOrd="20" destOrd="0" presId="urn:microsoft.com/office/officeart/2005/8/layout/cycle2"/>
    <dgm:cxn modelId="{D48C8E9F-D1AD-4E73-93DC-260BBA4AA9E0}" type="presParOf" srcId="{0314D0E1-52B0-4957-906A-3DED1FE20AB6}" destId="{FEA59801-9672-4D23-8192-A605C46BE70F}" srcOrd="21" destOrd="0" presId="urn:microsoft.com/office/officeart/2005/8/layout/cycle2"/>
    <dgm:cxn modelId="{2CCB7FCF-2E32-4CB8-A1C7-C56A94325C6A}"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dgm:t>
        <a:bodyPr/>
        <a:lstStyle/>
        <a:p>
          <a:r>
            <a:rPr lang="zh-CN" altLang="en-US" sz="600" b="0"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600" b="0" smtClean="0"/>
            <a:t>会议费</a:t>
          </a:r>
          <a:endParaRPr lang="zh-CN" altLang="en-US" sz="600" b="0"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600" b="0" dirty="0" smtClean="0"/>
            <a:t>国际合作交流费</a:t>
          </a:r>
          <a:endParaRPr lang="zh-CN" altLang="en-US" sz="600" b="0"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a:solidFill>
          <a:schemeClr val="accent2"/>
        </a:solidFill>
      </dgm:spPr>
      <dgm:t>
        <a:bodyPr/>
        <a:lstStyle/>
        <a:p>
          <a:r>
            <a:rPr lang="zh-CN" altLang="en-US" sz="1200" b="1" dirty="0" smtClean="0"/>
            <a:t>专家咨询费</a:t>
          </a:r>
          <a:endParaRPr lang="zh-CN" altLang="en-US" sz="1200" b="1"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4100" custScaleY="47658">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6027" custScaleY="4569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0857" custScaleY="42986">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90526" custScaleY="72835">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DD22802A-6577-4820-9096-33B3A00E9485}" srcId="{FE0AF671-58B1-40F8-8B7A-983E652E7D40}" destId="{EA880416-D651-45A6-84F2-C54398F7B105}" srcOrd="8" destOrd="0" parTransId="{72BD0BD4-4B36-42CF-88B3-59B975F26DB9}" sibTransId="{7630EC86-B5D2-4E6A-906C-EC36BCBD2F9B}"/>
    <dgm:cxn modelId="{46D99811-2B4D-4ECA-B4DF-45F281AC697C}" type="presOf" srcId="{BF32EDA5-B1A7-4C67-9DEE-B0EFED1F5B2B}" destId="{6C754846-F75A-4A89-A242-6671D8DDC5A9}" srcOrd="1" destOrd="0" presId="urn:microsoft.com/office/officeart/2005/8/layout/cycle2"/>
    <dgm:cxn modelId="{9D2B8C48-F72F-45FE-91BE-031DD25138BD}" type="presOf" srcId="{A48FC8E7-DEF6-47DD-9FD7-A42C236E411D}" destId="{587F2F10-0AE6-474A-8CEB-4172CC329BE3}" srcOrd="1" destOrd="0" presId="urn:microsoft.com/office/officeart/2005/8/layout/cycle2"/>
    <dgm:cxn modelId="{3009D310-1C3A-44E8-8C08-7614A44383A4}" type="presOf" srcId="{4AB5C3AA-E12D-487A-99B0-D76EFF1AB462}" destId="{B05F7D2C-D848-4E12-98C6-11FDD917CB93}" srcOrd="0" destOrd="0" presId="urn:microsoft.com/office/officeart/2005/8/layout/cycle2"/>
    <dgm:cxn modelId="{DFDE89B8-64A0-4561-85D3-8948DA000803}" type="presOf" srcId="{1A1A6082-1BF4-40F3-BF25-E2599BB53BFA}" destId="{2546BF50-5AD8-40D0-A01F-A649CF2327DE}" srcOrd="1" destOrd="0" presId="urn:microsoft.com/office/officeart/2005/8/layout/cycle2"/>
    <dgm:cxn modelId="{BA00D354-EF24-4399-BEF7-B40D0D21C73A}" type="presOf" srcId="{315727AA-F8CB-4FAC-81F0-3D8F3BB1B56E}" destId="{1AFE4D34-A1BE-488A-9816-71CABDC842F3}" srcOrd="1" destOrd="0" presId="urn:microsoft.com/office/officeart/2005/8/layout/cycle2"/>
    <dgm:cxn modelId="{D49DE47B-E3BD-410B-AC90-B6B5DECEC798}" type="presOf" srcId="{7630EC86-B5D2-4E6A-906C-EC36BCBD2F9B}" destId="{8F1FDF32-78E0-4ED1-970D-21E8309CEF5A}" srcOrd="0" destOrd="0" presId="urn:microsoft.com/office/officeart/2005/8/layout/cycle2"/>
    <dgm:cxn modelId="{5C135838-F76B-4B54-A844-6D671DEEE6B1}" type="presOf" srcId="{DCEF1A9F-ED00-4444-8E7D-348279B7611D}" destId="{A40E58EC-493C-4310-A857-E6D93F3F5222}"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A11C5783-7866-49FE-8203-08CD69284CC7}" type="presOf" srcId="{4D369322-CA3E-425E-AC5C-D9DEAEAC5E3C}" destId="{9B0B857B-DA14-4DB2-9764-FAEA0033B125}" srcOrd="0" destOrd="0" presId="urn:microsoft.com/office/officeart/2005/8/layout/cycle2"/>
    <dgm:cxn modelId="{9916957B-CF16-4F57-A438-CD60BD34DF77}" type="presOf" srcId="{0E50710D-2BD5-4826-B9D1-2870E5EAFE57}" destId="{80B8A62C-CA65-4F7F-B3E1-E47A6F8DBF28}" srcOrd="0" destOrd="0" presId="urn:microsoft.com/office/officeart/2005/8/layout/cycle2"/>
    <dgm:cxn modelId="{886B45F0-ABC4-4133-BAED-BB0DEA85367C}" type="presOf" srcId="{EA880416-D651-45A6-84F2-C54398F7B105}" destId="{AA562BA4-1362-4B11-BE12-AAF95F9B0655}" srcOrd="0" destOrd="0" presId="urn:microsoft.com/office/officeart/2005/8/layout/cycle2"/>
    <dgm:cxn modelId="{EEB17242-B925-4E44-9F77-C173788DF123}" type="presOf" srcId="{DCEF1A9F-ED00-4444-8E7D-348279B7611D}" destId="{BB722067-4A31-4156-9489-71E129EF8E43}" srcOrd="0" destOrd="0" presId="urn:microsoft.com/office/officeart/2005/8/layout/cycle2"/>
    <dgm:cxn modelId="{1878EA1A-ECB6-4FC7-813A-E5DC821AD8D5}" type="presOf" srcId="{36CA222D-1275-4473-881C-488A61C55835}" destId="{7EFAF541-47AF-4C3C-9CFE-C8EF5507A27C}" srcOrd="1" destOrd="0" presId="urn:microsoft.com/office/officeart/2005/8/layout/cycle2"/>
    <dgm:cxn modelId="{E8F103AB-0223-4C9B-A4BE-58980ACA99C0}" type="presOf" srcId="{36CA222D-1275-4473-881C-488A61C55835}" destId="{9347F69F-9A85-4B8D-9DE5-233494D2AF22}" srcOrd="0" destOrd="0" presId="urn:microsoft.com/office/officeart/2005/8/layout/cycle2"/>
    <dgm:cxn modelId="{8622C165-9C6E-45B0-BF80-19D7839D5A91}" type="presOf" srcId="{E8860603-B54B-464D-847C-F39AD96130A4}" destId="{83195273-D2D4-405D-A258-93AFE8C7BE7A}" srcOrd="0" destOrd="0" presId="urn:microsoft.com/office/officeart/2005/8/layout/cycle2"/>
    <dgm:cxn modelId="{98F45D4F-BDDE-4421-B146-3600E77C4AF8}" type="presOf" srcId="{D5290F46-685B-42D9-A176-CA6370062CB6}" destId="{EFE96AD8-1B36-480F-B9D4-5217307D065E}" srcOrd="1" destOrd="0" presId="urn:microsoft.com/office/officeart/2005/8/layout/cycle2"/>
    <dgm:cxn modelId="{135C5101-4A16-4FA0-9F19-4BAF390A15C3}" type="presOf" srcId="{20D4FDE3-C196-41C9-8DB2-EF038981D495}" destId="{B1CEE351-6D90-4A79-B4AC-9CB274EA73AC}" srcOrd="1" destOrd="0" presId="urn:microsoft.com/office/officeart/2005/8/layout/cycle2"/>
    <dgm:cxn modelId="{19E75BDD-4A26-4996-8714-B13779E21D1C}" type="presOf" srcId="{C1163CC9-4ECF-4D31-855C-26A2B3DCC5C4}" destId="{4C7C445F-E1C6-4F7A-821E-F674A343F87A}" srcOrd="0" destOrd="0" presId="urn:microsoft.com/office/officeart/2005/8/layout/cycle2"/>
    <dgm:cxn modelId="{087316A3-828B-4516-AA19-792E03E207F4}" type="presOf" srcId="{A48FC8E7-DEF6-47DD-9FD7-A42C236E411D}" destId="{9851BCFD-6C0F-44EE-A90D-93FA72FAD479}"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F01B467D-BEDE-49A9-83AE-EDEC6348146F}" type="presOf" srcId="{E2CB592C-1787-44C9-8686-4F00CBFA5CB1}" destId="{00C6A176-9825-494C-8FDD-D407F0EF76CB}" srcOrd="0" destOrd="0" presId="urn:microsoft.com/office/officeart/2005/8/layout/cycle2"/>
    <dgm:cxn modelId="{57D76B19-CB4F-4E0E-9EF8-DD0AB319FB58}" type="presOf" srcId="{20D4FDE3-C196-41C9-8DB2-EF038981D495}" destId="{48C0BD33-5F17-45F5-9058-93C87A9DDC1F}" srcOrd="0" destOrd="0" presId="urn:microsoft.com/office/officeart/2005/8/layout/cycle2"/>
    <dgm:cxn modelId="{78EEBA36-893E-4773-B781-FCDA32643902}" type="presOf" srcId="{C3EFBD6A-E3EC-4E4A-B112-75A580157B18}" destId="{9336A9F3-2A53-40E9-8F9F-8E4C967B12C1}" srcOrd="0" destOrd="0" presId="urn:microsoft.com/office/officeart/2005/8/layout/cycle2"/>
    <dgm:cxn modelId="{A0CC12A9-9886-484D-B2F1-362BDE2505CB}" type="presOf" srcId="{1A1A6082-1BF4-40F3-BF25-E2599BB53BFA}" destId="{CF57B3AA-9D23-4D82-8D72-1A4D072C9CF6}" srcOrd="0" destOrd="0" presId="urn:microsoft.com/office/officeart/2005/8/layout/cycle2"/>
    <dgm:cxn modelId="{BD399AB8-D87D-4CD2-B528-A951E9F871D5}" type="presOf" srcId="{B9C095A4-09B3-4524-A547-0933F3DD34F1}" destId="{5E517795-696C-4478-8F77-24582CDCDF88}" srcOrd="0" destOrd="0" presId="urn:microsoft.com/office/officeart/2005/8/layout/cycle2"/>
    <dgm:cxn modelId="{05D50A0B-90E1-40FE-BCD6-9B2843AD3047}" type="presOf" srcId="{91162D75-99DA-487C-940D-DAE8D13C4447}" destId="{157C4094-4D48-4CA4-8FE3-C846251355F5}" srcOrd="0" destOrd="0" presId="urn:microsoft.com/office/officeart/2005/8/layout/cycle2"/>
    <dgm:cxn modelId="{46E6E655-D9F8-4C93-A1D4-E4F5B574941D}" type="presOf" srcId="{BF32EDA5-B1A7-4C67-9DEE-B0EFED1F5B2B}" destId="{798A8C5B-4663-468B-BDAB-5BC0D323EF4E}" srcOrd="0" destOrd="0" presId="urn:microsoft.com/office/officeart/2005/8/layout/cycle2"/>
    <dgm:cxn modelId="{2EE12057-B5B7-4C0A-92E6-F630FCA59979}" type="presOf" srcId="{D5290F46-685B-42D9-A176-CA6370062CB6}" destId="{342C44B1-3496-43E6-B7A3-2E7DE47A0EB1}"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21B24B7C-7C30-4746-AE6C-734E04FFAFFB}" type="presOf" srcId="{B9D5BAA1-0541-416B-9895-A63D7BC366EC}" destId="{6B1C954F-37B9-4616-8073-9C538A00A4CD}" srcOrd="0" destOrd="0" presId="urn:microsoft.com/office/officeart/2005/8/layout/cycle2"/>
    <dgm:cxn modelId="{88D66220-31FE-42BA-A942-D6A9C4CD1ECA}" type="presOf" srcId="{315727AA-F8CB-4FAC-81F0-3D8F3BB1B56E}" destId="{FEA59801-9672-4D23-8192-A605C46BE70F}" srcOrd="0" destOrd="0" presId="urn:microsoft.com/office/officeart/2005/8/layout/cycle2"/>
    <dgm:cxn modelId="{8D9619DB-84E8-4ECB-A001-C33CFC1CCA24}" type="presOf" srcId="{FE0AF671-58B1-40F8-8B7A-983E652E7D40}" destId="{0314D0E1-52B0-4957-906A-3DED1FE20AB6}"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18C3D8FE-BE3A-4CDB-AEFC-C76C7D72DADC}" srcId="{FE0AF671-58B1-40F8-8B7A-983E652E7D40}" destId="{4D369322-CA3E-425E-AC5C-D9DEAEAC5E3C}" srcOrd="10" destOrd="0" parTransId="{2F3F6BF3-18D4-4D23-9378-A2C8486CF639}" sibTransId="{315727AA-F8CB-4FAC-81F0-3D8F3BB1B56E}"/>
    <dgm:cxn modelId="{D2104404-3E19-49C9-8054-EBA290E9EDEF}" type="presOf" srcId="{7630EC86-B5D2-4E6A-906C-EC36BCBD2F9B}" destId="{56E98031-14F7-4FF4-8CB0-C66FC7DF872F}" srcOrd="1"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79B4A927-B8C7-43CB-9477-FBA271E05F04}" type="presOf" srcId="{E2CB592C-1787-44C9-8686-4F00CBFA5CB1}" destId="{45B6EB01-0DBC-44EB-8631-D6071B6D84B4}" srcOrd="1"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15DD3BBB-7225-417D-A66A-28638EEBEDF0}" type="presOf" srcId="{275AFB5B-A843-4E45-89A6-0D625719EC18}" destId="{AEC3BFE0-4A84-4A7A-9D2A-077ED9AD905B}" srcOrd="0" destOrd="0" presId="urn:microsoft.com/office/officeart/2005/8/layout/cycle2"/>
    <dgm:cxn modelId="{8286FD73-95C2-449E-8ADF-F9DDAEF95A40}" type="presOf" srcId="{6A94E007-355E-4DF8-8BC8-31F5F07906F8}" destId="{23AEF67E-B71E-4BFF-8274-B39880BE8995}" srcOrd="0" destOrd="0" presId="urn:microsoft.com/office/officeart/2005/8/layout/cycle2"/>
    <dgm:cxn modelId="{4BD9C2A4-E877-4790-91A3-6B538EEF79B2}" type="presOf" srcId="{0E50710D-2BD5-4826-B9D1-2870E5EAFE57}" destId="{D0FD9655-5A6C-4F6C-98FD-3B2D55F73505}" srcOrd="1" destOrd="0" presId="urn:microsoft.com/office/officeart/2005/8/layout/cycle2"/>
    <dgm:cxn modelId="{B5076F77-2C8C-4324-972A-EADE3A82FAD4}" type="presParOf" srcId="{0314D0E1-52B0-4957-906A-3DED1FE20AB6}" destId="{6B1C954F-37B9-4616-8073-9C538A00A4CD}" srcOrd="0" destOrd="0" presId="urn:microsoft.com/office/officeart/2005/8/layout/cycle2"/>
    <dgm:cxn modelId="{57BD2D68-9EF6-4D15-8637-DCA53AF5DE5C}" type="presParOf" srcId="{0314D0E1-52B0-4957-906A-3DED1FE20AB6}" destId="{CF57B3AA-9D23-4D82-8D72-1A4D072C9CF6}" srcOrd="1" destOrd="0" presId="urn:microsoft.com/office/officeart/2005/8/layout/cycle2"/>
    <dgm:cxn modelId="{EDEF8DA0-187A-4548-A268-AAB0887E3119}" type="presParOf" srcId="{CF57B3AA-9D23-4D82-8D72-1A4D072C9CF6}" destId="{2546BF50-5AD8-40D0-A01F-A649CF2327DE}" srcOrd="0" destOrd="0" presId="urn:microsoft.com/office/officeart/2005/8/layout/cycle2"/>
    <dgm:cxn modelId="{F619337C-2C78-4AD2-AF49-7E9680F65227}" type="presParOf" srcId="{0314D0E1-52B0-4957-906A-3DED1FE20AB6}" destId="{83195273-D2D4-405D-A258-93AFE8C7BE7A}" srcOrd="2" destOrd="0" presId="urn:microsoft.com/office/officeart/2005/8/layout/cycle2"/>
    <dgm:cxn modelId="{C7AD0133-ABCF-46DC-85DC-123D92CA8F8B}" type="presParOf" srcId="{0314D0E1-52B0-4957-906A-3DED1FE20AB6}" destId="{798A8C5B-4663-468B-BDAB-5BC0D323EF4E}" srcOrd="3" destOrd="0" presId="urn:microsoft.com/office/officeart/2005/8/layout/cycle2"/>
    <dgm:cxn modelId="{C536E6EF-66DB-4BB3-805B-7E37DA2ECB65}" type="presParOf" srcId="{798A8C5B-4663-468B-BDAB-5BC0D323EF4E}" destId="{6C754846-F75A-4A89-A242-6671D8DDC5A9}" srcOrd="0" destOrd="0" presId="urn:microsoft.com/office/officeart/2005/8/layout/cycle2"/>
    <dgm:cxn modelId="{B7E7D835-DAF0-4F7E-9C1E-1EB867EBA2DE}" type="presParOf" srcId="{0314D0E1-52B0-4957-906A-3DED1FE20AB6}" destId="{B05F7D2C-D848-4E12-98C6-11FDD917CB93}" srcOrd="4" destOrd="0" presId="urn:microsoft.com/office/officeart/2005/8/layout/cycle2"/>
    <dgm:cxn modelId="{5E5FBEC5-4992-4318-BEA4-F16CE3D6DA9A}" type="presParOf" srcId="{0314D0E1-52B0-4957-906A-3DED1FE20AB6}" destId="{342C44B1-3496-43E6-B7A3-2E7DE47A0EB1}" srcOrd="5" destOrd="0" presId="urn:microsoft.com/office/officeart/2005/8/layout/cycle2"/>
    <dgm:cxn modelId="{8B414183-A720-4232-9F58-53873A0F809A}" type="presParOf" srcId="{342C44B1-3496-43E6-B7A3-2E7DE47A0EB1}" destId="{EFE96AD8-1B36-480F-B9D4-5217307D065E}" srcOrd="0" destOrd="0" presId="urn:microsoft.com/office/officeart/2005/8/layout/cycle2"/>
    <dgm:cxn modelId="{794F490F-CD3D-4AC0-9B7B-71D47D57590F}" type="presParOf" srcId="{0314D0E1-52B0-4957-906A-3DED1FE20AB6}" destId="{AEC3BFE0-4A84-4A7A-9D2A-077ED9AD905B}" srcOrd="6" destOrd="0" presId="urn:microsoft.com/office/officeart/2005/8/layout/cycle2"/>
    <dgm:cxn modelId="{5393ED6E-B01D-4716-B2AC-1A8D7C18FC80}" type="presParOf" srcId="{0314D0E1-52B0-4957-906A-3DED1FE20AB6}" destId="{BB722067-4A31-4156-9489-71E129EF8E43}" srcOrd="7" destOrd="0" presId="urn:microsoft.com/office/officeart/2005/8/layout/cycle2"/>
    <dgm:cxn modelId="{FB3BBBDC-FDBA-41BA-94FC-5DF6FC7D12A9}" type="presParOf" srcId="{BB722067-4A31-4156-9489-71E129EF8E43}" destId="{A40E58EC-493C-4310-A857-E6D93F3F5222}" srcOrd="0" destOrd="0" presId="urn:microsoft.com/office/officeart/2005/8/layout/cycle2"/>
    <dgm:cxn modelId="{21D745C2-8D81-425D-A263-AF47F4E45547}" type="presParOf" srcId="{0314D0E1-52B0-4957-906A-3DED1FE20AB6}" destId="{157C4094-4D48-4CA4-8FE3-C846251355F5}" srcOrd="8" destOrd="0" presId="urn:microsoft.com/office/officeart/2005/8/layout/cycle2"/>
    <dgm:cxn modelId="{B3292EA0-B042-49A0-8A61-D82A2563C5FE}" type="presParOf" srcId="{0314D0E1-52B0-4957-906A-3DED1FE20AB6}" destId="{9347F69F-9A85-4B8D-9DE5-233494D2AF22}" srcOrd="9" destOrd="0" presId="urn:microsoft.com/office/officeart/2005/8/layout/cycle2"/>
    <dgm:cxn modelId="{86F46B8E-02FD-4292-ADE5-E70202B2775D}" type="presParOf" srcId="{9347F69F-9A85-4B8D-9DE5-233494D2AF22}" destId="{7EFAF541-47AF-4C3C-9CFE-C8EF5507A27C}" srcOrd="0" destOrd="0" presId="urn:microsoft.com/office/officeart/2005/8/layout/cycle2"/>
    <dgm:cxn modelId="{F5E135EF-FD85-4034-97C5-E1E2BBDCBB8D}" type="presParOf" srcId="{0314D0E1-52B0-4957-906A-3DED1FE20AB6}" destId="{5E517795-696C-4478-8F77-24582CDCDF88}" srcOrd="10" destOrd="0" presId="urn:microsoft.com/office/officeart/2005/8/layout/cycle2"/>
    <dgm:cxn modelId="{8E267591-0B8D-4849-9B80-E9ECD9A51931}" type="presParOf" srcId="{0314D0E1-52B0-4957-906A-3DED1FE20AB6}" destId="{48C0BD33-5F17-45F5-9058-93C87A9DDC1F}" srcOrd="11" destOrd="0" presId="urn:microsoft.com/office/officeart/2005/8/layout/cycle2"/>
    <dgm:cxn modelId="{0A60962B-495D-4A73-9DC0-16C2482D328D}" type="presParOf" srcId="{48C0BD33-5F17-45F5-9058-93C87A9DDC1F}" destId="{B1CEE351-6D90-4A79-B4AC-9CB274EA73AC}" srcOrd="0" destOrd="0" presId="urn:microsoft.com/office/officeart/2005/8/layout/cycle2"/>
    <dgm:cxn modelId="{031DFEC0-DA24-4BF6-9E37-F93B8DDF8585}" type="presParOf" srcId="{0314D0E1-52B0-4957-906A-3DED1FE20AB6}" destId="{23AEF67E-B71E-4BFF-8274-B39880BE8995}" srcOrd="12" destOrd="0" presId="urn:microsoft.com/office/officeart/2005/8/layout/cycle2"/>
    <dgm:cxn modelId="{6BACC8CF-68B8-474E-9455-B5E818C86DA8}" type="presParOf" srcId="{0314D0E1-52B0-4957-906A-3DED1FE20AB6}" destId="{9851BCFD-6C0F-44EE-A90D-93FA72FAD479}" srcOrd="13" destOrd="0" presId="urn:microsoft.com/office/officeart/2005/8/layout/cycle2"/>
    <dgm:cxn modelId="{5438CF05-2A1A-43FE-88EF-061746CF093C}" type="presParOf" srcId="{9851BCFD-6C0F-44EE-A90D-93FA72FAD479}" destId="{587F2F10-0AE6-474A-8CEB-4172CC329BE3}" srcOrd="0" destOrd="0" presId="urn:microsoft.com/office/officeart/2005/8/layout/cycle2"/>
    <dgm:cxn modelId="{684EECB4-99C6-48D7-8F49-263D515158DD}" type="presParOf" srcId="{0314D0E1-52B0-4957-906A-3DED1FE20AB6}" destId="{9336A9F3-2A53-40E9-8F9F-8E4C967B12C1}" srcOrd="14" destOrd="0" presId="urn:microsoft.com/office/officeart/2005/8/layout/cycle2"/>
    <dgm:cxn modelId="{357B0A9A-4DDB-42D7-944C-B7E62F3BDDDD}" type="presParOf" srcId="{0314D0E1-52B0-4957-906A-3DED1FE20AB6}" destId="{80B8A62C-CA65-4F7F-B3E1-E47A6F8DBF28}" srcOrd="15" destOrd="0" presId="urn:microsoft.com/office/officeart/2005/8/layout/cycle2"/>
    <dgm:cxn modelId="{541665E0-CEED-4337-AD87-5F2926EEDE66}" type="presParOf" srcId="{80B8A62C-CA65-4F7F-B3E1-E47A6F8DBF28}" destId="{D0FD9655-5A6C-4F6C-98FD-3B2D55F73505}" srcOrd="0" destOrd="0" presId="urn:microsoft.com/office/officeart/2005/8/layout/cycle2"/>
    <dgm:cxn modelId="{2731D348-18CB-4469-A2E4-9BFBC7BC3E99}" type="presParOf" srcId="{0314D0E1-52B0-4957-906A-3DED1FE20AB6}" destId="{AA562BA4-1362-4B11-BE12-AAF95F9B0655}" srcOrd="16" destOrd="0" presId="urn:microsoft.com/office/officeart/2005/8/layout/cycle2"/>
    <dgm:cxn modelId="{6C5308C1-565B-4CC0-9125-84C4C95E86F7}" type="presParOf" srcId="{0314D0E1-52B0-4957-906A-3DED1FE20AB6}" destId="{8F1FDF32-78E0-4ED1-970D-21E8309CEF5A}" srcOrd="17" destOrd="0" presId="urn:microsoft.com/office/officeart/2005/8/layout/cycle2"/>
    <dgm:cxn modelId="{05AD0E83-8503-4504-9D55-D831FD07FB68}" type="presParOf" srcId="{8F1FDF32-78E0-4ED1-970D-21E8309CEF5A}" destId="{56E98031-14F7-4FF4-8CB0-C66FC7DF872F}" srcOrd="0" destOrd="0" presId="urn:microsoft.com/office/officeart/2005/8/layout/cycle2"/>
    <dgm:cxn modelId="{2F9BAA9D-7C5D-4A87-A10E-C9B55D7CD71C}" type="presParOf" srcId="{0314D0E1-52B0-4957-906A-3DED1FE20AB6}" destId="{4C7C445F-E1C6-4F7A-821E-F674A343F87A}" srcOrd="18" destOrd="0" presId="urn:microsoft.com/office/officeart/2005/8/layout/cycle2"/>
    <dgm:cxn modelId="{8500453D-C6EF-4D81-A719-1BF163E7BB84}" type="presParOf" srcId="{0314D0E1-52B0-4957-906A-3DED1FE20AB6}" destId="{00C6A176-9825-494C-8FDD-D407F0EF76CB}" srcOrd="19" destOrd="0" presId="urn:microsoft.com/office/officeart/2005/8/layout/cycle2"/>
    <dgm:cxn modelId="{427422AC-9FB1-4EB7-8F5D-CB4CCB79A8BB}" type="presParOf" srcId="{00C6A176-9825-494C-8FDD-D407F0EF76CB}" destId="{45B6EB01-0DBC-44EB-8631-D6071B6D84B4}" srcOrd="0" destOrd="0" presId="urn:microsoft.com/office/officeart/2005/8/layout/cycle2"/>
    <dgm:cxn modelId="{5CEBB022-D1B0-4636-859B-421B01EF188B}" type="presParOf" srcId="{0314D0E1-52B0-4957-906A-3DED1FE20AB6}" destId="{9B0B857B-DA14-4DB2-9764-FAEA0033B125}" srcOrd="20" destOrd="0" presId="urn:microsoft.com/office/officeart/2005/8/layout/cycle2"/>
    <dgm:cxn modelId="{FEFEC4D9-2AC1-43B5-B90B-DC67A7ABCB27}" type="presParOf" srcId="{0314D0E1-52B0-4957-906A-3DED1FE20AB6}" destId="{FEA59801-9672-4D23-8192-A605C46BE70F}" srcOrd="21" destOrd="0" presId="urn:microsoft.com/office/officeart/2005/8/layout/cycle2"/>
    <dgm:cxn modelId="{9D79CE20-1F46-47A7-8E77-C9E5843997C4}"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dgm:t>
        <a:bodyPr/>
        <a:lstStyle/>
        <a:p>
          <a:r>
            <a:rPr lang="zh-CN" altLang="en-US" sz="600" b="0"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600" b="0" smtClean="0"/>
            <a:t>会议费</a:t>
          </a:r>
          <a:endParaRPr lang="zh-CN" altLang="en-US" sz="600" b="0"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600" b="0" dirty="0" smtClean="0"/>
            <a:t>国际合作交流费</a:t>
          </a:r>
          <a:endParaRPr lang="zh-CN" altLang="en-US" sz="600" b="0"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a:solidFill>
          <a:schemeClr val="accent2"/>
        </a:solidFill>
      </dgm:spPr>
      <dgm:t>
        <a:bodyPr/>
        <a:lstStyle/>
        <a:p>
          <a:r>
            <a:rPr lang="zh-CN" altLang="en-US" sz="1200" b="1" dirty="0" smtClean="0"/>
            <a:t>专家咨询费</a:t>
          </a:r>
          <a:endParaRPr lang="zh-CN" altLang="en-US" sz="1200" b="1"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4100" custScaleY="47658">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6027" custScaleY="4569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0857" custScaleY="42986">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90526" custScaleY="72835">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E39D3228-A432-4DBD-8CA7-6A6ED95E71CE}" srcId="{FE0AF671-58B1-40F8-8B7A-983E652E7D40}" destId="{4AB5C3AA-E12D-487A-99B0-D76EFF1AB462}" srcOrd="2" destOrd="0" parTransId="{C4BDFA5F-E0EC-40C6-AB76-DB6C7624CCA8}" sibTransId="{D5290F46-685B-42D9-A176-CA6370062CB6}"/>
    <dgm:cxn modelId="{E0BD89FA-F769-4F28-819B-431E60B359FE}" type="presOf" srcId="{E8860603-B54B-464D-847C-F39AD96130A4}" destId="{83195273-D2D4-405D-A258-93AFE8C7BE7A}"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A84DE20-4024-4BB9-817D-294AD2172A9C}" type="presOf" srcId="{315727AA-F8CB-4FAC-81F0-3D8F3BB1B56E}" destId="{FEA59801-9672-4D23-8192-A605C46BE70F}" srcOrd="0" destOrd="0" presId="urn:microsoft.com/office/officeart/2005/8/layout/cycle2"/>
    <dgm:cxn modelId="{A6B49DF0-CBC3-426E-AC63-9E15E82AB40C}" type="presOf" srcId="{A48FC8E7-DEF6-47DD-9FD7-A42C236E411D}" destId="{9851BCFD-6C0F-44EE-A90D-93FA72FAD479}" srcOrd="0" destOrd="0" presId="urn:microsoft.com/office/officeart/2005/8/layout/cycle2"/>
    <dgm:cxn modelId="{C537C6C6-D0CA-4986-9E15-58F1D4A4FCB9}" type="presOf" srcId="{B9C095A4-09B3-4524-A547-0933F3DD34F1}" destId="{5E517795-696C-4478-8F77-24582CDCDF88}" srcOrd="0" destOrd="0" presId="urn:microsoft.com/office/officeart/2005/8/layout/cycle2"/>
    <dgm:cxn modelId="{47117EC3-C278-4451-9142-6B479D67D10E}" type="presOf" srcId="{BF32EDA5-B1A7-4C67-9DEE-B0EFED1F5B2B}" destId="{798A8C5B-4663-468B-BDAB-5BC0D323EF4E}" srcOrd="0" destOrd="0" presId="urn:microsoft.com/office/officeart/2005/8/layout/cycle2"/>
    <dgm:cxn modelId="{CFCFDC69-F71C-4438-87F0-2827A83DD37D}" type="presOf" srcId="{DCEF1A9F-ED00-4444-8E7D-348279B7611D}" destId="{BB722067-4A31-4156-9489-71E129EF8E43}"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5D17966D-8147-4A0E-BBFC-FE40BFDA0F04}" type="presOf" srcId="{0E50710D-2BD5-4826-B9D1-2870E5EAFE57}" destId="{80B8A62C-CA65-4F7F-B3E1-E47A6F8DBF28}" srcOrd="0" destOrd="0" presId="urn:microsoft.com/office/officeart/2005/8/layout/cycle2"/>
    <dgm:cxn modelId="{8427103C-8FFC-48EF-A37C-7494C80BF50F}" type="presOf" srcId="{20D4FDE3-C196-41C9-8DB2-EF038981D495}" destId="{B1CEE351-6D90-4A79-B4AC-9CB274EA73AC}" srcOrd="1" destOrd="0" presId="urn:microsoft.com/office/officeart/2005/8/layout/cycle2"/>
    <dgm:cxn modelId="{A86CD4F6-D30F-4310-8378-17F4D24156F3}" type="presOf" srcId="{1A1A6082-1BF4-40F3-BF25-E2599BB53BFA}" destId="{2546BF50-5AD8-40D0-A01F-A649CF2327DE}" srcOrd="1" destOrd="0" presId="urn:microsoft.com/office/officeart/2005/8/layout/cycle2"/>
    <dgm:cxn modelId="{E1E6E061-5CEC-4764-899E-09DA36E3094B}" type="presOf" srcId="{1A1A6082-1BF4-40F3-BF25-E2599BB53BFA}" destId="{CF57B3AA-9D23-4D82-8D72-1A4D072C9CF6}" srcOrd="0" destOrd="0" presId="urn:microsoft.com/office/officeart/2005/8/layout/cycle2"/>
    <dgm:cxn modelId="{C85B03ED-92BD-44A4-BFE1-BFE598ADE914}" type="presOf" srcId="{4D369322-CA3E-425E-AC5C-D9DEAEAC5E3C}" destId="{9B0B857B-DA14-4DB2-9764-FAEA0033B125}" srcOrd="0" destOrd="0" presId="urn:microsoft.com/office/officeart/2005/8/layout/cycle2"/>
    <dgm:cxn modelId="{D805610C-483C-48F7-8EA7-C8852FFFED05}" type="presOf" srcId="{A48FC8E7-DEF6-47DD-9FD7-A42C236E411D}" destId="{587F2F10-0AE6-474A-8CEB-4172CC329BE3}" srcOrd="1" destOrd="0" presId="urn:microsoft.com/office/officeart/2005/8/layout/cycle2"/>
    <dgm:cxn modelId="{449E63CE-8542-4AD1-93C8-62585473E319}" type="presOf" srcId="{275AFB5B-A843-4E45-89A6-0D625719EC18}" destId="{AEC3BFE0-4A84-4A7A-9D2A-077ED9AD905B}" srcOrd="0" destOrd="0" presId="urn:microsoft.com/office/officeart/2005/8/layout/cycle2"/>
    <dgm:cxn modelId="{704FF5E4-171B-4880-A359-3B6CFF2E4AD0}" type="presOf" srcId="{0E50710D-2BD5-4826-B9D1-2870E5EAFE57}" destId="{D0FD9655-5A6C-4F6C-98FD-3B2D55F73505}" srcOrd="1" destOrd="0" presId="urn:microsoft.com/office/officeart/2005/8/layout/cycle2"/>
    <dgm:cxn modelId="{D03EC42B-726F-4FF6-A157-7A0D3BAA068D}" type="presOf" srcId="{DCEF1A9F-ED00-4444-8E7D-348279B7611D}" destId="{A40E58EC-493C-4310-A857-E6D93F3F5222}" srcOrd="1" destOrd="0" presId="urn:microsoft.com/office/officeart/2005/8/layout/cycle2"/>
    <dgm:cxn modelId="{8BE76994-C625-4BF9-883E-4D931AAD77CE}" type="presOf" srcId="{C3EFBD6A-E3EC-4E4A-B112-75A580157B18}" destId="{9336A9F3-2A53-40E9-8F9F-8E4C967B12C1}" srcOrd="0" destOrd="0" presId="urn:microsoft.com/office/officeart/2005/8/layout/cycle2"/>
    <dgm:cxn modelId="{6C3AB50B-89C5-43B2-8DE2-6055D49086B5}" type="presOf" srcId="{B9D5BAA1-0541-416B-9895-A63D7BC366EC}" destId="{6B1C954F-37B9-4616-8073-9C538A00A4CD}" srcOrd="0" destOrd="0" presId="urn:microsoft.com/office/officeart/2005/8/layout/cycle2"/>
    <dgm:cxn modelId="{D67C6041-E7D5-4EE5-A93E-6DA147B10321}" type="presOf" srcId="{315727AA-F8CB-4FAC-81F0-3D8F3BB1B56E}" destId="{1AFE4D34-A1BE-488A-9816-71CABDC842F3}"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68544CC0-E811-4464-A45B-DCDF9D8750F5}" type="presOf" srcId="{D5290F46-685B-42D9-A176-CA6370062CB6}" destId="{342C44B1-3496-43E6-B7A3-2E7DE47A0EB1}"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CDC89322-437E-43B5-BC0E-115CBB15E103}" type="presOf" srcId="{E2CB592C-1787-44C9-8686-4F00CBFA5CB1}" destId="{00C6A176-9825-494C-8FDD-D407F0EF76CB}" srcOrd="0" destOrd="0" presId="urn:microsoft.com/office/officeart/2005/8/layout/cycle2"/>
    <dgm:cxn modelId="{1ADECF79-E002-44EA-A605-0A5614E99E66}" type="presOf" srcId="{EA880416-D651-45A6-84F2-C54398F7B105}" destId="{AA562BA4-1362-4B11-BE12-AAF95F9B0655}" srcOrd="0" destOrd="0" presId="urn:microsoft.com/office/officeart/2005/8/layout/cycle2"/>
    <dgm:cxn modelId="{61D8D236-8047-4257-87E7-5FBAF84E31D8}" type="presOf" srcId="{D5290F46-685B-42D9-A176-CA6370062CB6}" destId="{EFE96AD8-1B36-480F-B9D4-5217307D065E}"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9E6F5717-A3EA-4066-9C2D-8395E556BB3F}" type="presOf" srcId="{C1163CC9-4ECF-4D31-855C-26A2B3DCC5C4}" destId="{4C7C445F-E1C6-4F7A-821E-F674A343F87A}" srcOrd="0" destOrd="0" presId="urn:microsoft.com/office/officeart/2005/8/layout/cycle2"/>
    <dgm:cxn modelId="{87831108-8790-4EED-8F79-F830F35BB758}" type="presOf" srcId="{36CA222D-1275-4473-881C-488A61C55835}" destId="{9347F69F-9A85-4B8D-9DE5-233494D2AF22}" srcOrd="0" destOrd="0" presId="urn:microsoft.com/office/officeart/2005/8/layout/cycle2"/>
    <dgm:cxn modelId="{F97BAB6E-672E-4C6C-A9C1-A93F07E160BA}" type="presOf" srcId="{4AB5C3AA-E12D-487A-99B0-D76EFF1AB462}" destId="{B05F7D2C-D848-4E12-98C6-11FDD917CB93}" srcOrd="0" destOrd="0" presId="urn:microsoft.com/office/officeart/2005/8/layout/cycle2"/>
    <dgm:cxn modelId="{514F4FA3-E1F5-4D6C-AC93-CEBD4839AF6B}" type="presOf" srcId="{91162D75-99DA-487C-940D-DAE8D13C4447}" destId="{157C4094-4D48-4CA4-8FE3-C846251355F5}" srcOrd="0" destOrd="0" presId="urn:microsoft.com/office/officeart/2005/8/layout/cycle2"/>
    <dgm:cxn modelId="{244C11EB-CAC8-4E67-9BC6-741215762821}" type="presOf" srcId="{BF32EDA5-B1A7-4C67-9DEE-B0EFED1F5B2B}" destId="{6C754846-F75A-4A89-A242-6671D8DDC5A9}" srcOrd="1"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AEB7EDE5-1D16-475A-B61C-CBF7CFCC2F0F}" srcId="{FE0AF671-58B1-40F8-8B7A-983E652E7D40}" destId="{C1163CC9-4ECF-4D31-855C-26A2B3DCC5C4}" srcOrd="9" destOrd="0" parTransId="{B8FEF4D3-4E21-4BAE-801E-7205F8E8EF77}" sibTransId="{E2CB592C-1787-44C9-8686-4F00CBFA5CB1}"/>
    <dgm:cxn modelId="{03CEBEC8-0C53-43A9-AF46-729FE8DA2B47}" type="presOf" srcId="{36CA222D-1275-4473-881C-488A61C55835}" destId="{7EFAF541-47AF-4C3C-9CFE-C8EF5507A27C}" srcOrd="1" destOrd="0" presId="urn:microsoft.com/office/officeart/2005/8/layout/cycle2"/>
    <dgm:cxn modelId="{83406DFC-74C4-419B-9D44-F921116C63F4}" type="presOf" srcId="{FE0AF671-58B1-40F8-8B7A-983E652E7D40}" destId="{0314D0E1-52B0-4957-906A-3DED1FE20AB6}"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1921AD47-AF3B-40B8-BD36-0AA27ADD91B3}" type="presOf" srcId="{7630EC86-B5D2-4E6A-906C-EC36BCBD2F9B}" destId="{56E98031-14F7-4FF4-8CB0-C66FC7DF872F}" srcOrd="1" destOrd="0" presId="urn:microsoft.com/office/officeart/2005/8/layout/cycle2"/>
    <dgm:cxn modelId="{A230F062-18FD-4BE2-A65C-8927B4A5072F}" type="presOf" srcId="{20D4FDE3-C196-41C9-8DB2-EF038981D495}" destId="{48C0BD33-5F17-45F5-9058-93C87A9DDC1F}" srcOrd="0" destOrd="0" presId="urn:microsoft.com/office/officeart/2005/8/layout/cycle2"/>
    <dgm:cxn modelId="{FA274CB2-AC7D-46AE-95F5-574E72D547E6}" type="presOf" srcId="{7630EC86-B5D2-4E6A-906C-EC36BCBD2F9B}" destId="{8F1FDF32-78E0-4ED1-970D-21E8309CEF5A}" srcOrd="0" destOrd="0" presId="urn:microsoft.com/office/officeart/2005/8/layout/cycle2"/>
    <dgm:cxn modelId="{E0155964-A1D8-46E7-9187-1894BA847A35}" type="presOf" srcId="{E2CB592C-1787-44C9-8686-4F00CBFA5CB1}" destId="{45B6EB01-0DBC-44EB-8631-D6071B6D84B4}" srcOrd="1" destOrd="0" presId="urn:microsoft.com/office/officeart/2005/8/layout/cycle2"/>
    <dgm:cxn modelId="{CD4F6FE1-6DEC-4C75-AFFB-66727CB9BF16}" type="presOf" srcId="{6A94E007-355E-4DF8-8BC8-31F5F07906F8}" destId="{23AEF67E-B71E-4BFF-8274-B39880BE8995}"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C453EFB5-21B8-4DB0-B688-5FE3A729BD0D}" srcId="{FE0AF671-58B1-40F8-8B7A-983E652E7D40}" destId="{B9C095A4-09B3-4524-A547-0933F3DD34F1}" srcOrd="5" destOrd="0" parTransId="{0988FE12-EB7E-4D50-B71D-E1CCF85FF4CB}" sibTransId="{20D4FDE3-C196-41C9-8DB2-EF038981D495}"/>
    <dgm:cxn modelId="{0298C6B0-3078-4CAA-8C92-F856B5405FB5}" type="presParOf" srcId="{0314D0E1-52B0-4957-906A-3DED1FE20AB6}" destId="{6B1C954F-37B9-4616-8073-9C538A00A4CD}" srcOrd="0" destOrd="0" presId="urn:microsoft.com/office/officeart/2005/8/layout/cycle2"/>
    <dgm:cxn modelId="{5A63BF23-2BDE-47B7-AF39-1DE63ACC0325}" type="presParOf" srcId="{0314D0E1-52B0-4957-906A-3DED1FE20AB6}" destId="{CF57B3AA-9D23-4D82-8D72-1A4D072C9CF6}" srcOrd="1" destOrd="0" presId="urn:microsoft.com/office/officeart/2005/8/layout/cycle2"/>
    <dgm:cxn modelId="{DEAA7CD5-A3B0-4E72-AE4C-59EEC2DB4A65}" type="presParOf" srcId="{CF57B3AA-9D23-4D82-8D72-1A4D072C9CF6}" destId="{2546BF50-5AD8-40D0-A01F-A649CF2327DE}" srcOrd="0" destOrd="0" presId="urn:microsoft.com/office/officeart/2005/8/layout/cycle2"/>
    <dgm:cxn modelId="{00ADC6E4-BEDB-4F99-949E-E51B4DFA5BAB}" type="presParOf" srcId="{0314D0E1-52B0-4957-906A-3DED1FE20AB6}" destId="{83195273-D2D4-405D-A258-93AFE8C7BE7A}" srcOrd="2" destOrd="0" presId="urn:microsoft.com/office/officeart/2005/8/layout/cycle2"/>
    <dgm:cxn modelId="{3AB8E1D5-CE58-4D60-A2C2-F05EFFDFF66C}" type="presParOf" srcId="{0314D0E1-52B0-4957-906A-3DED1FE20AB6}" destId="{798A8C5B-4663-468B-BDAB-5BC0D323EF4E}" srcOrd="3" destOrd="0" presId="urn:microsoft.com/office/officeart/2005/8/layout/cycle2"/>
    <dgm:cxn modelId="{D57594A1-16E5-422A-ADD5-8AF4058FE19F}" type="presParOf" srcId="{798A8C5B-4663-468B-BDAB-5BC0D323EF4E}" destId="{6C754846-F75A-4A89-A242-6671D8DDC5A9}" srcOrd="0" destOrd="0" presId="urn:microsoft.com/office/officeart/2005/8/layout/cycle2"/>
    <dgm:cxn modelId="{2BD9FAD4-EC5A-42ED-A8DB-736BED2B7023}" type="presParOf" srcId="{0314D0E1-52B0-4957-906A-3DED1FE20AB6}" destId="{B05F7D2C-D848-4E12-98C6-11FDD917CB93}" srcOrd="4" destOrd="0" presId="urn:microsoft.com/office/officeart/2005/8/layout/cycle2"/>
    <dgm:cxn modelId="{3CEB3637-0A53-4AF4-9AC3-7144DB47296F}" type="presParOf" srcId="{0314D0E1-52B0-4957-906A-3DED1FE20AB6}" destId="{342C44B1-3496-43E6-B7A3-2E7DE47A0EB1}" srcOrd="5" destOrd="0" presId="urn:microsoft.com/office/officeart/2005/8/layout/cycle2"/>
    <dgm:cxn modelId="{128C0BF5-E44D-4B95-92FB-DAE6F377E278}" type="presParOf" srcId="{342C44B1-3496-43E6-B7A3-2E7DE47A0EB1}" destId="{EFE96AD8-1B36-480F-B9D4-5217307D065E}" srcOrd="0" destOrd="0" presId="urn:microsoft.com/office/officeart/2005/8/layout/cycle2"/>
    <dgm:cxn modelId="{C6D472A7-AB54-4BC7-AB45-E9C2F418815E}" type="presParOf" srcId="{0314D0E1-52B0-4957-906A-3DED1FE20AB6}" destId="{AEC3BFE0-4A84-4A7A-9D2A-077ED9AD905B}" srcOrd="6" destOrd="0" presId="urn:microsoft.com/office/officeart/2005/8/layout/cycle2"/>
    <dgm:cxn modelId="{5CC6A339-1D70-4CD5-8F27-47781A3243BF}" type="presParOf" srcId="{0314D0E1-52B0-4957-906A-3DED1FE20AB6}" destId="{BB722067-4A31-4156-9489-71E129EF8E43}" srcOrd="7" destOrd="0" presId="urn:microsoft.com/office/officeart/2005/8/layout/cycle2"/>
    <dgm:cxn modelId="{A661C255-D723-489A-ABEB-FD9FE07C5007}" type="presParOf" srcId="{BB722067-4A31-4156-9489-71E129EF8E43}" destId="{A40E58EC-493C-4310-A857-E6D93F3F5222}" srcOrd="0" destOrd="0" presId="urn:microsoft.com/office/officeart/2005/8/layout/cycle2"/>
    <dgm:cxn modelId="{E59F1CD5-5B20-4B60-ADDB-4DCD81486391}" type="presParOf" srcId="{0314D0E1-52B0-4957-906A-3DED1FE20AB6}" destId="{157C4094-4D48-4CA4-8FE3-C846251355F5}" srcOrd="8" destOrd="0" presId="urn:microsoft.com/office/officeart/2005/8/layout/cycle2"/>
    <dgm:cxn modelId="{99BB77ED-01A6-4D46-A427-178D02D1EBA3}" type="presParOf" srcId="{0314D0E1-52B0-4957-906A-3DED1FE20AB6}" destId="{9347F69F-9A85-4B8D-9DE5-233494D2AF22}" srcOrd="9" destOrd="0" presId="urn:microsoft.com/office/officeart/2005/8/layout/cycle2"/>
    <dgm:cxn modelId="{71037232-CBDC-430E-A32C-111E26DF6454}" type="presParOf" srcId="{9347F69F-9A85-4B8D-9DE5-233494D2AF22}" destId="{7EFAF541-47AF-4C3C-9CFE-C8EF5507A27C}" srcOrd="0" destOrd="0" presId="urn:microsoft.com/office/officeart/2005/8/layout/cycle2"/>
    <dgm:cxn modelId="{1BFB3050-2393-4AA6-9401-04786E81AE46}" type="presParOf" srcId="{0314D0E1-52B0-4957-906A-3DED1FE20AB6}" destId="{5E517795-696C-4478-8F77-24582CDCDF88}" srcOrd="10" destOrd="0" presId="urn:microsoft.com/office/officeart/2005/8/layout/cycle2"/>
    <dgm:cxn modelId="{F65A807B-B334-4C7F-BF0E-37B6264C8759}" type="presParOf" srcId="{0314D0E1-52B0-4957-906A-3DED1FE20AB6}" destId="{48C0BD33-5F17-45F5-9058-93C87A9DDC1F}" srcOrd="11" destOrd="0" presId="urn:microsoft.com/office/officeart/2005/8/layout/cycle2"/>
    <dgm:cxn modelId="{D7A25173-6337-4DD4-8828-C319F7A2EC1E}" type="presParOf" srcId="{48C0BD33-5F17-45F5-9058-93C87A9DDC1F}" destId="{B1CEE351-6D90-4A79-B4AC-9CB274EA73AC}" srcOrd="0" destOrd="0" presId="urn:microsoft.com/office/officeart/2005/8/layout/cycle2"/>
    <dgm:cxn modelId="{E0D2A163-9526-438B-A47C-8CFF878DE974}" type="presParOf" srcId="{0314D0E1-52B0-4957-906A-3DED1FE20AB6}" destId="{23AEF67E-B71E-4BFF-8274-B39880BE8995}" srcOrd="12" destOrd="0" presId="urn:microsoft.com/office/officeart/2005/8/layout/cycle2"/>
    <dgm:cxn modelId="{709B8C43-A441-4DF7-8332-DDC5EDE3A90B}" type="presParOf" srcId="{0314D0E1-52B0-4957-906A-3DED1FE20AB6}" destId="{9851BCFD-6C0F-44EE-A90D-93FA72FAD479}" srcOrd="13" destOrd="0" presId="urn:microsoft.com/office/officeart/2005/8/layout/cycle2"/>
    <dgm:cxn modelId="{6FECB030-A070-409D-9C4C-ED54BBDB4C97}" type="presParOf" srcId="{9851BCFD-6C0F-44EE-A90D-93FA72FAD479}" destId="{587F2F10-0AE6-474A-8CEB-4172CC329BE3}" srcOrd="0" destOrd="0" presId="urn:microsoft.com/office/officeart/2005/8/layout/cycle2"/>
    <dgm:cxn modelId="{3B8E4F85-9B5A-4C1B-B7DB-40D16B06F715}" type="presParOf" srcId="{0314D0E1-52B0-4957-906A-3DED1FE20AB6}" destId="{9336A9F3-2A53-40E9-8F9F-8E4C967B12C1}" srcOrd="14" destOrd="0" presId="urn:microsoft.com/office/officeart/2005/8/layout/cycle2"/>
    <dgm:cxn modelId="{63AB00FB-1515-4688-ADE3-0CE8E4E336F1}" type="presParOf" srcId="{0314D0E1-52B0-4957-906A-3DED1FE20AB6}" destId="{80B8A62C-CA65-4F7F-B3E1-E47A6F8DBF28}" srcOrd="15" destOrd="0" presId="urn:microsoft.com/office/officeart/2005/8/layout/cycle2"/>
    <dgm:cxn modelId="{564E34A3-B83E-44D1-906D-B86477415748}" type="presParOf" srcId="{80B8A62C-CA65-4F7F-B3E1-E47A6F8DBF28}" destId="{D0FD9655-5A6C-4F6C-98FD-3B2D55F73505}" srcOrd="0" destOrd="0" presId="urn:microsoft.com/office/officeart/2005/8/layout/cycle2"/>
    <dgm:cxn modelId="{EBC3CF6B-1E3D-47CA-8CBC-F03FD8A90611}" type="presParOf" srcId="{0314D0E1-52B0-4957-906A-3DED1FE20AB6}" destId="{AA562BA4-1362-4B11-BE12-AAF95F9B0655}" srcOrd="16" destOrd="0" presId="urn:microsoft.com/office/officeart/2005/8/layout/cycle2"/>
    <dgm:cxn modelId="{FC987DD9-372E-45BC-9786-FDF14CCF6B07}" type="presParOf" srcId="{0314D0E1-52B0-4957-906A-3DED1FE20AB6}" destId="{8F1FDF32-78E0-4ED1-970D-21E8309CEF5A}" srcOrd="17" destOrd="0" presId="urn:microsoft.com/office/officeart/2005/8/layout/cycle2"/>
    <dgm:cxn modelId="{8380E084-45CB-418F-BE32-29B86A25992B}" type="presParOf" srcId="{8F1FDF32-78E0-4ED1-970D-21E8309CEF5A}" destId="{56E98031-14F7-4FF4-8CB0-C66FC7DF872F}" srcOrd="0" destOrd="0" presId="urn:microsoft.com/office/officeart/2005/8/layout/cycle2"/>
    <dgm:cxn modelId="{B65CC83A-B55D-490B-B16D-3D6E1FD461A1}" type="presParOf" srcId="{0314D0E1-52B0-4957-906A-3DED1FE20AB6}" destId="{4C7C445F-E1C6-4F7A-821E-F674A343F87A}" srcOrd="18" destOrd="0" presId="urn:microsoft.com/office/officeart/2005/8/layout/cycle2"/>
    <dgm:cxn modelId="{D72B968B-16ED-4504-B5AC-0EF9E9300D86}" type="presParOf" srcId="{0314D0E1-52B0-4957-906A-3DED1FE20AB6}" destId="{00C6A176-9825-494C-8FDD-D407F0EF76CB}" srcOrd="19" destOrd="0" presId="urn:microsoft.com/office/officeart/2005/8/layout/cycle2"/>
    <dgm:cxn modelId="{1A17CD5F-8E76-40E6-9FA1-CBBF92F086F8}" type="presParOf" srcId="{00C6A176-9825-494C-8FDD-D407F0EF76CB}" destId="{45B6EB01-0DBC-44EB-8631-D6071B6D84B4}" srcOrd="0" destOrd="0" presId="urn:microsoft.com/office/officeart/2005/8/layout/cycle2"/>
    <dgm:cxn modelId="{60E5D010-F0D3-437E-9164-F99634EAEC9A}" type="presParOf" srcId="{0314D0E1-52B0-4957-906A-3DED1FE20AB6}" destId="{9B0B857B-DA14-4DB2-9764-FAEA0033B125}" srcOrd="20" destOrd="0" presId="urn:microsoft.com/office/officeart/2005/8/layout/cycle2"/>
    <dgm:cxn modelId="{EE483726-13D3-40E5-80E1-A5310D825639}" type="presParOf" srcId="{0314D0E1-52B0-4957-906A-3DED1FE20AB6}" destId="{FEA59801-9672-4D23-8192-A605C46BE70F}" srcOrd="21" destOrd="0" presId="urn:microsoft.com/office/officeart/2005/8/layout/cycle2"/>
    <dgm:cxn modelId="{AEE0A3F2-93DE-489E-924F-1253347EFD26}"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dgm:t>
        <a:bodyPr/>
        <a:lstStyle/>
        <a:p>
          <a:r>
            <a:rPr lang="zh-CN" altLang="en-US" sz="600" b="0"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a:solidFill>
          <a:schemeClr val="accent2"/>
        </a:solidFill>
      </dgm:spPr>
      <dgm:t>
        <a:bodyPr/>
        <a:lstStyle/>
        <a:p>
          <a:r>
            <a:rPr lang="zh-CN" altLang="en-US" sz="1400" b="1" dirty="0" smtClean="0"/>
            <a:t>其他费用</a:t>
          </a:r>
          <a:endParaRPr lang="zh-CN" altLang="en-US" sz="1400" b="1"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600" b="0" smtClean="0"/>
            <a:t>会议费</a:t>
          </a:r>
          <a:endParaRPr lang="zh-CN" altLang="en-US" sz="600" b="0"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600" b="0" dirty="0" smtClean="0"/>
            <a:t>国际合作交流费</a:t>
          </a:r>
          <a:endParaRPr lang="zh-CN" altLang="en-US" sz="600" b="0"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4100" custScaleY="47658">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6027" custScaleY="4569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0857" custScaleY="42986">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89797" custScaleY="81829">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DD22802A-6577-4820-9096-33B3A00E9485}" srcId="{FE0AF671-58B1-40F8-8B7A-983E652E7D40}" destId="{EA880416-D651-45A6-84F2-C54398F7B105}" srcOrd="8" destOrd="0" parTransId="{72BD0BD4-4B36-42CF-88B3-59B975F26DB9}" sibTransId="{7630EC86-B5D2-4E6A-906C-EC36BCBD2F9B}"/>
    <dgm:cxn modelId="{77C2026F-8016-4CDB-920C-CA9B509C9E3E}" type="presOf" srcId="{C1163CC9-4ECF-4D31-855C-26A2B3DCC5C4}" destId="{4C7C445F-E1C6-4F7A-821E-F674A343F87A}" srcOrd="0" destOrd="0" presId="urn:microsoft.com/office/officeart/2005/8/layout/cycle2"/>
    <dgm:cxn modelId="{663BC436-F390-4725-8B7D-4F31A33894CE}" type="presOf" srcId="{A48FC8E7-DEF6-47DD-9FD7-A42C236E411D}" destId="{587F2F10-0AE6-474A-8CEB-4172CC329BE3}" srcOrd="1" destOrd="0" presId="urn:microsoft.com/office/officeart/2005/8/layout/cycle2"/>
    <dgm:cxn modelId="{08840E79-5ABA-44BC-A1F8-6A573D7C24FF}" type="presOf" srcId="{A48FC8E7-DEF6-47DD-9FD7-A42C236E411D}" destId="{9851BCFD-6C0F-44EE-A90D-93FA72FAD479}" srcOrd="0" destOrd="0" presId="urn:microsoft.com/office/officeart/2005/8/layout/cycle2"/>
    <dgm:cxn modelId="{1F13A8E6-3AAA-48A6-AB30-3A272304B43B}" type="presOf" srcId="{D5290F46-685B-42D9-A176-CA6370062CB6}" destId="{EFE96AD8-1B36-480F-B9D4-5217307D065E}" srcOrd="1" destOrd="0" presId="urn:microsoft.com/office/officeart/2005/8/layout/cycle2"/>
    <dgm:cxn modelId="{9DBCB14B-4344-4A59-A89A-15999C2045B1}" type="presOf" srcId="{7630EC86-B5D2-4E6A-906C-EC36BCBD2F9B}" destId="{8F1FDF32-78E0-4ED1-970D-21E8309CEF5A}" srcOrd="0" destOrd="0" presId="urn:microsoft.com/office/officeart/2005/8/layout/cycle2"/>
    <dgm:cxn modelId="{BD28E287-E56E-434F-BF21-CBAD59F393D3}" type="presOf" srcId="{DCEF1A9F-ED00-4444-8E7D-348279B7611D}" destId="{BB722067-4A31-4156-9489-71E129EF8E43}" srcOrd="0" destOrd="0" presId="urn:microsoft.com/office/officeart/2005/8/layout/cycle2"/>
    <dgm:cxn modelId="{61C9D427-5433-4F26-97B3-884B456925A4}" type="presOf" srcId="{275AFB5B-A843-4E45-89A6-0D625719EC18}" destId="{AEC3BFE0-4A84-4A7A-9D2A-077ED9AD905B}" srcOrd="0" destOrd="0" presId="urn:microsoft.com/office/officeart/2005/8/layout/cycle2"/>
    <dgm:cxn modelId="{15E3464E-5091-485C-9ABF-C3C3E0EAE726}" type="presOf" srcId="{20D4FDE3-C196-41C9-8DB2-EF038981D495}" destId="{48C0BD33-5F17-45F5-9058-93C87A9DDC1F}"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BAACBA7B-EE5E-493F-B731-769F8555E249}" type="presOf" srcId="{1A1A6082-1BF4-40F3-BF25-E2599BB53BFA}" destId="{CF57B3AA-9D23-4D82-8D72-1A4D072C9CF6}" srcOrd="0" destOrd="0" presId="urn:microsoft.com/office/officeart/2005/8/layout/cycle2"/>
    <dgm:cxn modelId="{8519CA77-BD12-48FB-A0F5-80AFF365649D}" type="presOf" srcId="{36CA222D-1275-4473-881C-488A61C55835}" destId="{7EFAF541-47AF-4C3C-9CFE-C8EF5507A27C}" srcOrd="1" destOrd="0" presId="urn:microsoft.com/office/officeart/2005/8/layout/cycle2"/>
    <dgm:cxn modelId="{084BF3E4-E8A6-4FD1-9F9F-44C7690A7F17}" type="presOf" srcId="{C3EFBD6A-E3EC-4E4A-B112-75A580157B18}" destId="{9336A9F3-2A53-40E9-8F9F-8E4C967B12C1}" srcOrd="0" destOrd="0" presId="urn:microsoft.com/office/officeart/2005/8/layout/cycle2"/>
    <dgm:cxn modelId="{F7B44DD9-9444-4EA7-BCF5-8F3BCA2AE2F7}" type="presOf" srcId="{BF32EDA5-B1A7-4C67-9DEE-B0EFED1F5B2B}" destId="{6C754846-F75A-4A89-A242-6671D8DDC5A9}" srcOrd="1" destOrd="0" presId="urn:microsoft.com/office/officeart/2005/8/layout/cycle2"/>
    <dgm:cxn modelId="{3B8D33A0-FAE6-43CC-9B7C-C1765EC8ED84}" type="presOf" srcId="{315727AA-F8CB-4FAC-81F0-3D8F3BB1B56E}" destId="{FEA59801-9672-4D23-8192-A605C46BE70F}" srcOrd="0" destOrd="0" presId="urn:microsoft.com/office/officeart/2005/8/layout/cycle2"/>
    <dgm:cxn modelId="{E5243ACC-475F-4C91-B3F9-BB411C23D4C6}" type="presOf" srcId="{EA880416-D651-45A6-84F2-C54398F7B105}" destId="{AA562BA4-1362-4B11-BE12-AAF95F9B0655}" srcOrd="0" destOrd="0" presId="urn:microsoft.com/office/officeart/2005/8/layout/cycle2"/>
    <dgm:cxn modelId="{92080E63-8132-4DCD-A70F-D0EA4D49A110}" type="presOf" srcId="{B9C095A4-09B3-4524-A547-0933F3DD34F1}" destId="{5E517795-696C-4478-8F77-24582CDCDF88}" srcOrd="0" destOrd="0" presId="urn:microsoft.com/office/officeart/2005/8/layout/cycle2"/>
    <dgm:cxn modelId="{94739F83-301B-4BC0-A2AD-B10EAF033A4F}" type="presOf" srcId="{E2CB592C-1787-44C9-8686-4F00CBFA5CB1}" destId="{00C6A176-9825-494C-8FDD-D407F0EF76CB}" srcOrd="0" destOrd="0" presId="urn:microsoft.com/office/officeart/2005/8/layout/cycle2"/>
    <dgm:cxn modelId="{83AA44ED-41FA-468B-8CC7-972C54967AF9}" type="presOf" srcId="{0E50710D-2BD5-4826-B9D1-2870E5EAFE57}" destId="{80B8A62C-CA65-4F7F-B3E1-E47A6F8DBF28}" srcOrd="0" destOrd="0" presId="urn:microsoft.com/office/officeart/2005/8/layout/cycle2"/>
    <dgm:cxn modelId="{5B2BDBE2-1437-4A94-BCF6-D6BBF2BF93AE}" type="presOf" srcId="{20D4FDE3-C196-41C9-8DB2-EF038981D495}" destId="{B1CEE351-6D90-4A79-B4AC-9CB274EA73AC}" srcOrd="1" destOrd="0" presId="urn:microsoft.com/office/officeart/2005/8/layout/cycle2"/>
    <dgm:cxn modelId="{45ED60E7-A6E5-4B02-A141-AB38C22F19C9}" type="presOf" srcId="{315727AA-F8CB-4FAC-81F0-3D8F3BB1B56E}" destId="{1AFE4D34-A1BE-488A-9816-71CABDC842F3}" srcOrd="1"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B0964936-55AC-4CFA-AC48-BAC306FC8DDF}" type="presOf" srcId="{0E50710D-2BD5-4826-B9D1-2870E5EAFE57}" destId="{D0FD9655-5A6C-4F6C-98FD-3B2D55F73505}" srcOrd="1" destOrd="0" presId="urn:microsoft.com/office/officeart/2005/8/layout/cycle2"/>
    <dgm:cxn modelId="{05AC4335-FFB9-482E-854E-F57A87AF8DE6}" type="presOf" srcId="{E2CB592C-1787-44C9-8686-4F00CBFA5CB1}" destId="{45B6EB01-0DBC-44EB-8631-D6071B6D84B4}" srcOrd="1"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6BED9D4D-9BF7-4628-8058-4E3E61A0DAB6}" type="presOf" srcId="{B9D5BAA1-0541-416B-9895-A63D7BC366EC}" destId="{6B1C954F-37B9-4616-8073-9C538A00A4CD}" srcOrd="0" destOrd="0" presId="urn:microsoft.com/office/officeart/2005/8/layout/cycle2"/>
    <dgm:cxn modelId="{D487B8A6-02E4-4C79-8966-76E39C15728E}" type="presOf" srcId="{4D369322-CA3E-425E-AC5C-D9DEAEAC5E3C}" destId="{9B0B857B-DA14-4DB2-9764-FAEA0033B125}" srcOrd="0" destOrd="0" presId="urn:microsoft.com/office/officeart/2005/8/layout/cycle2"/>
    <dgm:cxn modelId="{77CE09DC-C8BA-4A22-8625-64BD664D87FB}" type="presOf" srcId="{7630EC86-B5D2-4E6A-906C-EC36BCBD2F9B}" destId="{56E98031-14F7-4FF4-8CB0-C66FC7DF872F}" srcOrd="1" destOrd="0" presId="urn:microsoft.com/office/officeart/2005/8/layout/cycle2"/>
    <dgm:cxn modelId="{0C104630-BE8D-4AB9-8757-44637EBEBA8A}" type="presOf" srcId="{BF32EDA5-B1A7-4C67-9DEE-B0EFED1F5B2B}" destId="{798A8C5B-4663-468B-BDAB-5BC0D323EF4E}" srcOrd="0" destOrd="0" presId="urn:microsoft.com/office/officeart/2005/8/layout/cycle2"/>
    <dgm:cxn modelId="{4350F3C4-14EC-4C70-BEFC-34B8539BCBA6}" type="presOf" srcId="{DCEF1A9F-ED00-4444-8E7D-348279B7611D}" destId="{A40E58EC-493C-4310-A857-E6D93F3F5222}" srcOrd="1"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9A3C2B1E-44F9-469C-A7BC-5A1AD392331C}" srcId="{FE0AF671-58B1-40F8-8B7A-983E652E7D40}" destId="{C3EFBD6A-E3EC-4E4A-B112-75A580157B18}" srcOrd="7" destOrd="0" parTransId="{3612719D-4FCA-4865-A190-987513537793}" sibTransId="{0E50710D-2BD5-4826-B9D1-2870E5EAFE57}"/>
    <dgm:cxn modelId="{AEB7EDE5-1D16-475A-B61C-CBF7CFCC2F0F}" srcId="{FE0AF671-58B1-40F8-8B7A-983E652E7D40}" destId="{C1163CC9-4ECF-4D31-855C-26A2B3DCC5C4}" srcOrd="9" destOrd="0" parTransId="{B8FEF4D3-4E21-4BAE-801E-7205F8E8EF77}" sibTransId="{E2CB592C-1787-44C9-8686-4F00CBFA5CB1}"/>
    <dgm:cxn modelId="{23951EE1-163F-46DF-AFF0-F573FA4C038D}" type="presOf" srcId="{1A1A6082-1BF4-40F3-BF25-E2599BB53BFA}" destId="{2546BF50-5AD8-40D0-A01F-A649CF2327DE}" srcOrd="1" destOrd="0" presId="urn:microsoft.com/office/officeart/2005/8/layout/cycle2"/>
    <dgm:cxn modelId="{A3BCA5A6-523A-4741-B2F2-613D3A381B58}" type="presOf" srcId="{E8860603-B54B-464D-847C-F39AD96130A4}" destId="{83195273-D2D4-405D-A258-93AFE8C7BE7A}"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847C9D3E-DBDF-434F-9171-163B371A5E7F}" type="presOf" srcId="{FE0AF671-58B1-40F8-8B7A-983E652E7D40}" destId="{0314D0E1-52B0-4957-906A-3DED1FE20AB6}" srcOrd="0" destOrd="0" presId="urn:microsoft.com/office/officeart/2005/8/layout/cycle2"/>
    <dgm:cxn modelId="{672926A6-7AE4-4D6A-BA84-3B860A43E082}" type="presOf" srcId="{36CA222D-1275-4473-881C-488A61C55835}" destId="{9347F69F-9A85-4B8D-9DE5-233494D2AF22}" srcOrd="0" destOrd="0" presId="urn:microsoft.com/office/officeart/2005/8/layout/cycle2"/>
    <dgm:cxn modelId="{FFDD10ED-3E60-41EF-ACB7-C4E15F404B30}" type="presOf" srcId="{91162D75-99DA-487C-940D-DAE8D13C4447}" destId="{157C4094-4D48-4CA4-8FE3-C846251355F5}"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4D1AC4AE-75E8-48B8-A1E2-C423EE1DD61D}" type="presOf" srcId="{D5290F46-685B-42D9-A176-CA6370062CB6}" destId="{342C44B1-3496-43E6-B7A3-2E7DE47A0EB1}" srcOrd="0" destOrd="0" presId="urn:microsoft.com/office/officeart/2005/8/layout/cycle2"/>
    <dgm:cxn modelId="{1136BE73-B760-495E-A9CD-C83FDDB9CB90}" type="presOf" srcId="{4AB5C3AA-E12D-487A-99B0-D76EFF1AB462}" destId="{B05F7D2C-D848-4E12-98C6-11FDD917CB93}"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1D064A05-48DD-45D3-9DC7-EEB9329B5EC4}" srcId="{FE0AF671-58B1-40F8-8B7A-983E652E7D40}" destId="{91162D75-99DA-487C-940D-DAE8D13C4447}" srcOrd="4" destOrd="0" parTransId="{80DE664A-ECD6-4435-A4B2-FD6572B36AF8}" sibTransId="{36CA222D-1275-4473-881C-488A61C55835}"/>
    <dgm:cxn modelId="{35341BF7-B55D-4C5B-A521-16D3F5F167E9}" type="presOf" srcId="{6A94E007-355E-4DF8-8BC8-31F5F07906F8}" destId="{23AEF67E-B71E-4BFF-8274-B39880BE8995}" srcOrd="0" destOrd="0" presId="urn:microsoft.com/office/officeart/2005/8/layout/cycle2"/>
    <dgm:cxn modelId="{E5B1E8A1-04C0-4EF5-AF8A-F1C0F7E56D29}" type="presParOf" srcId="{0314D0E1-52B0-4957-906A-3DED1FE20AB6}" destId="{6B1C954F-37B9-4616-8073-9C538A00A4CD}" srcOrd="0" destOrd="0" presId="urn:microsoft.com/office/officeart/2005/8/layout/cycle2"/>
    <dgm:cxn modelId="{3F895749-5484-486E-9E67-55A1736582BC}" type="presParOf" srcId="{0314D0E1-52B0-4957-906A-3DED1FE20AB6}" destId="{CF57B3AA-9D23-4D82-8D72-1A4D072C9CF6}" srcOrd="1" destOrd="0" presId="urn:microsoft.com/office/officeart/2005/8/layout/cycle2"/>
    <dgm:cxn modelId="{E49C8789-EB4D-4A47-8ABE-D31F8569AFB9}" type="presParOf" srcId="{CF57B3AA-9D23-4D82-8D72-1A4D072C9CF6}" destId="{2546BF50-5AD8-40D0-A01F-A649CF2327DE}" srcOrd="0" destOrd="0" presId="urn:microsoft.com/office/officeart/2005/8/layout/cycle2"/>
    <dgm:cxn modelId="{CB8C9FE0-21E2-439B-97C4-EA830D02D879}" type="presParOf" srcId="{0314D0E1-52B0-4957-906A-3DED1FE20AB6}" destId="{83195273-D2D4-405D-A258-93AFE8C7BE7A}" srcOrd="2" destOrd="0" presId="urn:microsoft.com/office/officeart/2005/8/layout/cycle2"/>
    <dgm:cxn modelId="{3D0F94BD-90FE-4CC8-90BA-C6ECF1FE682D}" type="presParOf" srcId="{0314D0E1-52B0-4957-906A-3DED1FE20AB6}" destId="{798A8C5B-4663-468B-BDAB-5BC0D323EF4E}" srcOrd="3" destOrd="0" presId="urn:microsoft.com/office/officeart/2005/8/layout/cycle2"/>
    <dgm:cxn modelId="{7F2E80C8-35D4-4E52-AD4A-278CA46318DE}" type="presParOf" srcId="{798A8C5B-4663-468B-BDAB-5BC0D323EF4E}" destId="{6C754846-F75A-4A89-A242-6671D8DDC5A9}" srcOrd="0" destOrd="0" presId="urn:microsoft.com/office/officeart/2005/8/layout/cycle2"/>
    <dgm:cxn modelId="{441EA8C4-43A8-44E8-92BC-7639AD6F3185}" type="presParOf" srcId="{0314D0E1-52B0-4957-906A-3DED1FE20AB6}" destId="{B05F7D2C-D848-4E12-98C6-11FDD917CB93}" srcOrd="4" destOrd="0" presId="urn:microsoft.com/office/officeart/2005/8/layout/cycle2"/>
    <dgm:cxn modelId="{CBB5FBD1-9560-4F1D-B8AB-F825D04FFC7A}" type="presParOf" srcId="{0314D0E1-52B0-4957-906A-3DED1FE20AB6}" destId="{342C44B1-3496-43E6-B7A3-2E7DE47A0EB1}" srcOrd="5" destOrd="0" presId="urn:microsoft.com/office/officeart/2005/8/layout/cycle2"/>
    <dgm:cxn modelId="{438915A3-DB3A-460D-979E-B01C56002E13}" type="presParOf" srcId="{342C44B1-3496-43E6-B7A3-2E7DE47A0EB1}" destId="{EFE96AD8-1B36-480F-B9D4-5217307D065E}" srcOrd="0" destOrd="0" presId="urn:microsoft.com/office/officeart/2005/8/layout/cycle2"/>
    <dgm:cxn modelId="{A32DD4DF-5885-436B-A766-7071C1251131}" type="presParOf" srcId="{0314D0E1-52B0-4957-906A-3DED1FE20AB6}" destId="{AEC3BFE0-4A84-4A7A-9D2A-077ED9AD905B}" srcOrd="6" destOrd="0" presId="urn:microsoft.com/office/officeart/2005/8/layout/cycle2"/>
    <dgm:cxn modelId="{512D0CB3-3583-4B68-84AF-6EC047CE86EA}" type="presParOf" srcId="{0314D0E1-52B0-4957-906A-3DED1FE20AB6}" destId="{BB722067-4A31-4156-9489-71E129EF8E43}" srcOrd="7" destOrd="0" presId="urn:microsoft.com/office/officeart/2005/8/layout/cycle2"/>
    <dgm:cxn modelId="{40E39A79-663B-45AA-8963-C055E9639AD0}" type="presParOf" srcId="{BB722067-4A31-4156-9489-71E129EF8E43}" destId="{A40E58EC-493C-4310-A857-E6D93F3F5222}" srcOrd="0" destOrd="0" presId="urn:microsoft.com/office/officeart/2005/8/layout/cycle2"/>
    <dgm:cxn modelId="{C125F8E9-3537-4CE0-8004-686AE12399CC}" type="presParOf" srcId="{0314D0E1-52B0-4957-906A-3DED1FE20AB6}" destId="{157C4094-4D48-4CA4-8FE3-C846251355F5}" srcOrd="8" destOrd="0" presId="urn:microsoft.com/office/officeart/2005/8/layout/cycle2"/>
    <dgm:cxn modelId="{32B287B3-C2D3-4A87-840C-BF286791DE72}" type="presParOf" srcId="{0314D0E1-52B0-4957-906A-3DED1FE20AB6}" destId="{9347F69F-9A85-4B8D-9DE5-233494D2AF22}" srcOrd="9" destOrd="0" presId="urn:microsoft.com/office/officeart/2005/8/layout/cycle2"/>
    <dgm:cxn modelId="{99F2914E-DAB4-4936-BD60-4332D4D2667F}" type="presParOf" srcId="{9347F69F-9A85-4B8D-9DE5-233494D2AF22}" destId="{7EFAF541-47AF-4C3C-9CFE-C8EF5507A27C}" srcOrd="0" destOrd="0" presId="urn:microsoft.com/office/officeart/2005/8/layout/cycle2"/>
    <dgm:cxn modelId="{D870A1A4-D871-43D2-9D5C-652C7E4510FA}" type="presParOf" srcId="{0314D0E1-52B0-4957-906A-3DED1FE20AB6}" destId="{5E517795-696C-4478-8F77-24582CDCDF88}" srcOrd="10" destOrd="0" presId="urn:microsoft.com/office/officeart/2005/8/layout/cycle2"/>
    <dgm:cxn modelId="{F4989577-BB30-40EE-96C2-E0BCBC12A2DC}" type="presParOf" srcId="{0314D0E1-52B0-4957-906A-3DED1FE20AB6}" destId="{48C0BD33-5F17-45F5-9058-93C87A9DDC1F}" srcOrd="11" destOrd="0" presId="urn:microsoft.com/office/officeart/2005/8/layout/cycle2"/>
    <dgm:cxn modelId="{DF702D83-8E7C-405B-96CC-E02C15CA6F7A}" type="presParOf" srcId="{48C0BD33-5F17-45F5-9058-93C87A9DDC1F}" destId="{B1CEE351-6D90-4A79-B4AC-9CB274EA73AC}" srcOrd="0" destOrd="0" presId="urn:microsoft.com/office/officeart/2005/8/layout/cycle2"/>
    <dgm:cxn modelId="{73694021-2335-4E33-9592-14BC3589CF92}" type="presParOf" srcId="{0314D0E1-52B0-4957-906A-3DED1FE20AB6}" destId="{23AEF67E-B71E-4BFF-8274-B39880BE8995}" srcOrd="12" destOrd="0" presId="urn:microsoft.com/office/officeart/2005/8/layout/cycle2"/>
    <dgm:cxn modelId="{A4FD397A-5BAE-4CB3-86F2-B1E75D0033E5}" type="presParOf" srcId="{0314D0E1-52B0-4957-906A-3DED1FE20AB6}" destId="{9851BCFD-6C0F-44EE-A90D-93FA72FAD479}" srcOrd="13" destOrd="0" presId="urn:microsoft.com/office/officeart/2005/8/layout/cycle2"/>
    <dgm:cxn modelId="{E879A86D-FE76-48BC-BBE9-36E5AA3A6203}" type="presParOf" srcId="{9851BCFD-6C0F-44EE-A90D-93FA72FAD479}" destId="{587F2F10-0AE6-474A-8CEB-4172CC329BE3}" srcOrd="0" destOrd="0" presId="urn:microsoft.com/office/officeart/2005/8/layout/cycle2"/>
    <dgm:cxn modelId="{238C46DF-9B07-40CD-A6FD-14575D12CBE0}" type="presParOf" srcId="{0314D0E1-52B0-4957-906A-3DED1FE20AB6}" destId="{9336A9F3-2A53-40E9-8F9F-8E4C967B12C1}" srcOrd="14" destOrd="0" presId="urn:microsoft.com/office/officeart/2005/8/layout/cycle2"/>
    <dgm:cxn modelId="{901B319E-1C57-4301-9AC6-7F08601E8AFF}" type="presParOf" srcId="{0314D0E1-52B0-4957-906A-3DED1FE20AB6}" destId="{80B8A62C-CA65-4F7F-B3E1-E47A6F8DBF28}" srcOrd="15" destOrd="0" presId="urn:microsoft.com/office/officeart/2005/8/layout/cycle2"/>
    <dgm:cxn modelId="{C0FAE4A1-9F69-4868-A2C6-EE5A2EA2EFAF}" type="presParOf" srcId="{80B8A62C-CA65-4F7F-B3E1-E47A6F8DBF28}" destId="{D0FD9655-5A6C-4F6C-98FD-3B2D55F73505}" srcOrd="0" destOrd="0" presId="urn:microsoft.com/office/officeart/2005/8/layout/cycle2"/>
    <dgm:cxn modelId="{9C4AAF7A-B9D0-4AAA-ADC4-072F1B83A3B6}" type="presParOf" srcId="{0314D0E1-52B0-4957-906A-3DED1FE20AB6}" destId="{AA562BA4-1362-4B11-BE12-AAF95F9B0655}" srcOrd="16" destOrd="0" presId="urn:microsoft.com/office/officeart/2005/8/layout/cycle2"/>
    <dgm:cxn modelId="{7FA22507-B038-4F6C-9CEE-9A592DBD9A05}" type="presParOf" srcId="{0314D0E1-52B0-4957-906A-3DED1FE20AB6}" destId="{8F1FDF32-78E0-4ED1-970D-21E8309CEF5A}" srcOrd="17" destOrd="0" presId="urn:microsoft.com/office/officeart/2005/8/layout/cycle2"/>
    <dgm:cxn modelId="{11919A9C-7B86-447E-A0F5-941F9E78BF3E}" type="presParOf" srcId="{8F1FDF32-78E0-4ED1-970D-21E8309CEF5A}" destId="{56E98031-14F7-4FF4-8CB0-C66FC7DF872F}" srcOrd="0" destOrd="0" presId="urn:microsoft.com/office/officeart/2005/8/layout/cycle2"/>
    <dgm:cxn modelId="{6B73C3B3-D3F0-4883-8696-3FD564612FD2}" type="presParOf" srcId="{0314D0E1-52B0-4957-906A-3DED1FE20AB6}" destId="{4C7C445F-E1C6-4F7A-821E-F674A343F87A}" srcOrd="18" destOrd="0" presId="urn:microsoft.com/office/officeart/2005/8/layout/cycle2"/>
    <dgm:cxn modelId="{F0337A28-07B2-4C43-896B-6AC896F3A474}" type="presParOf" srcId="{0314D0E1-52B0-4957-906A-3DED1FE20AB6}" destId="{00C6A176-9825-494C-8FDD-D407F0EF76CB}" srcOrd="19" destOrd="0" presId="urn:microsoft.com/office/officeart/2005/8/layout/cycle2"/>
    <dgm:cxn modelId="{E5399E88-FB08-4E87-B0CE-CEC0039381AB}" type="presParOf" srcId="{00C6A176-9825-494C-8FDD-D407F0EF76CB}" destId="{45B6EB01-0DBC-44EB-8631-D6071B6D84B4}" srcOrd="0" destOrd="0" presId="urn:microsoft.com/office/officeart/2005/8/layout/cycle2"/>
    <dgm:cxn modelId="{678C60CC-6F0F-42DE-83C2-E2843F9FCC85}" type="presParOf" srcId="{0314D0E1-52B0-4957-906A-3DED1FE20AB6}" destId="{9B0B857B-DA14-4DB2-9764-FAEA0033B125}" srcOrd="20" destOrd="0" presId="urn:microsoft.com/office/officeart/2005/8/layout/cycle2"/>
    <dgm:cxn modelId="{EB8B4EFB-F078-4189-9D3C-D542F6FFBBEF}" type="presParOf" srcId="{0314D0E1-52B0-4957-906A-3DED1FE20AB6}" destId="{FEA59801-9672-4D23-8192-A605C46BE70F}" srcOrd="21" destOrd="0" presId="urn:microsoft.com/office/officeart/2005/8/layout/cycle2"/>
    <dgm:cxn modelId="{D0F572EC-D85A-40EB-94CE-24C97E7F65BE}"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a:solidFill>
          <a:schemeClr val="accent2"/>
        </a:solidFill>
      </dgm:spPr>
      <dgm:t>
        <a:bodyPr/>
        <a:lstStyle/>
        <a:p>
          <a:r>
            <a:rPr lang="zh-CN" altLang="en-US" sz="1200" b="1" dirty="0" smtClean="0"/>
            <a:t>材料费</a:t>
          </a:r>
          <a:endParaRPr lang="zh-CN" altLang="en-US" sz="1200" b="1"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dirty="0" smtClean="0"/>
            <a:t>测试化验加工费</a:t>
          </a:r>
          <a:endParaRPr lang="zh-CN" altLang="en-US" sz="60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dgm:spPr/>
      <dgm:t>
        <a:bodyPr/>
        <a:lstStyle/>
        <a:p>
          <a:r>
            <a:rPr lang="zh-CN" altLang="en-US" dirty="0" smtClean="0"/>
            <a:t>燃料动力费</a:t>
          </a:r>
          <a:endParaRPr lang="zh-CN" altLang="en-US"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dgm:spPr/>
      <dgm:t>
        <a:bodyPr/>
        <a:lstStyle/>
        <a:p>
          <a:r>
            <a:rPr lang="zh-CN" altLang="en-US" dirty="0" smtClean="0"/>
            <a:t>差旅费</a:t>
          </a:r>
          <a:r>
            <a:rPr lang="en-US" altLang="zh-CN" dirty="0" smtClean="0"/>
            <a:t>  </a:t>
          </a:r>
          <a:endParaRPr lang="zh-CN" altLang="en-US"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dgm:spPr/>
      <dgm:t>
        <a:bodyPr/>
        <a:lstStyle/>
        <a:p>
          <a:r>
            <a:rPr lang="zh-CN" altLang="en-US" dirty="0" smtClean="0"/>
            <a:t>其他费用</a:t>
          </a:r>
          <a:endParaRPr lang="zh-CN" altLang="en-US"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dgm:spPr/>
      <dgm:t>
        <a:bodyPr/>
        <a:lstStyle/>
        <a:p>
          <a:r>
            <a:rPr lang="zh-CN" altLang="en-US" dirty="0" smtClean="0"/>
            <a:t>会议费</a:t>
          </a:r>
          <a:endParaRPr lang="zh-CN" altLang="en-US"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dgm:spPr/>
      <dgm:t>
        <a:bodyPr/>
        <a:lstStyle/>
        <a:p>
          <a:r>
            <a:rPr lang="zh-CN" altLang="en-US" dirty="0" smtClean="0"/>
            <a:t>国际合作交流费</a:t>
          </a:r>
          <a:endParaRPr lang="zh-CN" altLang="en-US"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dgm:spPr/>
      <dgm:t>
        <a:bodyPr/>
        <a:lstStyle/>
        <a:p>
          <a:r>
            <a:rPr lang="zh-CN" altLang="en-US" dirty="0" smtClean="0"/>
            <a:t>劳务费</a:t>
          </a:r>
          <a:endParaRPr lang="zh-CN" altLang="en-US"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dgm:spPr/>
      <dgm:t>
        <a:bodyPr/>
        <a:lstStyle/>
        <a:p>
          <a:r>
            <a:rPr lang="zh-CN" altLang="en-US" dirty="0" smtClean="0"/>
            <a:t>专家咨询费</a:t>
          </a:r>
          <a:endParaRPr lang="zh-CN" altLang="en-US"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80240" custScaleY="64966">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55317" custScaleY="46310">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5317" custScaleY="46310">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5317" custScaleY="4631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5317" custScaleY="46310">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F9CF2032-9D27-4AC6-89E1-B33D514DC827}" type="presOf" srcId="{A48FC8E7-DEF6-47DD-9FD7-A42C236E411D}" destId="{587F2F10-0AE6-474A-8CEB-4172CC329BE3}"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3D67C5A8-79F4-4ACE-B7AD-B0FF5B10E9A8}" type="presOf" srcId="{20D4FDE3-C196-41C9-8DB2-EF038981D495}" destId="{48C0BD33-5F17-45F5-9058-93C87A9DDC1F}" srcOrd="0" destOrd="0" presId="urn:microsoft.com/office/officeart/2005/8/layout/cycle2"/>
    <dgm:cxn modelId="{C498B67B-5C3B-423D-B79C-C0FDA46EE346}" type="presOf" srcId="{275AFB5B-A843-4E45-89A6-0D625719EC18}" destId="{AEC3BFE0-4A84-4A7A-9D2A-077ED9AD905B}" srcOrd="0" destOrd="0" presId="urn:microsoft.com/office/officeart/2005/8/layout/cycle2"/>
    <dgm:cxn modelId="{B8BB93C2-FDBB-4A3D-AE37-7F464B9EAC4B}" type="presOf" srcId="{DCEF1A9F-ED00-4444-8E7D-348279B7611D}" destId="{BB722067-4A31-4156-9489-71E129EF8E43}" srcOrd="0" destOrd="0" presId="urn:microsoft.com/office/officeart/2005/8/layout/cycle2"/>
    <dgm:cxn modelId="{A768DDE3-48B0-4A3B-943B-B2B169B33C73}" type="presOf" srcId="{6A94E007-355E-4DF8-8BC8-31F5F07906F8}" destId="{23AEF67E-B71E-4BFF-8274-B39880BE8995}" srcOrd="0" destOrd="0" presId="urn:microsoft.com/office/officeart/2005/8/layout/cycle2"/>
    <dgm:cxn modelId="{338857CD-1CD1-41FC-B5E0-A6DE9B8EFB00}" type="presOf" srcId="{E8860603-B54B-464D-847C-F39AD96130A4}" destId="{83195273-D2D4-405D-A258-93AFE8C7BE7A}" srcOrd="0" destOrd="0" presId="urn:microsoft.com/office/officeart/2005/8/layout/cycle2"/>
    <dgm:cxn modelId="{D5DDCF61-5EBB-4A42-8FB4-29B70DB18C1D}" type="presOf" srcId="{D5290F46-685B-42D9-A176-CA6370062CB6}" destId="{EFE96AD8-1B36-480F-B9D4-5217307D065E}" srcOrd="1" destOrd="0" presId="urn:microsoft.com/office/officeart/2005/8/layout/cycle2"/>
    <dgm:cxn modelId="{0801BEC1-1DC9-4CD6-99A1-A530F41093DB}" type="presOf" srcId="{4D369322-CA3E-425E-AC5C-D9DEAEAC5E3C}" destId="{9B0B857B-DA14-4DB2-9764-FAEA0033B125}"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C578BEF4-49C2-40B0-8122-BC64C65F84AA}" type="presOf" srcId="{36CA222D-1275-4473-881C-488A61C55835}" destId="{7EFAF541-47AF-4C3C-9CFE-C8EF5507A27C}" srcOrd="1" destOrd="0" presId="urn:microsoft.com/office/officeart/2005/8/layout/cycle2"/>
    <dgm:cxn modelId="{DB612E65-19A4-4249-B788-A89CF38B79F3}" type="presOf" srcId="{1A1A6082-1BF4-40F3-BF25-E2599BB53BFA}" destId="{2546BF50-5AD8-40D0-A01F-A649CF2327DE}" srcOrd="1" destOrd="0" presId="urn:microsoft.com/office/officeart/2005/8/layout/cycle2"/>
    <dgm:cxn modelId="{7A2360FD-9DAC-40C3-B05C-DBA16FE95894}" type="presOf" srcId="{36CA222D-1275-4473-881C-488A61C55835}" destId="{9347F69F-9A85-4B8D-9DE5-233494D2AF22}" srcOrd="0" destOrd="0" presId="urn:microsoft.com/office/officeart/2005/8/layout/cycle2"/>
    <dgm:cxn modelId="{70E59027-423D-4A27-A8E3-0AEB0FF1CAE9}" type="presOf" srcId="{B9C095A4-09B3-4524-A547-0933F3DD34F1}" destId="{5E517795-696C-4478-8F77-24582CDCDF88}" srcOrd="0" destOrd="0" presId="urn:microsoft.com/office/officeart/2005/8/layout/cycle2"/>
    <dgm:cxn modelId="{379F905E-829D-4C2E-B1BB-353EC67D4672}" type="presOf" srcId="{315727AA-F8CB-4FAC-81F0-3D8F3BB1B56E}" destId="{FEA59801-9672-4D23-8192-A605C46BE70F}" srcOrd="0" destOrd="0" presId="urn:microsoft.com/office/officeart/2005/8/layout/cycle2"/>
    <dgm:cxn modelId="{16D08E2D-F10F-41AE-A5F6-DF7F05962370}" type="presOf" srcId="{315727AA-F8CB-4FAC-81F0-3D8F3BB1B56E}" destId="{1AFE4D34-A1BE-488A-9816-71CABDC842F3}" srcOrd="1" destOrd="0" presId="urn:microsoft.com/office/officeart/2005/8/layout/cycle2"/>
    <dgm:cxn modelId="{41D1D317-3552-4EDE-85B6-EEDAFD209FE8}" type="presOf" srcId="{1A1A6082-1BF4-40F3-BF25-E2599BB53BFA}" destId="{CF57B3AA-9D23-4D82-8D72-1A4D072C9CF6}" srcOrd="0" destOrd="0" presId="urn:microsoft.com/office/officeart/2005/8/layout/cycle2"/>
    <dgm:cxn modelId="{6BD98835-C7F5-4D72-BEAF-63089F1C7F9B}" type="presOf" srcId="{91162D75-99DA-487C-940D-DAE8D13C4447}" destId="{157C4094-4D48-4CA4-8FE3-C846251355F5}" srcOrd="0" destOrd="0" presId="urn:microsoft.com/office/officeart/2005/8/layout/cycle2"/>
    <dgm:cxn modelId="{83522149-AE67-4D56-9720-127276F40DB1}" type="presOf" srcId="{20D4FDE3-C196-41C9-8DB2-EF038981D495}" destId="{B1CEE351-6D90-4A79-B4AC-9CB274EA73AC}" srcOrd="1" destOrd="0" presId="urn:microsoft.com/office/officeart/2005/8/layout/cycle2"/>
    <dgm:cxn modelId="{E7E03838-0A18-46D1-978F-B2F109555D40}" type="presOf" srcId="{D5290F46-685B-42D9-A176-CA6370062CB6}" destId="{342C44B1-3496-43E6-B7A3-2E7DE47A0EB1}"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70ECCB01-012A-4D7D-910B-5F1C0EDEDB5C}" type="presOf" srcId="{4AB5C3AA-E12D-487A-99B0-D76EFF1AB462}" destId="{B05F7D2C-D848-4E12-98C6-11FDD917CB93}" srcOrd="0"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2555EC21-0AAC-47D6-80B4-F9908824A538}" type="presOf" srcId="{EA880416-D651-45A6-84F2-C54398F7B105}" destId="{AA562BA4-1362-4B11-BE12-AAF95F9B0655}" srcOrd="0" destOrd="0" presId="urn:microsoft.com/office/officeart/2005/8/layout/cycle2"/>
    <dgm:cxn modelId="{57467264-6165-462B-8759-E043397A31E6}" type="presOf" srcId="{C1163CC9-4ECF-4D31-855C-26A2B3DCC5C4}" destId="{4C7C445F-E1C6-4F7A-821E-F674A343F87A}" srcOrd="0" destOrd="0" presId="urn:microsoft.com/office/officeart/2005/8/layout/cycle2"/>
    <dgm:cxn modelId="{B2863668-A927-4D18-AE6C-52BF2B1A78C6}" type="presOf" srcId="{BF32EDA5-B1A7-4C67-9DEE-B0EFED1F5B2B}" destId="{6C754846-F75A-4A89-A242-6671D8DDC5A9}" srcOrd="1" destOrd="0" presId="urn:microsoft.com/office/officeart/2005/8/layout/cycle2"/>
    <dgm:cxn modelId="{DFA43372-DF96-4DA0-B001-B44BCDC12E54}" type="presOf" srcId="{7630EC86-B5D2-4E6A-906C-EC36BCBD2F9B}" destId="{8F1FDF32-78E0-4ED1-970D-21E8309CEF5A}" srcOrd="0" destOrd="0" presId="urn:microsoft.com/office/officeart/2005/8/layout/cycle2"/>
    <dgm:cxn modelId="{2C6AEF76-BBA5-4094-8A00-C9412023ADCE}" type="presOf" srcId="{B9D5BAA1-0541-416B-9895-A63D7BC366EC}" destId="{6B1C954F-37B9-4616-8073-9C538A00A4CD}" srcOrd="0" destOrd="0" presId="urn:microsoft.com/office/officeart/2005/8/layout/cycle2"/>
    <dgm:cxn modelId="{499D9FC4-456C-47A3-844E-A86CC4E410C6}" type="presOf" srcId="{DCEF1A9F-ED00-4444-8E7D-348279B7611D}" destId="{A40E58EC-493C-4310-A857-E6D93F3F5222}" srcOrd="1" destOrd="0" presId="urn:microsoft.com/office/officeart/2005/8/layout/cycle2"/>
    <dgm:cxn modelId="{604C3592-A667-4268-BDC4-12EDB73FA81F}" type="presOf" srcId="{BF32EDA5-B1A7-4C67-9DEE-B0EFED1F5B2B}" destId="{798A8C5B-4663-468B-BDAB-5BC0D323EF4E}" srcOrd="0" destOrd="0" presId="urn:microsoft.com/office/officeart/2005/8/layout/cycle2"/>
    <dgm:cxn modelId="{FEE76D76-7B65-463A-90B6-A838868D6401}" type="presOf" srcId="{FE0AF671-58B1-40F8-8B7A-983E652E7D40}" destId="{0314D0E1-52B0-4957-906A-3DED1FE20AB6}" srcOrd="0" destOrd="0" presId="urn:microsoft.com/office/officeart/2005/8/layout/cycle2"/>
    <dgm:cxn modelId="{D9BBB960-F0BA-452E-996E-C751BB44EEAA}" type="presOf" srcId="{E2CB592C-1787-44C9-8686-4F00CBFA5CB1}" destId="{00C6A176-9825-494C-8FDD-D407F0EF76CB}" srcOrd="0" destOrd="0" presId="urn:microsoft.com/office/officeart/2005/8/layout/cycle2"/>
    <dgm:cxn modelId="{61E69246-9414-4DE2-83D1-8A757A6DFED6}" type="presOf" srcId="{C3EFBD6A-E3EC-4E4A-B112-75A580157B18}" destId="{9336A9F3-2A53-40E9-8F9F-8E4C967B12C1}"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13D21F44-FA1E-462D-AA40-2C84ABB6D518}" type="presOf" srcId="{0E50710D-2BD5-4826-B9D1-2870E5EAFE57}" destId="{D0FD9655-5A6C-4F6C-98FD-3B2D55F73505}"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18C3D8FE-BE3A-4CDB-AEFC-C76C7D72DADC}" srcId="{FE0AF671-58B1-40F8-8B7A-983E652E7D40}" destId="{4D369322-CA3E-425E-AC5C-D9DEAEAC5E3C}" srcOrd="10" destOrd="0" parTransId="{2F3F6BF3-18D4-4D23-9378-A2C8486CF639}" sibTransId="{315727AA-F8CB-4FAC-81F0-3D8F3BB1B56E}"/>
    <dgm:cxn modelId="{7DE9D612-CBA6-4812-AC93-C656AD1BB74A}" type="presOf" srcId="{A48FC8E7-DEF6-47DD-9FD7-A42C236E411D}" destId="{9851BCFD-6C0F-44EE-A90D-93FA72FAD479}" srcOrd="0" destOrd="0" presId="urn:microsoft.com/office/officeart/2005/8/layout/cycle2"/>
    <dgm:cxn modelId="{9523F100-B3CC-49DB-953E-A224C8878312}" type="presOf" srcId="{E2CB592C-1787-44C9-8686-4F00CBFA5CB1}" destId="{45B6EB01-0DBC-44EB-8631-D6071B6D84B4}" srcOrd="1" destOrd="0" presId="urn:microsoft.com/office/officeart/2005/8/layout/cycle2"/>
    <dgm:cxn modelId="{18B34B3E-07CD-4A5B-86B9-547AD589A3CB}" type="presOf" srcId="{0E50710D-2BD5-4826-B9D1-2870E5EAFE57}" destId="{80B8A62C-CA65-4F7F-B3E1-E47A6F8DBF28}"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1D064A05-48DD-45D3-9DC7-EEB9329B5EC4}" srcId="{FE0AF671-58B1-40F8-8B7A-983E652E7D40}" destId="{91162D75-99DA-487C-940D-DAE8D13C4447}" srcOrd="4" destOrd="0" parTransId="{80DE664A-ECD6-4435-A4B2-FD6572B36AF8}" sibTransId="{36CA222D-1275-4473-881C-488A61C55835}"/>
    <dgm:cxn modelId="{B13FEB8F-EDB4-4C37-93DC-065AB349A28E}" type="presOf" srcId="{7630EC86-B5D2-4E6A-906C-EC36BCBD2F9B}" destId="{56E98031-14F7-4FF4-8CB0-C66FC7DF872F}" srcOrd="1" destOrd="0" presId="urn:microsoft.com/office/officeart/2005/8/layout/cycle2"/>
    <dgm:cxn modelId="{A8975A24-9A0A-47EE-A573-9AA9CCB09983}" type="presParOf" srcId="{0314D0E1-52B0-4957-906A-3DED1FE20AB6}" destId="{6B1C954F-37B9-4616-8073-9C538A00A4CD}" srcOrd="0" destOrd="0" presId="urn:microsoft.com/office/officeart/2005/8/layout/cycle2"/>
    <dgm:cxn modelId="{B263EE01-3DEE-487C-90FC-1F5DF29499EE}" type="presParOf" srcId="{0314D0E1-52B0-4957-906A-3DED1FE20AB6}" destId="{CF57B3AA-9D23-4D82-8D72-1A4D072C9CF6}" srcOrd="1" destOrd="0" presId="urn:microsoft.com/office/officeart/2005/8/layout/cycle2"/>
    <dgm:cxn modelId="{851B692F-41B8-4AF3-9CBB-7E46A91FC9A5}" type="presParOf" srcId="{CF57B3AA-9D23-4D82-8D72-1A4D072C9CF6}" destId="{2546BF50-5AD8-40D0-A01F-A649CF2327DE}" srcOrd="0" destOrd="0" presId="urn:microsoft.com/office/officeart/2005/8/layout/cycle2"/>
    <dgm:cxn modelId="{5530F36B-C500-437B-A68C-BE3383B11E2E}" type="presParOf" srcId="{0314D0E1-52B0-4957-906A-3DED1FE20AB6}" destId="{83195273-D2D4-405D-A258-93AFE8C7BE7A}" srcOrd="2" destOrd="0" presId="urn:microsoft.com/office/officeart/2005/8/layout/cycle2"/>
    <dgm:cxn modelId="{ACA212E1-8685-45AC-A907-D5E00EBBFBA8}" type="presParOf" srcId="{0314D0E1-52B0-4957-906A-3DED1FE20AB6}" destId="{798A8C5B-4663-468B-BDAB-5BC0D323EF4E}" srcOrd="3" destOrd="0" presId="urn:microsoft.com/office/officeart/2005/8/layout/cycle2"/>
    <dgm:cxn modelId="{93AFB46B-641A-4A1F-A656-72471E58B08B}" type="presParOf" srcId="{798A8C5B-4663-468B-BDAB-5BC0D323EF4E}" destId="{6C754846-F75A-4A89-A242-6671D8DDC5A9}" srcOrd="0" destOrd="0" presId="urn:microsoft.com/office/officeart/2005/8/layout/cycle2"/>
    <dgm:cxn modelId="{EA54352B-5C96-4250-9D9C-F452DC03246A}" type="presParOf" srcId="{0314D0E1-52B0-4957-906A-3DED1FE20AB6}" destId="{B05F7D2C-D848-4E12-98C6-11FDD917CB93}" srcOrd="4" destOrd="0" presId="urn:microsoft.com/office/officeart/2005/8/layout/cycle2"/>
    <dgm:cxn modelId="{9EFA91B3-1200-4729-BB45-4BF6ADB3D68A}" type="presParOf" srcId="{0314D0E1-52B0-4957-906A-3DED1FE20AB6}" destId="{342C44B1-3496-43E6-B7A3-2E7DE47A0EB1}" srcOrd="5" destOrd="0" presId="urn:microsoft.com/office/officeart/2005/8/layout/cycle2"/>
    <dgm:cxn modelId="{0829AEAB-A848-4913-ABCC-1E2D20C8F8E0}" type="presParOf" srcId="{342C44B1-3496-43E6-B7A3-2E7DE47A0EB1}" destId="{EFE96AD8-1B36-480F-B9D4-5217307D065E}" srcOrd="0" destOrd="0" presId="urn:microsoft.com/office/officeart/2005/8/layout/cycle2"/>
    <dgm:cxn modelId="{7D5D25EA-6331-4C91-AA79-A0D751211560}" type="presParOf" srcId="{0314D0E1-52B0-4957-906A-3DED1FE20AB6}" destId="{AEC3BFE0-4A84-4A7A-9D2A-077ED9AD905B}" srcOrd="6" destOrd="0" presId="urn:microsoft.com/office/officeart/2005/8/layout/cycle2"/>
    <dgm:cxn modelId="{24CC8D1C-6D47-44BE-A7AB-6FDA3E27A128}" type="presParOf" srcId="{0314D0E1-52B0-4957-906A-3DED1FE20AB6}" destId="{BB722067-4A31-4156-9489-71E129EF8E43}" srcOrd="7" destOrd="0" presId="urn:microsoft.com/office/officeart/2005/8/layout/cycle2"/>
    <dgm:cxn modelId="{A98531B0-CC41-4006-AD56-EB47E018531F}" type="presParOf" srcId="{BB722067-4A31-4156-9489-71E129EF8E43}" destId="{A40E58EC-493C-4310-A857-E6D93F3F5222}" srcOrd="0" destOrd="0" presId="urn:microsoft.com/office/officeart/2005/8/layout/cycle2"/>
    <dgm:cxn modelId="{0123ED9B-D49F-44DE-BC0F-E1150C2FDA7D}" type="presParOf" srcId="{0314D0E1-52B0-4957-906A-3DED1FE20AB6}" destId="{157C4094-4D48-4CA4-8FE3-C846251355F5}" srcOrd="8" destOrd="0" presId="urn:microsoft.com/office/officeart/2005/8/layout/cycle2"/>
    <dgm:cxn modelId="{2E9A5317-F967-45B6-A777-608D55BD4AAB}" type="presParOf" srcId="{0314D0E1-52B0-4957-906A-3DED1FE20AB6}" destId="{9347F69F-9A85-4B8D-9DE5-233494D2AF22}" srcOrd="9" destOrd="0" presId="urn:microsoft.com/office/officeart/2005/8/layout/cycle2"/>
    <dgm:cxn modelId="{352C0376-42DC-47D3-8C1B-EE8013B8A8F4}" type="presParOf" srcId="{9347F69F-9A85-4B8D-9DE5-233494D2AF22}" destId="{7EFAF541-47AF-4C3C-9CFE-C8EF5507A27C}" srcOrd="0" destOrd="0" presId="urn:microsoft.com/office/officeart/2005/8/layout/cycle2"/>
    <dgm:cxn modelId="{A7B49781-1467-4E5A-8AA0-5584287C9BF4}" type="presParOf" srcId="{0314D0E1-52B0-4957-906A-3DED1FE20AB6}" destId="{5E517795-696C-4478-8F77-24582CDCDF88}" srcOrd="10" destOrd="0" presId="urn:microsoft.com/office/officeart/2005/8/layout/cycle2"/>
    <dgm:cxn modelId="{A399E2EF-FEFC-47D2-A1CD-F9840F691CE9}" type="presParOf" srcId="{0314D0E1-52B0-4957-906A-3DED1FE20AB6}" destId="{48C0BD33-5F17-45F5-9058-93C87A9DDC1F}" srcOrd="11" destOrd="0" presId="urn:microsoft.com/office/officeart/2005/8/layout/cycle2"/>
    <dgm:cxn modelId="{5B9D2832-CA2F-462F-87BA-2CCA1FFE7924}" type="presParOf" srcId="{48C0BD33-5F17-45F5-9058-93C87A9DDC1F}" destId="{B1CEE351-6D90-4A79-B4AC-9CB274EA73AC}" srcOrd="0" destOrd="0" presId="urn:microsoft.com/office/officeart/2005/8/layout/cycle2"/>
    <dgm:cxn modelId="{567E02CA-0E5A-4227-BFA3-181F95B5F38A}" type="presParOf" srcId="{0314D0E1-52B0-4957-906A-3DED1FE20AB6}" destId="{23AEF67E-B71E-4BFF-8274-B39880BE8995}" srcOrd="12" destOrd="0" presId="urn:microsoft.com/office/officeart/2005/8/layout/cycle2"/>
    <dgm:cxn modelId="{40A3AD2C-1C29-4C49-905F-167A678360A5}" type="presParOf" srcId="{0314D0E1-52B0-4957-906A-3DED1FE20AB6}" destId="{9851BCFD-6C0F-44EE-A90D-93FA72FAD479}" srcOrd="13" destOrd="0" presId="urn:microsoft.com/office/officeart/2005/8/layout/cycle2"/>
    <dgm:cxn modelId="{A3C08629-B4C8-42C6-9034-1D350CE7E626}" type="presParOf" srcId="{9851BCFD-6C0F-44EE-A90D-93FA72FAD479}" destId="{587F2F10-0AE6-474A-8CEB-4172CC329BE3}" srcOrd="0" destOrd="0" presId="urn:microsoft.com/office/officeart/2005/8/layout/cycle2"/>
    <dgm:cxn modelId="{B17DC508-FBB6-49AA-A92E-2097F47C0A3F}" type="presParOf" srcId="{0314D0E1-52B0-4957-906A-3DED1FE20AB6}" destId="{9336A9F3-2A53-40E9-8F9F-8E4C967B12C1}" srcOrd="14" destOrd="0" presId="urn:microsoft.com/office/officeart/2005/8/layout/cycle2"/>
    <dgm:cxn modelId="{DE02262D-2ED5-4E16-B9D0-AF8B0C3BBDED}" type="presParOf" srcId="{0314D0E1-52B0-4957-906A-3DED1FE20AB6}" destId="{80B8A62C-CA65-4F7F-B3E1-E47A6F8DBF28}" srcOrd="15" destOrd="0" presId="urn:microsoft.com/office/officeart/2005/8/layout/cycle2"/>
    <dgm:cxn modelId="{320CA2C0-0332-468A-BDB2-B725F488E3BF}" type="presParOf" srcId="{80B8A62C-CA65-4F7F-B3E1-E47A6F8DBF28}" destId="{D0FD9655-5A6C-4F6C-98FD-3B2D55F73505}" srcOrd="0" destOrd="0" presId="urn:microsoft.com/office/officeart/2005/8/layout/cycle2"/>
    <dgm:cxn modelId="{A967CE4D-83F0-473C-B30D-38A7E7897A47}" type="presParOf" srcId="{0314D0E1-52B0-4957-906A-3DED1FE20AB6}" destId="{AA562BA4-1362-4B11-BE12-AAF95F9B0655}" srcOrd="16" destOrd="0" presId="urn:microsoft.com/office/officeart/2005/8/layout/cycle2"/>
    <dgm:cxn modelId="{11904D00-18B4-410F-B884-EDB9836B1DD8}" type="presParOf" srcId="{0314D0E1-52B0-4957-906A-3DED1FE20AB6}" destId="{8F1FDF32-78E0-4ED1-970D-21E8309CEF5A}" srcOrd="17" destOrd="0" presId="urn:microsoft.com/office/officeart/2005/8/layout/cycle2"/>
    <dgm:cxn modelId="{51771F7A-4AC2-4BE5-92D9-7CBC75F0612A}" type="presParOf" srcId="{8F1FDF32-78E0-4ED1-970D-21E8309CEF5A}" destId="{56E98031-14F7-4FF4-8CB0-C66FC7DF872F}" srcOrd="0" destOrd="0" presId="urn:microsoft.com/office/officeart/2005/8/layout/cycle2"/>
    <dgm:cxn modelId="{72341D1A-F55E-469D-A452-741B604AC1FD}" type="presParOf" srcId="{0314D0E1-52B0-4957-906A-3DED1FE20AB6}" destId="{4C7C445F-E1C6-4F7A-821E-F674A343F87A}" srcOrd="18" destOrd="0" presId="urn:microsoft.com/office/officeart/2005/8/layout/cycle2"/>
    <dgm:cxn modelId="{5F2C66CE-214C-48D5-9594-74BBE3955ABD}" type="presParOf" srcId="{0314D0E1-52B0-4957-906A-3DED1FE20AB6}" destId="{00C6A176-9825-494C-8FDD-D407F0EF76CB}" srcOrd="19" destOrd="0" presId="urn:microsoft.com/office/officeart/2005/8/layout/cycle2"/>
    <dgm:cxn modelId="{48CAFCF2-605D-4192-9B51-0C3EF07EC00B}" type="presParOf" srcId="{00C6A176-9825-494C-8FDD-D407F0EF76CB}" destId="{45B6EB01-0DBC-44EB-8631-D6071B6D84B4}" srcOrd="0" destOrd="0" presId="urn:microsoft.com/office/officeart/2005/8/layout/cycle2"/>
    <dgm:cxn modelId="{DA260AD0-23DE-47E8-A8C5-89C8D38CFFB5}" type="presParOf" srcId="{0314D0E1-52B0-4957-906A-3DED1FE20AB6}" destId="{9B0B857B-DA14-4DB2-9764-FAEA0033B125}" srcOrd="20" destOrd="0" presId="urn:microsoft.com/office/officeart/2005/8/layout/cycle2"/>
    <dgm:cxn modelId="{15D9DD53-66B4-40E5-BEA9-E5B7A2B9DA97}" type="presParOf" srcId="{0314D0E1-52B0-4957-906A-3DED1FE20AB6}" destId="{FEA59801-9672-4D23-8192-A605C46BE70F}" srcOrd="21" destOrd="0" presId="urn:microsoft.com/office/officeart/2005/8/layout/cycle2"/>
    <dgm:cxn modelId="{99D7CD3B-6C9D-4190-A8F6-0F098933B88A}"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a:solidFill>
          <a:schemeClr val="accent2"/>
        </a:solidFill>
      </dgm:spPr>
      <dgm:t>
        <a:bodyPr/>
        <a:lstStyle/>
        <a:p>
          <a:r>
            <a:rPr lang="zh-CN" altLang="en-US" sz="1100" b="1" dirty="0" smtClean="0"/>
            <a:t>测试化验加工费</a:t>
          </a:r>
          <a:endParaRPr lang="zh-CN" altLang="en-US" sz="1100" b="1"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dgm:spPr/>
      <dgm:t>
        <a:bodyPr/>
        <a:lstStyle/>
        <a:p>
          <a:r>
            <a:rPr lang="zh-CN" altLang="en-US" dirty="0" smtClean="0"/>
            <a:t>燃料动力费</a:t>
          </a:r>
          <a:endParaRPr lang="zh-CN" altLang="en-US"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dgm:spPr/>
      <dgm:t>
        <a:bodyPr/>
        <a:lstStyle/>
        <a:p>
          <a:r>
            <a:rPr lang="zh-CN" altLang="en-US" dirty="0" smtClean="0"/>
            <a:t>差旅费</a:t>
          </a:r>
          <a:r>
            <a:rPr lang="en-US" altLang="zh-CN" dirty="0" smtClean="0"/>
            <a:t>  </a:t>
          </a:r>
          <a:endParaRPr lang="zh-CN" altLang="en-US"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dgm:spPr/>
      <dgm:t>
        <a:bodyPr/>
        <a:lstStyle/>
        <a:p>
          <a:r>
            <a:rPr lang="zh-CN" altLang="en-US" dirty="0" smtClean="0"/>
            <a:t>其他费用</a:t>
          </a:r>
          <a:endParaRPr lang="zh-CN" altLang="en-US"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dgm:spPr/>
      <dgm:t>
        <a:bodyPr/>
        <a:lstStyle/>
        <a:p>
          <a:r>
            <a:rPr lang="zh-CN" altLang="en-US" dirty="0" smtClean="0"/>
            <a:t>会议费</a:t>
          </a:r>
          <a:endParaRPr lang="zh-CN" altLang="en-US"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dgm:spPr/>
      <dgm:t>
        <a:bodyPr/>
        <a:lstStyle/>
        <a:p>
          <a:r>
            <a:rPr lang="zh-CN" altLang="en-US" dirty="0" smtClean="0"/>
            <a:t>国际合作交流费</a:t>
          </a:r>
          <a:endParaRPr lang="zh-CN" altLang="en-US"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dgm:spPr/>
      <dgm:t>
        <a:bodyPr/>
        <a:lstStyle/>
        <a:p>
          <a:r>
            <a:rPr lang="zh-CN" altLang="en-US" dirty="0" smtClean="0"/>
            <a:t>劳务费</a:t>
          </a:r>
          <a:endParaRPr lang="zh-CN" altLang="en-US"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dgm:spPr/>
      <dgm:t>
        <a:bodyPr/>
        <a:lstStyle/>
        <a:p>
          <a:r>
            <a:rPr lang="zh-CN" altLang="en-US" dirty="0" smtClean="0"/>
            <a:t>专家咨询费</a:t>
          </a:r>
          <a:endParaRPr lang="zh-CN" altLang="en-US"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92142" custScaleY="68315">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5317" custScaleY="46310">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5317" custScaleY="4631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5317" custScaleY="46310">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F6E8A44D-4A98-4D3E-B1DC-35775552CA87}" type="presOf" srcId="{0E50710D-2BD5-4826-B9D1-2870E5EAFE57}" destId="{D0FD9655-5A6C-4F6C-98FD-3B2D55F73505}"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56201BA9-0C75-40C6-8BBF-105712251ECA}" type="presOf" srcId="{315727AA-F8CB-4FAC-81F0-3D8F3BB1B56E}" destId="{FEA59801-9672-4D23-8192-A605C46BE70F}" srcOrd="0" destOrd="0" presId="urn:microsoft.com/office/officeart/2005/8/layout/cycle2"/>
    <dgm:cxn modelId="{197E8F31-8F30-4E06-9BCA-840F351CFF10}" type="presOf" srcId="{4AB5C3AA-E12D-487A-99B0-D76EFF1AB462}" destId="{B05F7D2C-D848-4E12-98C6-11FDD917CB93}" srcOrd="0" destOrd="0" presId="urn:microsoft.com/office/officeart/2005/8/layout/cycle2"/>
    <dgm:cxn modelId="{184F15AD-3661-4FC1-84CA-CA9FC0DE0279}" type="presOf" srcId="{E2CB592C-1787-44C9-8686-4F00CBFA5CB1}" destId="{00C6A176-9825-494C-8FDD-D407F0EF76CB}" srcOrd="0" destOrd="0" presId="urn:microsoft.com/office/officeart/2005/8/layout/cycle2"/>
    <dgm:cxn modelId="{5279551E-E2E2-495C-8BA3-3313C034A5C1}" type="presOf" srcId="{20D4FDE3-C196-41C9-8DB2-EF038981D495}" destId="{48C0BD33-5F17-45F5-9058-93C87A9DDC1F}" srcOrd="0" destOrd="0" presId="urn:microsoft.com/office/officeart/2005/8/layout/cycle2"/>
    <dgm:cxn modelId="{09EF073D-B58F-498B-9B76-50E5CA1C0061}" type="presOf" srcId="{B9D5BAA1-0541-416B-9895-A63D7BC366EC}" destId="{6B1C954F-37B9-4616-8073-9C538A00A4CD}"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540870BF-D5C7-4E83-A500-4569A80EB2AC}" type="presOf" srcId="{B9C095A4-09B3-4524-A547-0933F3DD34F1}" destId="{5E517795-696C-4478-8F77-24582CDCDF88}" srcOrd="0" destOrd="0" presId="urn:microsoft.com/office/officeart/2005/8/layout/cycle2"/>
    <dgm:cxn modelId="{3C081817-9D4C-4136-A2EB-D41FAEC48A1D}" type="presOf" srcId="{275AFB5B-A843-4E45-89A6-0D625719EC18}" destId="{AEC3BFE0-4A84-4A7A-9D2A-077ED9AD905B}" srcOrd="0" destOrd="0" presId="urn:microsoft.com/office/officeart/2005/8/layout/cycle2"/>
    <dgm:cxn modelId="{DCBFF47D-2A6B-4E95-B10B-86EEF0FC662B}" type="presOf" srcId="{315727AA-F8CB-4FAC-81F0-3D8F3BB1B56E}" destId="{1AFE4D34-A1BE-488A-9816-71CABDC842F3}" srcOrd="1" destOrd="0" presId="urn:microsoft.com/office/officeart/2005/8/layout/cycle2"/>
    <dgm:cxn modelId="{529F0086-ED2A-473C-A602-B7A47FB61901}" type="presOf" srcId="{20D4FDE3-C196-41C9-8DB2-EF038981D495}" destId="{B1CEE351-6D90-4A79-B4AC-9CB274EA73AC}" srcOrd="1" destOrd="0" presId="urn:microsoft.com/office/officeart/2005/8/layout/cycle2"/>
    <dgm:cxn modelId="{195092BE-B769-4D8C-8AE8-4E4503D50312}" type="presOf" srcId="{D5290F46-685B-42D9-A176-CA6370062CB6}" destId="{342C44B1-3496-43E6-B7A3-2E7DE47A0EB1}" srcOrd="0" destOrd="0" presId="urn:microsoft.com/office/officeart/2005/8/layout/cycle2"/>
    <dgm:cxn modelId="{E371E7FC-5811-42C3-B8F2-95737E797292}" type="presOf" srcId="{36CA222D-1275-4473-881C-488A61C55835}" destId="{9347F69F-9A85-4B8D-9DE5-233494D2AF22}" srcOrd="0" destOrd="0" presId="urn:microsoft.com/office/officeart/2005/8/layout/cycle2"/>
    <dgm:cxn modelId="{6A243BDC-91A9-40A2-BF63-6BC07F83A82E}" type="presOf" srcId="{DCEF1A9F-ED00-4444-8E7D-348279B7611D}" destId="{BB722067-4A31-4156-9489-71E129EF8E43}" srcOrd="0" destOrd="0" presId="urn:microsoft.com/office/officeart/2005/8/layout/cycle2"/>
    <dgm:cxn modelId="{0E7E62C8-30E4-4EE1-A37E-2846D94EE7A4}" type="presOf" srcId="{FE0AF671-58B1-40F8-8B7A-983E652E7D40}" destId="{0314D0E1-52B0-4957-906A-3DED1FE20AB6}" srcOrd="0" destOrd="0" presId="urn:microsoft.com/office/officeart/2005/8/layout/cycle2"/>
    <dgm:cxn modelId="{0358F801-8302-4971-9DDA-C297D5180DD9}" type="presOf" srcId="{6A94E007-355E-4DF8-8BC8-31F5F07906F8}" destId="{23AEF67E-B71E-4BFF-8274-B39880BE8995}" srcOrd="0" destOrd="0" presId="urn:microsoft.com/office/officeart/2005/8/layout/cycle2"/>
    <dgm:cxn modelId="{EA0200E9-B801-4B2B-AF51-2F043EC2B985}" type="presOf" srcId="{C3EFBD6A-E3EC-4E4A-B112-75A580157B18}" destId="{9336A9F3-2A53-40E9-8F9F-8E4C967B12C1}" srcOrd="0" destOrd="0" presId="urn:microsoft.com/office/officeart/2005/8/layout/cycle2"/>
    <dgm:cxn modelId="{B2052D0D-9A5D-4608-973C-874946A68855}" type="presOf" srcId="{EA880416-D651-45A6-84F2-C54398F7B105}" destId="{AA562BA4-1362-4B11-BE12-AAF95F9B0655}"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480539E8-D31B-4990-8784-08CB6A56207F}" type="presOf" srcId="{1A1A6082-1BF4-40F3-BF25-E2599BB53BFA}" destId="{CF57B3AA-9D23-4D82-8D72-1A4D072C9CF6}" srcOrd="0" destOrd="0" presId="urn:microsoft.com/office/officeart/2005/8/layout/cycle2"/>
    <dgm:cxn modelId="{0172EB39-E0BD-49A7-8A5E-EF394E485880}" type="presOf" srcId="{C1163CC9-4ECF-4D31-855C-26A2B3DCC5C4}" destId="{4C7C445F-E1C6-4F7A-821E-F674A343F87A}" srcOrd="0" destOrd="0" presId="urn:microsoft.com/office/officeart/2005/8/layout/cycle2"/>
    <dgm:cxn modelId="{FD2764FC-9456-4868-84D8-8DD45E7119C0}" type="presOf" srcId="{4D369322-CA3E-425E-AC5C-D9DEAEAC5E3C}" destId="{9B0B857B-DA14-4DB2-9764-FAEA0033B125}" srcOrd="0" destOrd="0" presId="urn:microsoft.com/office/officeart/2005/8/layout/cycle2"/>
    <dgm:cxn modelId="{44CFCE14-AA9B-4F82-9E47-44D3FB599669}" type="presOf" srcId="{A48FC8E7-DEF6-47DD-9FD7-A42C236E411D}" destId="{9851BCFD-6C0F-44EE-A90D-93FA72FAD479}" srcOrd="0" destOrd="0" presId="urn:microsoft.com/office/officeart/2005/8/layout/cycle2"/>
    <dgm:cxn modelId="{964BE903-E026-41C4-9D42-E1BADCF080D9}" type="presOf" srcId="{36CA222D-1275-4473-881C-488A61C55835}" destId="{7EFAF541-47AF-4C3C-9CFE-C8EF5507A27C}" srcOrd="1" destOrd="0" presId="urn:microsoft.com/office/officeart/2005/8/layout/cycle2"/>
    <dgm:cxn modelId="{E2BDB480-8F79-4995-BD46-DD5EEF4D7FE2}" type="presOf" srcId="{BF32EDA5-B1A7-4C67-9DEE-B0EFED1F5B2B}" destId="{798A8C5B-4663-468B-BDAB-5BC0D323EF4E}" srcOrd="0" destOrd="0" presId="urn:microsoft.com/office/officeart/2005/8/layout/cycle2"/>
    <dgm:cxn modelId="{E39D3228-A432-4DBD-8CA7-6A6ED95E71CE}" srcId="{FE0AF671-58B1-40F8-8B7A-983E652E7D40}" destId="{4AB5C3AA-E12D-487A-99B0-D76EFF1AB462}" srcOrd="2" destOrd="0" parTransId="{C4BDFA5F-E0EC-40C6-AB76-DB6C7624CCA8}" sibTransId="{D5290F46-685B-42D9-A176-CA6370062CB6}"/>
    <dgm:cxn modelId="{9A3C2B1E-44F9-469C-A7BC-5A1AD392331C}" srcId="{FE0AF671-58B1-40F8-8B7A-983E652E7D40}" destId="{C3EFBD6A-E3EC-4E4A-B112-75A580157B18}" srcOrd="7" destOrd="0" parTransId="{3612719D-4FCA-4865-A190-987513537793}" sibTransId="{0E50710D-2BD5-4826-B9D1-2870E5EAFE57}"/>
    <dgm:cxn modelId="{85CDDBFE-705E-4AAE-BE63-32B82E46624E}" type="presOf" srcId="{D5290F46-685B-42D9-A176-CA6370062CB6}" destId="{EFE96AD8-1B36-480F-B9D4-5217307D065E}" srcOrd="1" destOrd="0" presId="urn:microsoft.com/office/officeart/2005/8/layout/cycle2"/>
    <dgm:cxn modelId="{AEB7EDE5-1D16-475A-B61C-CBF7CFCC2F0F}" srcId="{FE0AF671-58B1-40F8-8B7A-983E652E7D40}" destId="{C1163CC9-4ECF-4D31-855C-26A2B3DCC5C4}" srcOrd="9" destOrd="0" parTransId="{B8FEF4D3-4E21-4BAE-801E-7205F8E8EF77}" sibTransId="{E2CB592C-1787-44C9-8686-4F00CBFA5CB1}"/>
    <dgm:cxn modelId="{9524CD32-A4E7-4C20-A436-5EECB0E3B64E}" type="presOf" srcId="{E2CB592C-1787-44C9-8686-4F00CBFA5CB1}" destId="{45B6EB01-0DBC-44EB-8631-D6071B6D84B4}"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76340858-4EB7-4504-8B41-673F1F835FB6}" type="presOf" srcId="{91162D75-99DA-487C-940D-DAE8D13C4447}" destId="{157C4094-4D48-4CA4-8FE3-C846251355F5}" srcOrd="0" destOrd="0" presId="urn:microsoft.com/office/officeart/2005/8/layout/cycle2"/>
    <dgm:cxn modelId="{B05E63C8-296B-4A91-91BE-189C63F8C539}" type="presOf" srcId="{1A1A6082-1BF4-40F3-BF25-E2599BB53BFA}" destId="{2546BF50-5AD8-40D0-A01F-A649CF2327DE}" srcOrd="1"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64E7E037-6E2B-4079-9CB0-9EB2802203B2}" type="presOf" srcId="{0E50710D-2BD5-4826-B9D1-2870E5EAFE57}" destId="{80B8A62C-CA65-4F7F-B3E1-E47A6F8DBF28}" srcOrd="0" destOrd="0" presId="urn:microsoft.com/office/officeart/2005/8/layout/cycle2"/>
    <dgm:cxn modelId="{FE9C5BC9-73BC-4A79-99FC-358F1721694D}" type="presOf" srcId="{BF32EDA5-B1A7-4C67-9DEE-B0EFED1F5B2B}" destId="{6C754846-F75A-4A89-A242-6671D8DDC5A9}" srcOrd="1" destOrd="0" presId="urn:microsoft.com/office/officeart/2005/8/layout/cycle2"/>
    <dgm:cxn modelId="{9DE5D380-6D46-4D17-A658-2BE323805F47}" type="presOf" srcId="{A48FC8E7-DEF6-47DD-9FD7-A42C236E411D}" destId="{587F2F10-0AE6-474A-8CEB-4172CC329BE3}" srcOrd="1" destOrd="0" presId="urn:microsoft.com/office/officeart/2005/8/layout/cycle2"/>
    <dgm:cxn modelId="{976B9FFF-47A8-427E-BA57-641CEC21B4BB}" type="presOf" srcId="{DCEF1A9F-ED00-4444-8E7D-348279B7611D}" destId="{A40E58EC-493C-4310-A857-E6D93F3F5222}" srcOrd="1"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576D6A3B-0987-45BC-A21A-B0E9617D2338}" type="presOf" srcId="{7630EC86-B5D2-4E6A-906C-EC36BCBD2F9B}" destId="{56E98031-14F7-4FF4-8CB0-C66FC7DF872F}" srcOrd="1"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818C0A66-2E6F-4273-A7AB-31E9D74F59FE}" type="presOf" srcId="{7630EC86-B5D2-4E6A-906C-EC36BCBD2F9B}" destId="{8F1FDF32-78E0-4ED1-970D-21E8309CEF5A}" srcOrd="0" destOrd="0" presId="urn:microsoft.com/office/officeart/2005/8/layout/cycle2"/>
    <dgm:cxn modelId="{6660B44E-7BAD-4494-BDFC-9BBB73C72316}" type="presOf" srcId="{E8860603-B54B-464D-847C-F39AD96130A4}" destId="{83195273-D2D4-405D-A258-93AFE8C7BE7A}" srcOrd="0" destOrd="0" presId="urn:microsoft.com/office/officeart/2005/8/layout/cycle2"/>
    <dgm:cxn modelId="{7E8C0AB5-FA2C-41FB-B105-58E982E76576}" type="presParOf" srcId="{0314D0E1-52B0-4957-906A-3DED1FE20AB6}" destId="{6B1C954F-37B9-4616-8073-9C538A00A4CD}" srcOrd="0" destOrd="0" presId="urn:microsoft.com/office/officeart/2005/8/layout/cycle2"/>
    <dgm:cxn modelId="{9FB6264E-FB2C-4172-B475-4A5887436978}" type="presParOf" srcId="{0314D0E1-52B0-4957-906A-3DED1FE20AB6}" destId="{CF57B3AA-9D23-4D82-8D72-1A4D072C9CF6}" srcOrd="1" destOrd="0" presId="urn:microsoft.com/office/officeart/2005/8/layout/cycle2"/>
    <dgm:cxn modelId="{EA730086-9F80-4544-9A23-245EFD55D411}" type="presParOf" srcId="{CF57B3AA-9D23-4D82-8D72-1A4D072C9CF6}" destId="{2546BF50-5AD8-40D0-A01F-A649CF2327DE}" srcOrd="0" destOrd="0" presId="urn:microsoft.com/office/officeart/2005/8/layout/cycle2"/>
    <dgm:cxn modelId="{28A43983-26BC-4B56-8935-D322662F0DCE}" type="presParOf" srcId="{0314D0E1-52B0-4957-906A-3DED1FE20AB6}" destId="{83195273-D2D4-405D-A258-93AFE8C7BE7A}" srcOrd="2" destOrd="0" presId="urn:microsoft.com/office/officeart/2005/8/layout/cycle2"/>
    <dgm:cxn modelId="{1442E849-ED57-44E3-9789-4F3C3367B842}" type="presParOf" srcId="{0314D0E1-52B0-4957-906A-3DED1FE20AB6}" destId="{798A8C5B-4663-468B-BDAB-5BC0D323EF4E}" srcOrd="3" destOrd="0" presId="urn:microsoft.com/office/officeart/2005/8/layout/cycle2"/>
    <dgm:cxn modelId="{4D0D622C-3271-4992-910C-FD473CEFA694}" type="presParOf" srcId="{798A8C5B-4663-468B-BDAB-5BC0D323EF4E}" destId="{6C754846-F75A-4A89-A242-6671D8DDC5A9}" srcOrd="0" destOrd="0" presId="urn:microsoft.com/office/officeart/2005/8/layout/cycle2"/>
    <dgm:cxn modelId="{6E393B32-0B99-4181-8498-633E2EA1596F}" type="presParOf" srcId="{0314D0E1-52B0-4957-906A-3DED1FE20AB6}" destId="{B05F7D2C-D848-4E12-98C6-11FDD917CB93}" srcOrd="4" destOrd="0" presId="urn:microsoft.com/office/officeart/2005/8/layout/cycle2"/>
    <dgm:cxn modelId="{8B9A7E34-91F8-4674-B634-F393C718D477}" type="presParOf" srcId="{0314D0E1-52B0-4957-906A-3DED1FE20AB6}" destId="{342C44B1-3496-43E6-B7A3-2E7DE47A0EB1}" srcOrd="5" destOrd="0" presId="urn:microsoft.com/office/officeart/2005/8/layout/cycle2"/>
    <dgm:cxn modelId="{094FA88B-0EE1-4DFB-A935-BD1FD06E48B1}" type="presParOf" srcId="{342C44B1-3496-43E6-B7A3-2E7DE47A0EB1}" destId="{EFE96AD8-1B36-480F-B9D4-5217307D065E}" srcOrd="0" destOrd="0" presId="urn:microsoft.com/office/officeart/2005/8/layout/cycle2"/>
    <dgm:cxn modelId="{518D865E-3C44-4E57-BFAB-9D8611177C8E}" type="presParOf" srcId="{0314D0E1-52B0-4957-906A-3DED1FE20AB6}" destId="{AEC3BFE0-4A84-4A7A-9D2A-077ED9AD905B}" srcOrd="6" destOrd="0" presId="urn:microsoft.com/office/officeart/2005/8/layout/cycle2"/>
    <dgm:cxn modelId="{588618FD-E453-4AB0-85C9-23CC6FB22050}" type="presParOf" srcId="{0314D0E1-52B0-4957-906A-3DED1FE20AB6}" destId="{BB722067-4A31-4156-9489-71E129EF8E43}" srcOrd="7" destOrd="0" presId="urn:microsoft.com/office/officeart/2005/8/layout/cycle2"/>
    <dgm:cxn modelId="{ED6FCC0E-DB6A-4E39-873C-7232DA2E49E6}" type="presParOf" srcId="{BB722067-4A31-4156-9489-71E129EF8E43}" destId="{A40E58EC-493C-4310-A857-E6D93F3F5222}" srcOrd="0" destOrd="0" presId="urn:microsoft.com/office/officeart/2005/8/layout/cycle2"/>
    <dgm:cxn modelId="{69C48F83-E5B1-4779-BF63-F5C566508633}" type="presParOf" srcId="{0314D0E1-52B0-4957-906A-3DED1FE20AB6}" destId="{157C4094-4D48-4CA4-8FE3-C846251355F5}" srcOrd="8" destOrd="0" presId="urn:microsoft.com/office/officeart/2005/8/layout/cycle2"/>
    <dgm:cxn modelId="{617254FF-B975-479B-B5FA-4FE035E8119D}" type="presParOf" srcId="{0314D0E1-52B0-4957-906A-3DED1FE20AB6}" destId="{9347F69F-9A85-4B8D-9DE5-233494D2AF22}" srcOrd="9" destOrd="0" presId="urn:microsoft.com/office/officeart/2005/8/layout/cycle2"/>
    <dgm:cxn modelId="{69CA2B58-B08D-4C1A-AFC7-1C1421D79691}" type="presParOf" srcId="{9347F69F-9A85-4B8D-9DE5-233494D2AF22}" destId="{7EFAF541-47AF-4C3C-9CFE-C8EF5507A27C}" srcOrd="0" destOrd="0" presId="urn:microsoft.com/office/officeart/2005/8/layout/cycle2"/>
    <dgm:cxn modelId="{72A2B67B-BB8C-46D9-9D30-693CA23228A9}" type="presParOf" srcId="{0314D0E1-52B0-4957-906A-3DED1FE20AB6}" destId="{5E517795-696C-4478-8F77-24582CDCDF88}" srcOrd="10" destOrd="0" presId="urn:microsoft.com/office/officeart/2005/8/layout/cycle2"/>
    <dgm:cxn modelId="{9D74B049-79E9-40DB-B270-58DF54531FE5}" type="presParOf" srcId="{0314D0E1-52B0-4957-906A-3DED1FE20AB6}" destId="{48C0BD33-5F17-45F5-9058-93C87A9DDC1F}" srcOrd="11" destOrd="0" presId="urn:microsoft.com/office/officeart/2005/8/layout/cycle2"/>
    <dgm:cxn modelId="{43D5EF60-4DDB-4038-8B64-9588358148FC}" type="presParOf" srcId="{48C0BD33-5F17-45F5-9058-93C87A9DDC1F}" destId="{B1CEE351-6D90-4A79-B4AC-9CB274EA73AC}" srcOrd="0" destOrd="0" presId="urn:microsoft.com/office/officeart/2005/8/layout/cycle2"/>
    <dgm:cxn modelId="{20806A21-DD6B-4ABD-9270-E1B362EEFC26}" type="presParOf" srcId="{0314D0E1-52B0-4957-906A-3DED1FE20AB6}" destId="{23AEF67E-B71E-4BFF-8274-B39880BE8995}" srcOrd="12" destOrd="0" presId="urn:microsoft.com/office/officeart/2005/8/layout/cycle2"/>
    <dgm:cxn modelId="{E3543643-39F4-4AF1-A6DF-C768BA2C74BB}" type="presParOf" srcId="{0314D0E1-52B0-4957-906A-3DED1FE20AB6}" destId="{9851BCFD-6C0F-44EE-A90D-93FA72FAD479}" srcOrd="13" destOrd="0" presId="urn:microsoft.com/office/officeart/2005/8/layout/cycle2"/>
    <dgm:cxn modelId="{6EAF89B5-405D-4439-BABB-36999E1094B0}" type="presParOf" srcId="{9851BCFD-6C0F-44EE-A90D-93FA72FAD479}" destId="{587F2F10-0AE6-474A-8CEB-4172CC329BE3}" srcOrd="0" destOrd="0" presId="urn:microsoft.com/office/officeart/2005/8/layout/cycle2"/>
    <dgm:cxn modelId="{6E0EBF28-5801-4A60-A61D-D651415F6EC1}" type="presParOf" srcId="{0314D0E1-52B0-4957-906A-3DED1FE20AB6}" destId="{9336A9F3-2A53-40E9-8F9F-8E4C967B12C1}" srcOrd="14" destOrd="0" presId="urn:microsoft.com/office/officeart/2005/8/layout/cycle2"/>
    <dgm:cxn modelId="{988188D8-57CC-4E65-8DE7-AB5A0D97C7DD}" type="presParOf" srcId="{0314D0E1-52B0-4957-906A-3DED1FE20AB6}" destId="{80B8A62C-CA65-4F7F-B3E1-E47A6F8DBF28}" srcOrd="15" destOrd="0" presId="urn:microsoft.com/office/officeart/2005/8/layout/cycle2"/>
    <dgm:cxn modelId="{A4F3FE50-E4D4-4DFE-A118-C1C18FB5A5FC}" type="presParOf" srcId="{80B8A62C-CA65-4F7F-B3E1-E47A6F8DBF28}" destId="{D0FD9655-5A6C-4F6C-98FD-3B2D55F73505}" srcOrd="0" destOrd="0" presId="urn:microsoft.com/office/officeart/2005/8/layout/cycle2"/>
    <dgm:cxn modelId="{CC5E125E-4DF9-40FE-9C28-ED3330BC049B}" type="presParOf" srcId="{0314D0E1-52B0-4957-906A-3DED1FE20AB6}" destId="{AA562BA4-1362-4B11-BE12-AAF95F9B0655}" srcOrd="16" destOrd="0" presId="urn:microsoft.com/office/officeart/2005/8/layout/cycle2"/>
    <dgm:cxn modelId="{B81AD6FF-3378-429A-8856-E9537C096856}" type="presParOf" srcId="{0314D0E1-52B0-4957-906A-3DED1FE20AB6}" destId="{8F1FDF32-78E0-4ED1-970D-21E8309CEF5A}" srcOrd="17" destOrd="0" presId="urn:microsoft.com/office/officeart/2005/8/layout/cycle2"/>
    <dgm:cxn modelId="{A2C6D2D1-C0D5-47D1-8567-257BF257A7F4}" type="presParOf" srcId="{8F1FDF32-78E0-4ED1-970D-21E8309CEF5A}" destId="{56E98031-14F7-4FF4-8CB0-C66FC7DF872F}" srcOrd="0" destOrd="0" presId="urn:microsoft.com/office/officeart/2005/8/layout/cycle2"/>
    <dgm:cxn modelId="{53144AA9-5BF7-418D-9C8D-498CF8EFFD42}" type="presParOf" srcId="{0314D0E1-52B0-4957-906A-3DED1FE20AB6}" destId="{4C7C445F-E1C6-4F7A-821E-F674A343F87A}" srcOrd="18" destOrd="0" presId="urn:microsoft.com/office/officeart/2005/8/layout/cycle2"/>
    <dgm:cxn modelId="{04C59518-8EC5-4129-AF33-F85823E6F7D0}" type="presParOf" srcId="{0314D0E1-52B0-4957-906A-3DED1FE20AB6}" destId="{00C6A176-9825-494C-8FDD-D407F0EF76CB}" srcOrd="19" destOrd="0" presId="urn:microsoft.com/office/officeart/2005/8/layout/cycle2"/>
    <dgm:cxn modelId="{87635572-2D91-4B0E-A7FD-6A9EDBA7B4A3}" type="presParOf" srcId="{00C6A176-9825-494C-8FDD-D407F0EF76CB}" destId="{45B6EB01-0DBC-44EB-8631-D6071B6D84B4}" srcOrd="0" destOrd="0" presId="urn:microsoft.com/office/officeart/2005/8/layout/cycle2"/>
    <dgm:cxn modelId="{9B3A482D-7FC8-41D2-8F00-5555D2D94E77}" type="presParOf" srcId="{0314D0E1-52B0-4957-906A-3DED1FE20AB6}" destId="{9B0B857B-DA14-4DB2-9764-FAEA0033B125}" srcOrd="20" destOrd="0" presId="urn:microsoft.com/office/officeart/2005/8/layout/cycle2"/>
    <dgm:cxn modelId="{CBD21971-5FE5-4B3D-9490-EFDC512D4ADC}" type="presParOf" srcId="{0314D0E1-52B0-4957-906A-3DED1FE20AB6}" destId="{FEA59801-9672-4D23-8192-A605C46BE70F}" srcOrd="21" destOrd="0" presId="urn:microsoft.com/office/officeart/2005/8/layout/cycle2"/>
    <dgm:cxn modelId="{AFEFB6C8-53F0-448D-AABD-D84A0EA0EEE9}"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a:solidFill>
          <a:schemeClr val="accent2"/>
        </a:solidFill>
      </dgm:spPr>
      <dgm:t>
        <a:bodyPr/>
        <a:lstStyle/>
        <a:p>
          <a:r>
            <a:rPr lang="zh-CN" altLang="en-US" sz="1000" b="1" dirty="0" smtClean="0"/>
            <a:t>燃料动力费</a:t>
          </a:r>
          <a:endParaRPr lang="zh-CN" altLang="en-US" sz="1000" b="1"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dgm:spPr/>
      <dgm:t>
        <a:bodyPr/>
        <a:lstStyle/>
        <a:p>
          <a:r>
            <a:rPr lang="zh-CN" altLang="en-US" dirty="0" smtClean="0"/>
            <a:t>差旅费</a:t>
          </a:r>
          <a:r>
            <a:rPr lang="en-US" altLang="zh-CN" dirty="0" smtClean="0"/>
            <a:t>  </a:t>
          </a:r>
          <a:endParaRPr lang="zh-CN" altLang="en-US"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dgm:spPr/>
      <dgm:t>
        <a:bodyPr/>
        <a:lstStyle/>
        <a:p>
          <a:r>
            <a:rPr lang="zh-CN" altLang="en-US" dirty="0" smtClean="0"/>
            <a:t>其他费用</a:t>
          </a:r>
          <a:endParaRPr lang="zh-CN" altLang="en-US"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dgm:spPr/>
      <dgm:t>
        <a:bodyPr/>
        <a:lstStyle/>
        <a:p>
          <a:r>
            <a:rPr lang="zh-CN" altLang="en-US" dirty="0" smtClean="0"/>
            <a:t>会议费</a:t>
          </a:r>
          <a:endParaRPr lang="zh-CN" altLang="en-US"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dgm:spPr/>
      <dgm:t>
        <a:bodyPr/>
        <a:lstStyle/>
        <a:p>
          <a:r>
            <a:rPr lang="zh-CN" altLang="en-US" dirty="0" smtClean="0"/>
            <a:t>国际合作交流费</a:t>
          </a:r>
          <a:endParaRPr lang="zh-CN" altLang="en-US"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dgm:spPr/>
      <dgm:t>
        <a:bodyPr/>
        <a:lstStyle/>
        <a:p>
          <a:r>
            <a:rPr lang="zh-CN" altLang="en-US" dirty="0" smtClean="0"/>
            <a:t>劳务费</a:t>
          </a:r>
          <a:endParaRPr lang="zh-CN" altLang="en-US"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dgm:spPr/>
      <dgm:t>
        <a:bodyPr/>
        <a:lstStyle/>
        <a:p>
          <a:r>
            <a:rPr lang="zh-CN" altLang="en-US" dirty="0" smtClean="0"/>
            <a:t>专家咨询费</a:t>
          </a:r>
          <a:endParaRPr lang="zh-CN" altLang="en-US"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54250" custScaleY="45159">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108598" custScaleY="83464">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55317" custScaleY="46310">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55317" custScaleY="46310">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55317" custScaleY="46310">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8822FC44-C78E-4EA7-A1BD-9029BBE2D41B}" type="presOf" srcId="{1A1A6082-1BF4-40F3-BF25-E2599BB53BFA}" destId="{CF57B3AA-9D23-4D82-8D72-1A4D072C9CF6}" srcOrd="0"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7ECD0EE3-199D-46A3-95FF-889FD07C636D}" type="presOf" srcId="{B9C095A4-09B3-4524-A547-0933F3DD34F1}" destId="{5E517795-696C-4478-8F77-24582CDCDF88}" srcOrd="0" destOrd="0" presId="urn:microsoft.com/office/officeart/2005/8/layout/cycle2"/>
    <dgm:cxn modelId="{CD2CB377-F259-4A34-8856-0BE229715E77}" type="presOf" srcId="{A48FC8E7-DEF6-47DD-9FD7-A42C236E411D}" destId="{587F2F10-0AE6-474A-8CEB-4172CC329BE3}" srcOrd="1" destOrd="0" presId="urn:microsoft.com/office/officeart/2005/8/layout/cycle2"/>
    <dgm:cxn modelId="{261FBD14-0A2B-4220-8621-2C5A22448DAC}" type="presOf" srcId="{4D369322-CA3E-425E-AC5C-D9DEAEAC5E3C}" destId="{9B0B857B-DA14-4DB2-9764-FAEA0033B125}" srcOrd="0" destOrd="0" presId="urn:microsoft.com/office/officeart/2005/8/layout/cycle2"/>
    <dgm:cxn modelId="{06D274D8-EEB0-47A6-9076-FCCB2B4E0CBD}" type="presOf" srcId="{4AB5C3AA-E12D-487A-99B0-D76EFF1AB462}" destId="{B05F7D2C-D848-4E12-98C6-11FDD917CB93}" srcOrd="0" destOrd="0" presId="urn:microsoft.com/office/officeart/2005/8/layout/cycle2"/>
    <dgm:cxn modelId="{CFED1D31-85AC-4B4E-8760-22A3BD8F7453}" type="presOf" srcId="{275AFB5B-A843-4E45-89A6-0D625719EC18}" destId="{AEC3BFE0-4A84-4A7A-9D2A-077ED9AD905B}"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CDCA02CE-1199-4094-8E69-7AE07D291A96}" type="presOf" srcId="{91162D75-99DA-487C-940D-DAE8D13C4447}" destId="{157C4094-4D48-4CA4-8FE3-C846251355F5}" srcOrd="0" destOrd="0" presId="urn:microsoft.com/office/officeart/2005/8/layout/cycle2"/>
    <dgm:cxn modelId="{D5FFDDD0-11FA-48DD-BFC2-3DFCC6934EB9}" type="presOf" srcId="{C1163CC9-4ECF-4D31-855C-26A2B3DCC5C4}" destId="{4C7C445F-E1C6-4F7A-821E-F674A343F87A}" srcOrd="0" destOrd="0" presId="urn:microsoft.com/office/officeart/2005/8/layout/cycle2"/>
    <dgm:cxn modelId="{2292B87D-A5DB-4F1B-A7CC-6906BAED4975}" type="presOf" srcId="{E2CB592C-1787-44C9-8686-4F00CBFA5CB1}" destId="{00C6A176-9825-494C-8FDD-D407F0EF76CB}" srcOrd="0" destOrd="0" presId="urn:microsoft.com/office/officeart/2005/8/layout/cycle2"/>
    <dgm:cxn modelId="{FFA5AED4-D9A1-4C84-9D3D-544201E4C281}" type="presOf" srcId="{7630EC86-B5D2-4E6A-906C-EC36BCBD2F9B}" destId="{56E98031-14F7-4FF4-8CB0-C66FC7DF872F}" srcOrd="1" destOrd="0" presId="urn:microsoft.com/office/officeart/2005/8/layout/cycle2"/>
    <dgm:cxn modelId="{F8EE05B8-5071-4FE0-A948-F78492DE864D}" type="presOf" srcId="{36CA222D-1275-4473-881C-488A61C55835}" destId="{7EFAF541-47AF-4C3C-9CFE-C8EF5507A27C}" srcOrd="1" destOrd="0" presId="urn:microsoft.com/office/officeart/2005/8/layout/cycle2"/>
    <dgm:cxn modelId="{A1B43D4D-7DAB-4BAD-A467-32689CC0EDF8}" type="presOf" srcId="{DCEF1A9F-ED00-4444-8E7D-348279B7611D}" destId="{A40E58EC-493C-4310-A857-E6D93F3F5222}" srcOrd="1" destOrd="0" presId="urn:microsoft.com/office/officeart/2005/8/layout/cycle2"/>
    <dgm:cxn modelId="{8428DC21-B8B0-404B-913A-9996F8C2D19E}" type="presOf" srcId="{0E50710D-2BD5-4826-B9D1-2870E5EAFE57}" destId="{80B8A62C-CA65-4F7F-B3E1-E47A6F8DBF28}" srcOrd="0" destOrd="0" presId="urn:microsoft.com/office/officeart/2005/8/layout/cycle2"/>
    <dgm:cxn modelId="{19674CEF-6130-4330-8E33-05B399691932}" type="presOf" srcId="{B9D5BAA1-0541-416B-9895-A63D7BC366EC}" destId="{6B1C954F-37B9-4616-8073-9C538A00A4CD}"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65FE4817-7244-43CE-A3BB-0DA4F67B031C}" type="presOf" srcId="{315727AA-F8CB-4FAC-81F0-3D8F3BB1B56E}" destId="{1AFE4D34-A1BE-488A-9816-71CABDC842F3}" srcOrd="1" destOrd="0" presId="urn:microsoft.com/office/officeart/2005/8/layout/cycle2"/>
    <dgm:cxn modelId="{53B9FB64-34D0-4524-A6E8-E14260871A84}" type="presOf" srcId="{DCEF1A9F-ED00-4444-8E7D-348279B7611D}" destId="{BB722067-4A31-4156-9489-71E129EF8E43}" srcOrd="0" destOrd="0" presId="urn:microsoft.com/office/officeart/2005/8/layout/cycle2"/>
    <dgm:cxn modelId="{F12FB2B5-0E42-4D3A-8226-304285746154}" type="presOf" srcId="{315727AA-F8CB-4FAC-81F0-3D8F3BB1B56E}" destId="{FEA59801-9672-4D23-8192-A605C46BE70F}" srcOrd="0" destOrd="0" presId="urn:microsoft.com/office/officeart/2005/8/layout/cycle2"/>
    <dgm:cxn modelId="{661DD3B3-1DDA-4A82-97E2-BC35C024094B}" type="presOf" srcId="{D5290F46-685B-42D9-A176-CA6370062CB6}" destId="{EFE96AD8-1B36-480F-B9D4-5217307D065E}" srcOrd="1" destOrd="0" presId="urn:microsoft.com/office/officeart/2005/8/layout/cycle2"/>
    <dgm:cxn modelId="{166150D1-BEA5-49C9-8223-4D5BF11F5BDE}" type="presOf" srcId="{20D4FDE3-C196-41C9-8DB2-EF038981D495}" destId="{B1CEE351-6D90-4A79-B4AC-9CB274EA73AC}" srcOrd="1" destOrd="0" presId="urn:microsoft.com/office/officeart/2005/8/layout/cycle2"/>
    <dgm:cxn modelId="{B043F95D-FF18-42C8-953D-0CD99C233D59}" type="presOf" srcId="{C3EFBD6A-E3EC-4E4A-B112-75A580157B18}" destId="{9336A9F3-2A53-40E9-8F9F-8E4C967B12C1}" srcOrd="0" destOrd="0" presId="urn:microsoft.com/office/officeart/2005/8/layout/cycle2"/>
    <dgm:cxn modelId="{EB54CC6E-39C8-492D-B7A7-F98438B2E7C9}" type="presOf" srcId="{E8860603-B54B-464D-847C-F39AD96130A4}" destId="{83195273-D2D4-405D-A258-93AFE8C7BE7A}"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46A218BB-896A-4CE3-A370-4A34AB8FFF72}" type="presOf" srcId="{36CA222D-1275-4473-881C-488A61C55835}" destId="{9347F69F-9A85-4B8D-9DE5-233494D2AF22}" srcOrd="0" destOrd="0" presId="urn:microsoft.com/office/officeart/2005/8/layout/cycle2"/>
    <dgm:cxn modelId="{5C948911-528C-4886-9CE2-659B606CCA5C}" type="presOf" srcId="{20D4FDE3-C196-41C9-8DB2-EF038981D495}" destId="{48C0BD33-5F17-45F5-9058-93C87A9DDC1F}" srcOrd="0"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389C0F02-7239-4DFB-ABDC-4DBC0E73BAFA}" type="presOf" srcId="{7630EC86-B5D2-4E6A-906C-EC36BCBD2F9B}" destId="{8F1FDF32-78E0-4ED1-970D-21E8309CEF5A}"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64F88279-F3DC-429A-8BF4-4CF2941BAD8D}" type="presOf" srcId="{BF32EDA5-B1A7-4C67-9DEE-B0EFED1F5B2B}" destId="{798A8C5B-4663-468B-BDAB-5BC0D323EF4E}" srcOrd="0" destOrd="0" presId="urn:microsoft.com/office/officeart/2005/8/layout/cycle2"/>
    <dgm:cxn modelId="{A955A29C-0FAC-4F0B-9E41-F0CDE8531858}" type="presOf" srcId="{D5290F46-685B-42D9-A176-CA6370062CB6}" destId="{342C44B1-3496-43E6-B7A3-2E7DE47A0EB1}" srcOrd="0" destOrd="0" presId="urn:microsoft.com/office/officeart/2005/8/layout/cycle2"/>
    <dgm:cxn modelId="{3550BDD7-C8D7-400F-BDF8-62ED651597B8}" type="presOf" srcId="{6A94E007-355E-4DF8-8BC8-31F5F07906F8}" destId="{23AEF67E-B71E-4BFF-8274-B39880BE8995}" srcOrd="0" destOrd="0" presId="urn:microsoft.com/office/officeart/2005/8/layout/cycle2"/>
    <dgm:cxn modelId="{001DDEB0-699A-4A27-86CD-1AF1A2785962}" type="presOf" srcId="{FE0AF671-58B1-40F8-8B7A-983E652E7D40}" destId="{0314D0E1-52B0-4957-906A-3DED1FE20AB6}" srcOrd="0" destOrd="0" presId="urn:microsoft.com/office/officeart/2005/8/layout/cycle2"/>
    <dgm:cxn modelId="{A87FA088-548D-4C60-9ADF-B52F19EF188C}" type="presOf" srcId="{1A1A6082-1BF4-40F3-BF25-E2599BB53BFA}" destId="{2546BF50-5AD8-40D0-A01F-A649CF2327DE}" srcOrd="1" destOrd="0" presId="urn:microsoft.com/office/officeart/2005/8/layout/cycle2"/>
    <dgm:cxn modelId="{74479C9B-5AD0-4724-9D8D-CBD136560044}" type="presOf" srcId="{A48FC8E7-DEF6-47DD-9FD7-A42C236E411D}" destId="{9851BCFD-6C0F-44EE-A90D-93FA72FAD479}"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B0519FBD-9627-4A50-B077-1EBCD173643B}" type="presOf" srcId="{E2CB592C-1787-44C9-8686-4F00CBFA5CB1}" destId="{45B6EB01-0DBC-44EB-8631-D6071B6D84B4}" srcOrd="1" destOrd="0" presId="urn:microsoft.com/office/officeart/2005/8/layout/cycle2"/>
    <dgm:cxn modelId="{43A21F33-2303-4D44-9D9E-D77703573DF5}" type="presOf" srcId="{0E50710D-2BD5-4826-B9D1-2870E5EAFE57}" destId="{D0FD9655-5A6C-4F6C-98FD-3B2D55F73505}" srcOrd="1" destOrd="0" presId="urn:microsoft.com/office/officeart/2005/8/layout/cycle2"/>
    <dgm:cxn modelId="{9265E4F7-06C4-429F-97D7-BB2EE7B0B13B}" type="presOf" srcId="{BF32EDA5-B1A7-4C67-9DEE-B0EFED1F5B2B}" destId="{6C754846-F75A-4A89-A242-6671D8DDC5A9}" srcOrd="1"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EC905898-6AC9-4326-9E6D-FB48261C7794}" type="presOf" srcId="{EA880416-D651-45A6-84F2-C54398F7B105}" destId="{AA562BA4-1362-4B11-BE12-AAF95F9B0655}" srcOrd="0" destOrd="0" presId="urn:microsoft.com/office/officeart/2005/8/layout/cycle2"/>
    <dgm:cxn modelId="{929BDDA0-2302-44D4-8A86-27ECE3ED04C2}" type="presParOf" srcId="{0314D0E1-52B0-4957-906A-3DED1FE20AB6}" destId="{6B1C954F-37B9-4616-8073-9C538A00A4CD}" srcOrd="0" destOrd="0" presId="urn:microsoft.com/office/officeart/2005/8/layout/cycle2"/>
    <dgm:cxn modelId="{3DB87A84-0F1E-4B92-AB9D-FF61D562D7CE}" type="presParOf" srcId="{0314D0E1-52B0-4957-906A-3DED1FE20AB6}" destId="{CF57B3AA-9D23-4D82-8D72-1A4D072C9CF6}" srcOrd="1" destOrd="0" presId="urn:microsoft.com/office/officeart/2005/8/layout/cycle2"/>
    <dgm:cxn modelId="{B2A803F8-CB11-4652-952B-F5235586D698}" type="presParOf" srcId="{CF57B3AA-9D23-4D82-8D72-1A4D072C9CF6}" destId="{2546BF50-5AD8-40D0-A01F-A649CF2327DE}" srcOrd="0" destOrd="0" presId="urn:microsoft.com/office/officeart/2005/8/layout/cycle2"/>
    <dgm:cxn modelId="{9F208BC4-0E27-4F8A-91F5-EF9E20FF8594}" type="presParOf" srcId="{0314D0E1-52B0-4957-906A-3DED1FE20AB6}" destId="{83195273-D2D4-405D-A258-93AFE8C7BE7A}" srcOrd="2" destOrd="0" presId="urn:microsoft.com/office/officeart/2005/8/layout/cycle2"/>
    <dgm:cxn modelId="{AA0801A8-F169-4856-A74F-7D85AE670525}" type="presParOf" srcId="{0314D0E1-52B0-4957-906A-3DED1FE20AB6}" destId="{798A8C5B-4663-468B-BDAB-5BC0D323EF4E}" srcOrd="3" destOrd="0" presId="urn:microsoft.com/office/officeart/2005/8/layout/cycle2"/>
    <dgm:cxn modelId="{8B77609B-522C-44EA-BD9C-3C16FE821EAC}" type="presParOf" srcId="{798A8C5B-4663-468B-BDAB-5BC0D323EF4E}" destId="{6C754846-F75A-4A89-A242-6671D8DDC5A9}" srcOrd="0" destOrd="0" presId="urn:microsoft.com/office/officeart/2005/8/layout/cycle2"/>
    <dgm:cxn modelId="{62E09540-A060-4FB5-9783-A5C27D2D872F}" type="presParOf" srcId="{0314D0E1-52B0-4957-906A-3DED1FE20AB6}" destId="{B05F7D2C-D848-4E12-98C6-11FDD917CB93}" srcOrd="4" destOrd="0" presId="urn:microsoft.com/office/officeart/2005/8/layout/cycle2"/>
    <dgm:cxn modelId="{6F334E08-9D32-45A8-8F2E-C0FE6D31E531}" type="presParOf" srcId="{0314D0E1-52B0-4957-906A-3DED1FE20AB6}" destId="{342C44B1-3496-43E6-B7A3-2E7DE47A0EB1}" srcOrd="5" destOrd="0" presId="urn:microsoft.com/office/officeart/2005/8/layout/cycle2"/>
    <dgm:cxn modelId="{D66FD36B-071A-4930-B2DB-C6EF5579DA09}" type="presParOf" srcId="{342C44B1-3496-43E6-B7A3-2E7DE47A0EB1}" destId="{EFE96AD8-1B36-480F-B9D4-5217307D065E}" srcOrd="0" destOrd="0" presId="urn:microsoft.com/office/officeart/2005/8/layout/cycle2"/>
    <dgm:cxn modelId="{23DDBDDB-F2EE-4DFE-86DB-267886DA617F}" type="presParOf" srcId="{0314D0E1-52B0-4957-906A-3DED1FE20AB6}" destId="{AEC3BFE0-4A84-4A7A-9D2A-077ED9AD905B}" srcOrd="6" destOrd="0" presId="urn:microsoft.com/office/officeart/2005/8/layout/cycle2"/>
    <dgm:cxn modelId="{A90106D0-2F45-42BB-99F6-55894C35FC2A}" type="presParOf" srcId="{0314D0E1-52B0-4957-906A-3DED1FE20AB6}" destId="{BB722067-4A31-4156-9489-71E129EF8E43}" srcOrd="7" destOrd="0" presId="urn:microsoft.com/office/officeart/2005/8/layout/cycle2"/>
    <dgm:cxn modelId="{24F73DE1-91DB-4703-B842-F14DDEB0343F}" type="presParOf" srcId="{BB722067-4A31-4156-9489-71E129EF8E43}" destId="{A40E58EC-493C-4310-A857-E6D93F3F5222}" srcOrd="0" destOrd="0" presId="urn:microsoft.com/office/officeart/2005/8/layout/cycle2"/>
    <dgm:cxn modelId="{820707AE-0DF3-4370-9A3A-0B385FB36E56}" type="presParOf" srcId="{0314D0E1-52B0-4957-906A-3DED1FE20AB6}" destId="{157C4094-4D48-4CA4-8FE3-C846251355F5}" srcOrd="8" destOrd="0" presId="urn:microsoft.com/office/officeart/2005/8/layout/cycle2"/>
    <dgm:cxn modelId="{DE54F8BD-6BB9-4A32-9A15-42A00502DFA2}" type="presParOf" srcId="{0314D0E1-52B0-4957-906A-3DED1FE20AB6}" destId="{9347F69F-9A85-4B8D-9DE5-233494D2AF22}" srcOrd="9" destOrd="0" presId="urn:microsoft.com/office/officeart/2005/8/layout/cycle2"/>
    <dgm:cxn modelId="{175E8A1B-D25A-4E4F-92A2-32DBCB91AEF4}" type="presParOf" srcId="{9347F69F-9A85-4B8D-9DE5-233494D2AF22}" destId="{7EFAF541-47AF-4C3C-9CFE-C8EF5507A27C}" srcOrd="0" destOrd="0" presId="urn:microsoft.com/office/officeart/2005/8/layout/cycle2"/>
    <dgm:cxn modelId="{2DC28849-3E39-4F6F-BC53-E98726549F5A}" type="presParOf" srcId="{0314D0E1-52B0-4957-906A-3DED1FE20AB6}" destId="{5E517795-696C-4478-8F77-24582CDCDF88}" srcOrd="10" destOrd="0" presId="urn:microsoft.com/office/officeart/2005/8/layout/cycle2"/>
    <dgm:cxn modelId="{86514E22-1D2D-4681-8D8F-E5D27EBC7D0B}" type="presParOf" srcId="{0314D0E1-52B0-4957-906A-3DED1FE20AB6}" destId="{48C0BD33-5F17-45F5-9058-93C87A9DDC1F}" srcOrd="11" destOrd="0" presId="urn:microsoft.com/office/officeart/2005/8/layout/cycle2"/>
    <dgm:cxn modelId="{B362380B-7031-4094-9E82-838067D3F3DF}" type="presParOf" srcId="{48C0BD33-5F17-45F5-9058-93C87A9DDC1F}" destId="{B1CEE351-6D90-4A79-B4AC-9CB274EA73AC}" srcOrd="0" destOrd="0" presId="urn:microsoft.com/office/officeart/2005/8/layout/cycle2"/>
    <dgm:cxn modelId="{C5332EBB-7F16-4E13-9509-4E215A1F171A}" type="presParOf" srcId="{0314D0E1-52B0-4957-906A-3DED1FE20AB6}" destId="{23AEF67E-B71E-4BFF-8274-B39880BE8995}" srcOrd="12" destOrd="0" presId="urn:microsoft.com/office/officeart/2005/8/layout/cycle2"/>
    <dgm:cxn modelId="{86FA9674-0789-4D9A-8139-328AB6001523}" type="presParOf" srcId="{0314D0E1-52B0-4957-906A-3DED1FE20AB6}" destId="{9851BCFD-6C0F-44EE-A90D-93FA72FAD479}" srcOrd="13" destOrd="0" presId="urn:microsoft.com/office/officeart/2005/8/layout/cycle2"/>
    <dgm:cxn modelId="{333E55E7-3419-4ED6-BC68-62CB9013E669}" type="presParOf" srcId="{9851BCFD-6C0F-44EE-A90D-93FA72FAD479}" destId="{587F2F10-0AE6-474A-8CEB-4172CC329BE3}" srcOrd="0" destOrd="0" presId="urn:microsoft.com/office/officeart/2005/8/layout/cycle2"/>
    <dgm:cxn modelId="{42CABB6B-FBDF-4B7D-9AEF-1332DDED780E}" type="presParOf" srcId="{0314D0E1-52B0-4957-906A-3DED1FE20AB6}" destId="{9336A9F3-2A53-40E9-8F9F-8E4C967B12C1}" srcOrd="14" destOrd="0" presId="urn:microsoft.com/office/officeart/2005/8/layout/cycle2"/>
    <dgm:cxn modelId="{0052ACB3-BE88-47A4-8B2C-7BFE2EAB5B72}" type="presParOf" srcId="{0314D0E1-52B0-4957-906A-3DED1FE20AB6}" destId="{80B8A62C-CA65-4F7F-B3E1-E47A6F8DBF28}" srcOrd="15" destOrd="0" presId="urn:microsoft.com/office/officeart/2005/8/layout/cycle2"/>
    <dgm:cxn modelId="{1BAD2386-A544-4186-B890-1922E1EF7C4E}" type="presParOf" srcId="{80B8A62C-CA65-4F7F-B3E1-E47A6F8DBF28}" destId="{D0FD9655-5A6C-4F6C-98FD-3B2D55F73505}" srcOrd="0" destOrd="0" presId="urn:microsoft.com/office/officeart/2005/8/layout/cycle2"/>
    <dgm:cxn modelId="{280F949A-5D4B-4EA4-97AF-13AA7877F251}" type="presParOf" srcId="{0314D0E1-52B0-4957-906A-3DED1FE20AB6}" destId="{AA562BA4-1362-4B11-BE12-AAF95F9B0655}" srcOrd="16" destOrd="0" presId="urn:microsoft.com/office/officeart/2005/8/layout/cycle2"/>
    <dgm:cxn modelId="{552E44F0-86EA-4799-8D72-904638C0DC50}" type="presParOf" srcId="{0314D0E1-52B0-4957-906A-3DED1FE20AB6}" destId="{8F1FDF32-78E0-4ED1-970D-21E8309CEF5A}" srcOrd="17" destOrd="0" presId="urn:microsoft.com/office/officeart/2005/8/layout/cycle2"/>
    <dgm:cxn modelId="{E5A07056-8F17-44CE-9C35-D25C55717870}" type="presParOf" srcId="{8F1FDF32-78E0-4ED1-970D-21E8309CEF5A}" destId="{56E98031-14F7-4FF4-8CB0-C66FC7DF872F}" srcOrd="0" destOrd="0" presId="urn:microsoft.com/office/officeart/2005/8/layout/cycle2"/>
    <dgm:cxn modelId="{DD7454D7-F2FB-4186-B0EA-C64B51509782}" type="presParOf" srcId="{0314D0E1-52B0-4957-906A-3DED1FE20AB6}" destId="{4C7C445F-E1C6-4F7A-821E-F674A343F87A}" srcOrd="18" destOrd="0" presId="urn:microsoft.com/office/officeart/2005/8/layout/cycle2"/>
    <dgm:cxn modelId="{1BCD47AD-A02B-4770-BA34-E5F305240FF6}" type="presParOf" srcId="{0314D0E1-52B0-4957-906A-3DED1FE20AB6}" destId="{00C6A176-9825-494C-8FDD-D407F0EF76CB}" srcOrd="19" destOrd="0" presId="urn:microsoft.com/office/officeart/2005/8/layout/cycle2"/>
    <dgm:cxn modelId="{EF8128CA-0585-4F6E-A10C-0C9340856EA2}" type="presParOf" srcId="{00C6A176-9825-494C-8FDD-D407F0EF76CB}" destId="{45B6EB01-0DBC-44EB-8631-D6071B6D84B4}" srcOrd="0" destOrd="0" presId="urn:microsoft.com/office/officeart/2005/8/layout/cycle2"/>
    <dgm:cxn modelId="{CB3F1836-19D4-4EBF-93BB-273D9C70FFDF}" type="presParOf" srcId="{0314D0E1-52B0-4957-906A-3DED1FE20AB6}" destId="{9B0B857B-DA14-4DB2-9764-FAEA0033B125}" srcOrd="20" destOrd="0" presId="urn:microsoft.com/office/officeart/2005/8/layout/cycle2"/>
    <dgm:cxn modelId="{03D1747C-34C9-43B9-BC31-2DDD8D6059E5}" type="presParOf" srcId="{0314D0E1-52B0-4957-906A-3DED1FE20AB6}" destId="{FEA59801-9672-4D23-8192-A605C46BE70F}" srcOrd="21" destOrd="0" presId="urn:microsoft.com/office/officeart/2005/8/layout/cycle2"/>
    <dgm:cxn modelId="{4A6993D4-247C-4F78-9B8A-E3DD8E2C9C5B}"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dgm:t>
        <a:bodyPr/>
        <a:lstStyle/>
        <a:p>
          <a:r>
            <a:rPr lang="zh-CN" altLang="en-US" sz="1200" b="1" dirty="0" smtClean="0"/>
            <a:t>差旅费</a:t>
          </a:r>
          <a:r>
            <a:rPr lang="en-US" altLang="zh-CN" sz="800" dirty="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Ang="18889901" custScaleX="83572" custScaleY="67800" custRadScaleRad="100376" custRadScaleInc="66810">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X="11070" custLinFactY="345360" custLinFactNeighborX="100000" custLinFactNeighborY="4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439" custRadScaleInc="-15874">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200000" custLinFactNeighborX="11445" custLinFactNeighborY="289630"/>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2518" custRadScaleInc="-87112">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39958DC2-A6B4-4B0C-882B-6EF53B84E25E}" type="presOf" srcId="{BF32EDA5-B1A7-4C67-9DEE-B0EFED1F5B2B}" destId="{798A8C5B-4663-468B-BDAB-5BC0D323EF4E}" srcOrd="0" destOrd="0" presId="urn:microsoft.com/office/officeart/2005/8/layout/cycle2"/>
    <dgm:cxn modelId="{9DC35020-48E6-41BD-ACA4-6D7C560AEE0F}" type="presOf" srcId="{E2CB592C-1787-44C9-8686-4F00CBFA5CB1}" destId="{45B6EB01-0DBC-44EB-8631-D6071B6D84B4}"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6AC49A51-B18E-48C6-8B3C-930B21204B00}" type="presOf" srcId="{C3EFBD6A-E3EC-4E4A-B112-75A580157B18}" destId="{9336A9F3-2A53-40E9-8F9F-8E4C967B12C1}" srcOrd="0" destOrd="0" presId="urn:microsoft.com/office/officeart/2005/8/layout/cycle2"/>
    <dgm:cxn modelId="{CB0C4B20-C6CB-4C34-A916-9EBDF396BECD}" type="presOf" srcId="{E8860603-B54B-464D-847C-F39AD96130A4}" destId="{83195273-D2D4-405D-A258-93AFE8C7BE7A}" srcOrd="0" destOrd="0" presId="urn:microsoft.com/office/officeart/2005/8/layout/cycle2"/>
    <dgm:cxn modelId="{AC0DDC46-17AF-4782-A5F5-1402A50D7896}" type="presOf" srcId="{A48FC8E7-DEF6-47DD-9FD7-A42C236E411D}" destId="{587F2F10-0AE6-474A-8CEB-4172CC329BE3}" srcOrd="1" destOrd="0" presId="urn:microsoft.com/office/officeart/2005/8/layout/cycle2"/>
    <dgm:cxn modelId="{3829B937-33D8-42D5-931F-8A902A3A4836}" type="presOf" srcId="{36CA222D-1275-4473-881C-488A61C55835}" destId="{7EFAF541-47AF-4C3C-9CFE-C8EF5507A27C}" srcOrd="1" destOrd="0" presId="urn:microsoft.com/office/officeart/2005/8/layout/cycle2"/>
    <dgm:cxn modelId="{8F31894B-577C-4A85-B6CC-85BB4B6F5181}" type="presOf" srcId="{315727AA-F8CB-4FAC-81F0-3D8F3BB1B56E}" destId="{FEA59801-9672-4D23-8192-A605C46BE70F}" srcOrd="0" destOrd="0" presId="urn:microsoft.com/office/officeart/2005/8/layout/cycle2"/>
    <dgm:cxn modelId="{AFDAD5A9-DBBB-4F14-971F-EC7F197D06E6}" type="presOf" srcId="{4D369322-CA3E-425E-AC5C-D9DEAEAC5E3C}" destId="{9B0B857B-DA14-4DB2-9764-FAEA0033B125}" srcOrd="0" destOrd="0" presId="urn:microsoft.com/office/officeart/2005/8/layout/cycle2"/>
    <dgm:cxn modelId="{6330B280-88D7-4F9F-ADBF-7CDF73E18815}" type="presOf" srcId="{BF32EDA5-B1A7-4C67-9DEE-B0EFED1F5B2B}" destId="{6C754846-F75A-4A89-A242-6671D8DDC5A9}" srcOrd="1" destOrd="0" presId="urn:microsoft.com/office/officeart/2005/8/layout/cycle2"/>
    <dgm:cxn modelId="{EECEA23A-1A25-4D53-807C-0AE111831ACE}" type="presOf" srcId="{A48FC8E7-DEF6-47DD-9FD7-A42C236E411D}" destId="{9851BCFD-6C0F-44EE-A90D-93FA72FAD479}" srcOrd="0" destOrd="0" presId="urn:microsoft.com/office/officeart/2005/8/layout/cycle2"/>
    <dgm:cxn modelId="{C83FDE78-B84D-4C27-91C4-08A40BF526C9}" type="presOf" srcId="{36CA222D-1275-4473-881C-488A61C55835}" destId="{9347F69F-9A85-4B8D-9DE5-233494D2AF22}" srcOrd="0" destOrd="0" presId="urn:microsoft.com/office/officeart/2005/8/layout/cycle2"/>
    <dgm:cxn modelId="{AC974B3E-3690-45BC-B7E5-A0BAEF8A115B}" type="presOf" srcId="{D5290F46-685B-42D9-A176-CA6370062CB6}" destId="{EFE96AD8-1B36-480F-B9D4-5217307D065E}" srcOrd="1" destOrd="0" presId="urn:microsoft.com/office/officeart/2005/8/layout/cycle2"/>
    <dgm:cxn modelId="{4404E526-4435-40ED-BA5F-06A9B2E56942}" type="presOf" srcId="{0E50710D-2BD5-4826-B9D1-2870E5EAFE57}" destId="{80B8A62C-CA65-4F7F-B3E1-E47A6F8DBF28}"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86A4F36B-309A-46A0-AF35-3553EDD6DD90}" type="presOf" srcId="{4AB5C3AA-E12D-487A-99B0-D76EFF1AB462}" destId="{B05F7D2C-D848-4E12-98C6-11FDD917CB93}" srcOrd="0" destOrd="0" presId="urn:microsoft.com/office/officeart/2005/8/layout/cycle2"/>
    <dgm:cxn modelId="{836D7B74-86DB-4C98-9AF8-1B7B6A3B3647}" type="presOf" srcId="{B9D5BAA1-0541-416B-9895-A63D7BC366EC}" destId="{6B1C954F-37B9-4616-8073-9C538A00A4CD}" srcOrd="0" destOrd="0" presId="urn:microsoft.com/office/officeart/2005/8/layout/cycle2"/>
    <dgm:cxn modelId="{EA67FF61-5AA7-435B-889C-AE089C621BF0}" type="presOf" srcId="{20D4FDE3-C196-41C9-8DB2-EF038981D495}" destId="{48C0BD33-5F17-45F5-9058-93C87A9DDC1F}" srcOrd="0" destOrd="0" presId="urn:microsoft.com/office/officeart/2005/8/layout/cycle2"/>
    <dgm:cxn modelId="{4D25B905-4A20-4939-9C24-8F140050A91B}" type="presOf" srcId="{0E50710D-2BD5-4826-B9D1-2870E5EAFE57}" destId="{D0FD9655-5A6C-4F6C-98FD-3B2D55F73505}" srcOrd="1" destOrd="0" presId="urn:microsoft.com/office/officeart/2005/8/layout/cycle2"/>
    <dgm:cxn modelId="{2399A0C1-9832-48BE-8C4A-03AF99E52E32}" type="presOf" srcId="{FE0AF671-58B1-40F8-8B7A-983E652E7D40}" destId="{0314D0E1-52B0-4957-906A-3DED1FE20AB6}" srcOrd="0" destOrd="0" presId="urn:microsoft.com/office/officeart/2005/8/layout/cycle2"/>
    <dgm:cxn modelId="{B9668E6E-0CCB-4FEE-9874-7DA02CAEC914}" type="presOf" srcId="{DCEF1A9F-ED00-4444-8E7D-348279B7611D}" destId="{A40E58EC-493C-4310-A857-E6D93F3F5222}" srcOrd="1"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D335E785-4617-4C28-9F49-FE009A7307E1}" type="presOf" srcId="{275AFB5B-A843-4E45-89A6-0D625719EC18}" destId="{AEC3BFE0-4A84-4A7A-9D2A-077ED9AD905B}" srcOrd="0"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4F9BF611-6E0B-4E1D-AB09-9B2ABD4CD365}" type="presOf" srcId="{E2CB592C-1787-44C9-8686-4F00CBFA5CB1}" destId="{00C6A176-9825-494C-8FDD-D407F0EF76CB}" srcOrd="0" destOrd="0" presId="urn:microsoft.com/office/officeart/2005/8/layout/cycle2"/>
    <dgm:cxn modelId="{C30B0A78-46EB-4939-9869-EFD20B2BEBAA}" type="presOf" srcId="{20D4FDE3-C196-41C9-8DB2-EF038981D495}" destId="{B1CEE351-6D90-4A79-B4AC-9CB274EA73AC}" srcOrd="1" destOrd="0" presId="urn:microsoft.com/office/officeart/2005/8/layout/cycle2"/>
    <dgm:cxn modelId="{C64FE05B-9A9A-4E90-B71F-C18BAE94EB2B}" type="presOf" srcId="{315727AA-F8CB-4FAC-81F0-3D8F3BB1B56E}" destId="{1AFE4D34-A1BE-488A-9816-71CABDC842F3}" srcOrd="1" destOrd="0" presId="urn:microsoft.com/office/officeart/2005/8/layout/cycle2"/>
    <dgm:cxn modelId="{D36759C4-FC97-4BD9-A5B2-35C6756EC4A0}" type="presOf" srcId="{7630EC86-B5D2-4E6A-906C-EC36BCBD2F9B}" destId="{8F1FDF32-78E0-4ED1-970D-21E8309CEF5A}"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3E973BAD-5144-47AA-8154-6875F522CA32}" type="presOf" srcId="{7630EC86-B5D2-4E6A-906C-EC36BCBD2F9B}" destId="{56E98031-14F7-4FF4-8CB0-C66FC7DF872F}" srcOrd="1" destOrd="0" presId="urn:microsoft.com/office/officeart/2005/8/layout/cycle2"/>
    <dgm:cxn modelId="{AEB7EDE5-1D16-475A-B61C-CBF7CFCC2F0F}" srcId="{FE0AF671-58B1-40F8-8B7A-983E652E7D40}" destId="{C1163CC9-4ECF-4D31-855C-26A2B3DCC5C4}" srcOrd="9" destOrd="0" parTransId="{B8FEF4D3-4E21-4BAE-801E-7205F8E8EF77}" sibTransId="{E2CB592C-1787-44C9-8686-4F00CBFA5CB1}"/>
    <dgm:cxn modelId="{7994F207-E6AF-4524-8B7E-BD601AF486E4}" srcId="{FE0AF671-58B1-40F8-8B7A-983E652E7D40}" destId="{E8860603-B54B-464D-847C-F39AD96130A4}" srcOrd="1" destOrd="0" parTransId="{C8927E3E-FCD4-4AC8-B757-904A4C4DD804}" sibTransId="{BF32EDA5-B1A7-4C67-9DEE-B0EFED1F5B2B}"/>
    <dgm:cxn modelId="{A0BE5FF8-C303-484A-B5B5-F14FF34D6995}" type="presOf" srcId="{C1163CC9-4ECF-4D31-855C-26A2B3DCC5C4}" destId="{4C7C445F-E1C6-4F7A-821E-F674A343F87A}" srcOrd="0" destOrd="0" presId="urn:microsoft.com/office/officeart/2005/8/layout/cycle2"/>
    <dgm:cxn modelId="{2A78AEC7-686C-4DBB-8D1D-776AD77F55B0}" type="presOf" srcId="{6A94E007-355E-4DF8-8BC8-31F5F07906F8}" destId="{23AEF67E-B71E-4BFF-8274-B39880BE8995}" srcOrd="0"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AE6EAB47-CE62-4888-B03B-DC3B9B16600C}" type="presOf" srcId="{EA880416-D651-45A6-84F2-C54398F7B105}" destId="{AA562BA4-1362-4B11-BE12-AAF95F9B0655}" srcOrd="0" destOrd="0" presId="urn:microsoft.com/office/officeart/2005/8/layout/cycle2"/>
    <dgm:cxn modelId="{2ACEBF9F-A3F4-4B29-AC6F-FEF73697C5CD}" type="presOf" srcId="{1A1A6082-1BF4-40F3-BF25-E2599BB53BFA}" destId="{2546BF50-5AD8-40D0-A01F-A649CF2327DE}" srcOrd="1" destOrd="0" presId="urn:microsoft.com/office/officeart/2005/8/layout/cycle2"/>
    <dgm:cxn modelId="{1171E21A-3653-4E57-9334-C0E37EA24CFF}" type="presOf" srcId="{DCEF1A9F-ED00-4444-8E7D-348279B7611D}" destId="{BB722067-4A31-4156-9489-71E129EF8E43}" srcOrd="0" destOrd="0" presId="urn:microsoft.com/office/officeart/2005/8/layout/cycle2"/>
    <dgm:cxn modelId="{C77560A0-4DDF-4F0E-9055-9C934C8314B7}" type="presOf" srcId="{D5290F46-685B-42D9-A176-CA6370062CB6}" destId="{342C44B1-3496-43E6-B7A3-2E7DE47A0EB1}"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31351840-FB60-47E1-9DE4-6B9405A86604}" type="presOf" srcId="{91162D75-99DA-487C-940D-DAE8D13C4447}" destId="{157C4094-4D48-4CA4-8FE3-C846251355F5}" srcOrd="0" destOrd="0" presId="urn:microsoft.com/office/officeart/2005/8/layout/cycle2"/>
    <dgm:cxn modelId="{7E42AFFC-78F2-4DD7-8D2A-7C6421CF3674}" type="presOf" srcId="{1A1A6082-1BF4-40F3-BF25-E2599BB53BFA}" destId="{CF57B3AA-9D23-4D82-8D72-1A4D072C9CF6}"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13D06383-0311-4011-8E23-B3E9B3CC2EAD}" type="presOf" srcId="{B9C095A4-09B3-4524-A547-0933F3DD34F1}" destId="{5E517795-696C-4478-8F77-24582CDCDF88}" srcOrd="0" destOrd="0" presId="urn:microsoft.com/office/officeart/2005/8/layout/cycle2"/>
    <dgm:cxn modelId="{B56F08FA-34BB-4418-8ABB-E761653B564C}" type="presParOf" srcId="{0314D0E1-52B0-4957-906A-3DED1FE20AB6}" destId="{6B1C954F-37B9-4616-8073-9C538A00A4CD}" srcOrd="0" destOrd="0" presId="urn:microsoft.com/office/officeart/2005/8/layout/cycle2"/>
    <dgm:cxn modelId="{B24C079D-CD27-496E-ACB9-31FDE999B7C3}" type="presParOf" srcId="{0314D0E1-52B0-4957-906A-3DED1FE20AB6}" destId="{CF57B3AA-9D23-4D82-8D72-1A4D072C9CF6}" srcOrd="1" destOrd="0" presId="urn:microsoft.com/office/officeart/2005/8/layout/cycle2"/>
    <dgm:cxn modelId="{7F589FF2-077E-4517-9AEA-79517A74F735}" type="presParOf" srcId="{CF57B3AA-9D23-4D82-8D72-1A4D072C9CF6}" destId="{2546BF50-5AD8-40D0-A01F-A649CF2327DE}" srcOrd="0" destOrd="0" presId="urn:microsoft.com/office/officeart/2005/8/layout/cycle2"/>
    <dgm:cxn modelId="{54FD2BEC-DBED-4A8C-9A27-8894BFD93467}" type="presParOf" srcId="{0314D0E1-52B0-4957-906A-3DED1FE20AB6}" destId="{83195273-D2D4-405D-A258-93AFE8C7BE7A}" srcOrd="2" destOrd="0" presId="urn:microsoft.com/office/officeart/2005/8/layout/cycle2"/>
    <dgm:cxn modelId="{1ADFCA51-0519-4800-B50E-AAA002066FA6}" type="presParOf" srcId="{0314D0E1-52B0-4957-906A-3DED1FE20AB6}" destId="{798A8C5B-4663-468B-BDAB-5BC0D323EF4E}" srcOrd="3" destOrd="0" presId="urn:microsoft.com/office/officeart/2005/8/layout/cycle2"/>
    <dgm:cxn modelId="{7DD8E047-5AB9-455C-BCCB-32887FA4D6DE}" type="presParOf" srcId="{798A8C5B-4663-468B-BDAB-5BC0D323EF4E}" destId="{6C754846-F75A-4A89-A242-6671D8DDC5A9}" srcOrd="0" destOrd="0" presId="urn:microsoft.com/office/officeart/2005/8/layout/cycle2"/>
    <dgm:cxn modelId="{A38DD5FD-3012-4E92-AE8C-2298FC2B31FB}" type="presParOf" srcId="{0314D0E1-52B0-4957-906A-3DED1FE20AB6}" destId="{B05F7D2C-D848-4E12-98C6-11FDD917CB93}" srcOrd="4" destOrd="0" presId="urn:microsoft.com/office/officeart/2005/8/layout/cycle2"/>
    <dgm:cxn modelId="{1DB7C724-2B3D-40AF-B229-E15809CE2F07}" type="presParOf" srcId="{0314D0E1-52B0-4957-906A-3DED1FE20AB6}" destId="{342C44B1-3496-43E6-B7A3-2E7DE47A0EB1}" srcOrd="5" destOrd="0" presId="urn:microsoft.com/office/officeart/2005/8/layout/cycle2"/>
    <dgm:cxn modelId="{005D50E1-9807-459B-AEE2-6FDFF85E499A}" type="presParOf" srcId="{342C44B1-3496-43E6-B7A3-2E7DE47A0EB1}" destId="{EFE96AD8-1B36-480F-B9D4-5217307D065E}" srcOrd="0" destOrd="0" presId="urn:microsoft.com/office/officeart/2005/8/layout/cycle2"/>
    <dgm:cxn modelId="{5DCCFEF2-175B-451E-A1E7-0A6C43785DC1}" type="presParOf" srcId="{0314D0E1-52B0-4957-906A-3DED1FE20AB6}" destId="{AEC3BFE0-4A84-4A7A-9D2A-077ED9AD905B}" srcOrd="6" destOrd="0" presId="urn:microsoft.com/office/officeart/2005/8/layout/cycle2"/>
    <dgm:cxn modelId="{B27A6EDB-973E-493C-B173-3211FB84BE7C}" type="presParOf" srcId="{0314D0E1-52B0-4957-906A-3DED1FE20AB6}" destId="{BB722067-4A31-4156-9489-71E129EF8E43}" srcOrd="7" destOrd="0" presId="urn:microsoft.com/office/officeart/2005/8/layout/cycle2"/>
    <dgm:cxn modelId="{8F2524A2-975D-466E-869F-9447BC0621F3}" type="presParOf" srcId="{BB722067-4A31-4156-9489-71E129EF8E43}" destId="{A40E58EC-493C-4310-A857-E6D93F3F5222}" srcOrd="0" destOrd="0" presId="urn:microsoft.com/office/officeart/2005/8/layout/cycle2"/>
    <dgm:cxn modelId="{21A15756-BE8E-4BDB-A8E6-D2DA9CFA19F3}" type="presParOf" srcId="{0314D0E1-52B0-4957-906A-3DED1FE20AB6}" destId="{157C4094-4D48-4CA4-8FE3-C846251355F5}" srcOrd="8" destOrd="0" presId="urn:microsoft.com/office/officeart/2005/8/layout/cycle2"/>
    <dgm:cxn modelId="{8A83CE53-D3D6-4080-92BF-00DF9939FDB1}" type="presParOf" srcId="{0314D0E1-52B0-4957-906A-3DED1FE20AB6}" destId="{9347F69F-9A85-4B8D-9DE5-233494D2AF22}" srcOrd="9" destOrd="0" presId="urn:microsoft.com/office/officeart/2005/8/layout/cycle2"/>
    <dgm:cxn modelId="{71E7CE87-4C9A-417A-99EB-000628070750}" type="presParOf" srcId="{9347F69F-9A85-4B8D-9DE5-233494D2AF22}" destId="{7EFAF541-47AF-4C3C-9CFE-C8EF5507A27C}" srcOrd="0" destOrd="0" presId="urn:microsoft.com/office/officeart/2005/8/layout/cycle2"/>
    <dgm:cxn modelId="{8C1995CA-1D90-4525-B5C0-DC3CB2D7D7C2}" type="presParOf" srcId="{0314D0E1-52B0-4957-906A-3DED1FE20AB6}" destId="{5E517795-696C-4478-8F77-24582CDCDF88}" srcOrd="10" destOrd="0" presId="urn:microsoft.com/office/officeart/2005/8/layout/cycle2"/>
    <dgm:cxn modelId="{AAF08155-287F-4ABF-AD08-110641D4232B}" type="presParOf" srcId="{0314D0E1-52B0-4957-906A-3DED1FE20AB6}" destId="{48C0BD33-5F17-45F5-9058-93C87A9DDC1F}" srcOrd="11" destOrd="0" presId="urn:microsoft.com/office/officeart/2005/8/layout/cycle2"/>
    <dgm:cxn modelId="{B571F0FA-94BD-4C39-8DA3-FBBC7F430AA0}" type="presParOf" srcId="{48C0BD33-5F17-45F5-9058-93C87A9DDC1F}" destId="{B1CEE351-6D90-4A79-B4AC-9CB274EA73AC}" srcOrd="0" destOrd="0" presId="urn:microsoft.com/office/officeart/2005/8/layout/cycle2"/>
    <dgm:cxn modelId="{4ED005A3-6893-4510-9B6F-8813EC69A0A8}" type="presParOf" srcId="{0314D0E1-52B0-4957-906A-3DED1FE20AB6}" destId="{23AEF67E-B71E-4BFF-8274-B39880BE8995}" srcOrd="12" destOrd="0" presId="urn:microsoft.com/office/officeart/2005/8/layout/cycle2"/>
    <dgm:cxn modelId="{388B9B30-34F3-4E7D-A198-92DC357E25BB}" type="presParOf" srcId="{0314D0E1-52B0-4957-906A-3DED1FE20AB6}" destId="{9851BCFD-6C0F-44EE-A90D-93FA72FAD479}" srcOrd="13" destOrd="0" presId="urn:microsoft.com/office/officeart/2005/8/layout/cycle2"/>
    <dgm:cxn modelId="{9FAFB654-AD94-4429-9F99-3B921E1C00FA}" type="presParOf" srcId="{9851BCFD-6C0F-44EE-A90D-93FA72FAD479}" destId="{587F2F10-0AE6-474A-8CEB-4172CC329BE3}" srcOrd="0" destOrd="0" presId="urn:microsoft.com/office/officeart/2005/8/layout/cycle2"/>
    <dgm:cxn modelId="{2C919C2D-B674-482D-858B-A9CEFDA27492}" type="presParOf" srcId="{0314D0E1-52B0-4957-906A-3DED1FE20AB6}" destId="{9336A9F3-2A53-40E9-8F9F-8E4C967B12C1}" srcOrd="14" destOrd="0" presId="urn:microsoft.com/office/officeart/2005/8/layout/cycle2"/>
    <dgm:cxn modelId="{AE8D7BF6-E218-459F-9088-247937A77CC9}" type="presParOf" srcId="{0314D0E1-52B0-4957-906A-3DED1FE20AB6}" destId="{80B8A62C-CA65-4F7F-B3E1-E47A6F8DBF28}" srcOrd="15" destOrd="0" presId="urn:microsoft.com/office/officeart/2005/8/layout/cycle2"/>
    <dgm:cxn modelId="{B5B570AF-0C60-497C-8628-B4A8D07C5E3E}" type="presParOf" srcId="{80B8A62C-CA65-4F7F-B3E1-E47A6F8DBF28}" destId="{D0FD9655-5A6C-4F6C-98FD-3B2D55F73505}" srcOrd="0" destOrd="0" presId="urn:microsoft.com/office/officeart/2005/8/layout/cycle2"/>
    <dgm:cxn modelId="{AB5FDABF-3C76-4305-B337-B6E83E1ED7AE}" type="presParOf" srcId="{0314D0E1-52B0-4957-906A-3DED1FE20AB6}" destId="{AA562BA4-1362-4B11-BE12-AAF95F9B0655}" srcOrd="16" destOrd="0" presId="urn:microsoft.com/office/officeart/2005/8/layout/cycle2"/>
    <dgm:cxn modelId="{436A2A8F-5040-4F85-98F1-2372A45AE2CD}" type="presParOf" srcId="{0314D0E1-52B0-4957-906A-3DED1FE20AB6}" destId="{8F1FDF32-78E0-4ED1-970D-21E8309CEF5A}" srcOrd="17" destOrd="0" presId="urn:microsoft.com/office/officeart/2005/8/layout/cycle2"/>
    <dgm:cxn modelId="{C9829440-3FA1-4B12-A3D5-44A4172582D7}" type="presParOf" srcId="{8F1FDF32-78E0-4ED1-970D-21E8309CEF5A}" destId="{56E98031-14F7-4FF4-8CB0-C66FC7DF872F}" srcOrd="0" destOrd="0" presId="urn:microsoft.com/office/officeart/2005/8/layout/cycle2"/>
    <dgm:cxn modelId="{4967711B-F5E1-40E8-A65E-426E6BC6FC11}" type="presParOf" srcId="{0314D0E1-52B0-4957-906A-3DED1FE20AB6}" destId="{4C7C445F-E1C6-4F7A-821E-F674A343F87A}" srcOrd="18" destOrd="0" presId="urn:microsoft.com/office/officeart/2005/8/layout/cycle2"/>
    <dgm:cxn modelId="{3273C2F8-94EF-4E8C-8A2C-E46A69C52EB4}" type="presParOf" srcId="{0314D0E1-52B0-4957-906A-3DED1FE20AB6}" destId="{00C6A176-9825-494C-8FDD-D407F0EF76CB}" srcOrd="19" destOrd="0" presId="urn:microsoft.com/office/officeart/2005/8/layout/cycle2"/>
    <dgm:cxn modelId="{09752969-E96F-44D4-97DF-7CD2A4C45621}" type="presParOf" srcId="{00C6A176-9825-494C-8FDD-D407F0EF76CB}" destId="{45B6EB01-0DBC-44EB-8631-D6071B6D84B4}" srcOrd="0" destOrd="0" presId="urn:microsoft.com/office/officeart/2005/8/layout/cycle2"/>
    <dgm:cxn modelId="{3290C6E7-1342-49C6-8D32-061015876DA3}" type="presParOf" srcId="{0314D0E1-52B0-4957-906A-3DED1FE20AB6}" destId="{9B0B857B-DA14-4DB2-9764-FAEA0033B125}" srcOrd="20" destOrd="0" presId="urn:microsoft.com/office/officeart/2005/8/layout/cycle2"/>
    <dgm:cxn modelId="{5202622F-F43C-4BC4-8B04-08C502016F75}" type="presParOf" srcId="{0314D0E1-52B0-4957-906A-3DED1FE20AB6}" destId="{FEA59801-9672-4D23-8192-A605C46BE70F}" srcOrd="21" destOrd="0" presId="urn:microsoft.com/office/officeart/2005/8/layout/cycle2"/>
    <dgm:cxn modelId="{E2312AB2-96C4-461A-99A4-36F4342DDB40}"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DD22802A-6577-4820-9096-33B3A00E9485}" srcId="{FE0AF671-58B1-40F8-8B7A-983E652E7D40}" destId="{EA880416-D651-45A6-84F2-C54398F7B105}" srcOrd="8" destOrd="0" parTransId="{72BD0BD4-4B36-42CF-88B3-59B975F26DB9}" sibTransId="{7630EC86-B5D2-4E6A-906C-EC36BCBD2F9B}"/>
    <dgm:cxn modelId="{59F9D417-2150-43A3-BA08-19F05C5D147E}" type="presOf" srcId="{BF32EDA5-B1A7-4C67-9DEE-B0EFED1F5B2B}" destId="{798A8C5B-4663-468B-BDAB-5BC0D323EF4E}" srcOrd="0" destOrd="0" presId="urn:microsoft.com/office/officeart/2005/8/layout/cycle2"/>
    <dgm:cxn modelId="{2448CB3D-7252-49FD-B35F-85731B22306F}" type="presOf" srcId="{DCEF1A9F-ED00-4444-8E7D-348279B7611D}" destId="{A40E58EC-493C-4310-A857-E6D93F3F5222}" srcOrd="1" destOrd="0" presId="urn:microsoft.com/office/officeart/2005/8/layout/cycle2"/>
    <dgm:cxn modelId="{2A74CE3A-0B1F-49A1-9C03-4C7D2B896655}" type="presOf" srcId="{BF32EDA5-B1A7-4C67-9DEE-B0EFED1F5B2B}" destId="{6C754846-F75A-4A89-A242-6671D8DDC5A9}" srcOrd="1" destOrd="0" presId="urn:microsoft.com/office/officeart/2005/8/layout/cycle2"/>
    <dgm:cxn modelId="{3D04855A-380F-45BF-82A2-E95CB73D2CA5}" type="presOf" srcId="{B9C095A4-09B3-4524-A547-0933F3DD34F1}" destId="{5E517795-696C-4478-8F77-24582CDCDF88}" srcOrd="0" destOrd="0" presId="urn:microsoft.com/office/officeart/2005/8/layout/cycle2"/>
    <dgm:cxn modelId="{27E003DB-0FD7-47B9-BF10-123C007732CC}" type="presOf" srcId="{E2CB592C-1787-44C9-8686-4F00CBFA5CB1}" destId="{45B6EB01-0DBC-44EB-8631-D6071B6D84B4}" srcOrd="1"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580627BD-DC77-483B-B95F-F1DD1D0EA16D}" type="presOf" srcId="{0E50710D-2BD5-4826-B9D1-2870E5EAFE57}" destId="{80B8A62C-CA65-4F7F-B3E1-E47A6F8DBF28}" srcOrd="0" destOrd="0" presId="urn:microsoft.com/office/officeart/2005/8/layout/cycle2"/>
    <dgm:cxn modelId="{016836DC-451A-4D69-BD0A-4139FB6A2E20}" type="presOf" srcId="{E8860603-B54B-464D-847C-F39AD96130A4}" destId="{83195273-D2D4-405D-A258-93AFE8C7BE7A}" srcOrd="0" destOrd="0" presId="urn:microsoft.com/office/officeart/2005/8/layout/cycle2"/>
    <dgm:cxn modelId="{C83913C5-8ECE-4B5F-A1EF-52A6F36839C4}" type="presOf" srcId="{A48FC8E7-DEF6-47DD-9FD7-A42C236E411D}" destId="{9851BCFD-6C0F-44EE-A90D-93FA72FAD479}" srcOrd="0" destOrd="0" presId="urn:microsoft.com/office/officeart/2005/8/layout/cycle2"/>
    <dgm:cxn modelId="{9CEC18D6-3B2D-487B-9E21-27333191263B}" type="presOf" srcId="{36CA222D-1275-4473-881C-488A61C55835}" destId="{9347F69F-9A85-4B8D-9DE5-233494D2AF22}" srcOrd="0" destOrd="0" presId="urn:microsoft.com/office/officeart/2005/8/layout/cycle2"/>
    <dgm:cxn modelId="{C970813B-3FF1-449D-B82A-2AFEB2366130}" type="presOf" srcId="{20D4FDE3-C196-41C9-8DB2-EF038981D495}" destId="{48C0BD33-5F17-45F5-9058-93C87A9DDC1F}" srcOrd="0" destOrd="0" presId="urn:microsoft.com/office/officeart/2005/8/layout/cycle2"/>
    <dgm:cxn modelId="{8C6CA1DA-23B3-429F-8632-D5E790F9BF10}" type="presOf" srcId="{7630EC86-B5D2-4E6A-906C-EC36BCBD2F9B}" destId="{8F1FDF32-78E0-4ED1-970D-21E8309CEF5A}" srcOrd="0" destOrd="0" presId="urn:microsoft.com/office/officeart/2005/8/layout/cycle2"/>
    <dgm:cxn modelId="{DC681ADE-B9BC-44A4-9C0F-EAC2A360F12A}" type="presOf" srcId="{275AFB5B-A843-4E45-89A6-0D625719EC18}" destId="{AEC3BFE0-4A84-4A7A-9D2A-077ED9AD905B}" srcOrd="0" destOrd="0" presId="urn:microsoft.com/office/officeart/2005/8/layout/cycle2"/>
    <dgm:cxn modelId="{79EB2C72-9EF4-4038-B971-8D2991E9A298}" type="presOf" srcId="{1A1A6082-1BF4-40F3-BF25-E2599BB53BFA}" destId="{CF57B3AA-9D23-4D82-8D72-1A4D072C9CF6}" srcOrd="0" destOrd="0" presId="urn:microsoft.com/office/officeart/2005/8/layout/cycle2"/>
    <dgm:cxn modelId="{47BE614C-A63A-4AEB-825A-D793136DAA2C}" type="presOf" srcId="{EA880416-D651-45A6-84F2-C54398F7B105}" destId="{AA562BA4-1362-4B11-BE12-AAF95F9B0655}" srcOrd="0" destOrd="0" presId="urn:microsoft.com/office/officeart/2005/8/layout/cycle2"/>
    <dgm:cxn modelId="{DFBEE9C5-5CAC-40FE-9B92-A2367D78C268}" type="presOf" srcId="{D5290F46-685B-42D9-A176-CA6370062CB6}" destId="{342C44B1-3496-43E6-B7A3-2E7DE47A0EB1}" srcOrd="0" destOrd="0" presId="urn:microsoft.com/office/officeart/2005/8/layout/cycle2"/>
    <dgm:cxn modelId="{C64561FC-0CDC-4679-85A7-14B73D389D2B}" type="presOf" srcId="{B9D5BAA1-0541-416B-9895-A63D7BC366EC}" destId="{6B1C954F-37B9-4616-8073-9C538A00A4CD}"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028C6AD1-145D-45D5-BFD4-BD7AABA02D9B}" type="presOf" srcId="{C1163CC9-4ECF-4D31-855C-26A2B3DCC5C4}" destId="{4C7C445F-E1C6-4F7A-821E-F674A343F87A}" srcOrd="0" destOrd="0" presId="urn:microsoft.com/office/officeart/2005/8/layout/cycle2"/>
    <dgm:cxn modelId="{CBD3B23B-F26B-4D9C-92E7-97DF7433935E}" type="presOf" srcId="{0E50710D-2BD5-4826-B9D1-2870E5EAFE57}" destId="{D0FD9655-5A6C-4F6C-98FD-3B2D55F73505}" srcOrd="1" destOrd="0" presId="urn:microsoft.com/office/officeart/2005/8/layout/cycle2"/>
    <dgm:cxn modelId="{C453EFB5-21B8-4DB0-B688-5FE3A729BD0D}" srcId="{FE0AF671-58B1-40F8-8B7A-983E652E7D40}" destId="{B9C095A4-09B3-4524-A547-0933F3DD34F1}" srcOrd="5" destOrd="0" parTransId="{0988FE12-EB7E-4D50-B71D-E1CCF85FF4CB}" sibTransId="{20D4FDE3-C196-41C9-8DB2-EF038981D495}"/>
    <dgm:cxn modelId="{E3DFE70B-80E2-446A-9CBE-B82340F1DB8E}" type="presOf" srcId="{7630EC86-B5D2-4E6A-906C-EC36BCBD2F9B}" destId="{56E98031-14F7-4FF4-8CB0-C66FC7DF872F}" srcOrd="1" destOrd="0" presId="urn:microsoft.com/office/officeart/2005/8/layout/cycle2"/>
    <dgm:cxn modelId="{0F81E552-E23E-44F4-9D13-513D8E31723A}" type="presOf" srcId="{91162D75-99DA-487C-940D-DAE8D13C4447}" destId="{157C4094-4D48-4CA4-8FE3-C846251355F5}" srcOrd="0" destOrd="0" presId="urn:microsoft.com/office/officeart/2005/8/layout/cycle2"/>
    <dgm:cxn modelId="{71C8777C-5ADC-485E-BE69-EEDC8F3654A4}" type="presOf" srcId="{6A94E007-355E-4DF8-8BC8-31F5F07906F8}" destId="{23AEF67E-B71E-4BFF-8274-B39880BE8995}" srcOrd="0" destOrd="0" presId="urn:microsoft.com/office/officeart/2005/8/layout/cycle2"/>
    <dgm:cxn modelId="{F0F57B3F-B6B4-42DF-A30C-5DE59CB7E942}" type="presOf" srcId="{D5290F46-685B-42D9-A176-CA6370062CB6}" destId="{EFE96AD8-1B36-480F-B9D4-5217307D065E}" srcOrd="1"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47D5CFB4-4A3E-45EB-BDC4-277D1CDC53F1}" type="presOf" srcId="{4AB5C3AA-E12D-487A-99B0-D76EFF1AB462}" destId="{B05F7D2C-D848-4E12-98C6-11FDD917CB93}" srcOrd="0" destOrd="0" presId="urn:microsoft.com/office/officeart/2005/8/layout/cycle2"/>
    <dgm:cxn modelId="{7BCD7B11-F31A-4C7F-97B1-44AC0F60D3B2}" type="presOf" srcId="{315727AA-F8CB-4FAC-81F0-3D8F3BB1B56E}" destId="{FEA59801-9672-4D23-8192-A605C46BE70F}" srcOrd="0" destOrd="0" presId="urn:microsoft.com/office/officeart/2005/8/layout/cycle2"/>
    <dgm:cxn modelId="{AEB7EDE5-1D16-475A-B61C-CBF7CFCC2F0F}" srcId="{FE0AF671-58B1-40F8-8B7A-983E652E7D40}" destId="{C1163CC9-4ECF-4D31-855C-26A2B3DCC5C4}" srcOrd="9" destOrd="0" parTransId="{B8FEF4D3-4E21-4BAE-801E-7205F8E8EF77}" sibTransId="{E2CB592C-1787-44C9-8686-4F00CBFA5CB1}"/>
    <dgm:cxn modelId="{1EBE7F14-6FE4-428E-8BF6-C19A3DCFB294}" type="presOf" srcId="{1A1A6082-1BF4-40F3-BF25-E2599BB53BFA}" destId="{2546BF50-5AD8-40D0-A01F-A649CF2327DE}" srcOrd="1" destOrd="0" presId="urn:microsoft.com/office/officeart/2005/8/layout/cycle2"/>
    <dgm:cxn modelId="{F85D74D8-AFCF-4D21-BFC4-52EB938037DE}" type="presOf" srcId="{20D4FDE3-C196-41C9-8DB2-EF038981D495}" destId="{B1CEE351-6D90-4A79-B4AC-9CB274EA73AC}" srcOrd="1" destOrd="0" presId="urn:microsoft.com/office/officeart/2005/8/layout/cycle2"/>
    <dgm:cxn modelId="{DB92AD58-E719-45AF-B671-762B951BFFDA}" type="presOf" srcId="{36CA222D-1275-4473-881C-488A61C55835}" destId="{7EFAF541-47AF-4C3C-9CFE-C8EF5507A27C}"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18C3D8FE-BE3A-4CDB-AEFC-C76C7D72DADC}" srcId="{FE0AF671-58B1-40F8-8B7A-983E652E7D40}" destId="{4D369322-CA3E-425E-AC5C-D9DEAEAC5E3C}" srcOrd="10" destOrd="0" parTransId="{2F3F6BF3-18D4-4D23-9378-A2C8486CF639}" sibTransId="{315727AA-F8CB-4FAC-81F0-3D8F3BB1B56E}"/>
    <dgm:cxn modelId="{82DBB0C7-DD24-4DEC-AEC0-1F729F93D466}" type="presOf" srcId="{DCEF1A9F-ED00-4444-8E7D-348279B7611D}" destId="{BB722067-4A31-4156-9489-71E129EF8E43}" srcOrd="0" destOrd="0" presId="urn:microsoft.com/office/officeart/2005/8/layout/cycle2"/>
    <dgm:cxn modelId="{C16D5726-FDAB-4900-970E-89D782704BAE}" type="presOf" srcId="{E2CB592C-1787-44C9-8686-4F00CBFA5CB1}" destId="{00C6A176-9825-494C-8FDD-D407F0EF76CB}" srcOrd="0" destOrd="0" presId="urn:microsoft.com/office/officeart/2005/8/layout/cycle2"/>
    <dgm:cxn modelId="{A889CEF9-BDE5-42F4-B2E9-08AA977F58E8}" type="presOf" srcId="{4D369322-CA3E-425E-AC5C-D9DEAEAC5E3C}" destId="{9B0B857B-DA14-4DB2-9764-FAEA0033B125}" srcOrd="0" destOrd="0" presId="urn:microsoft.com/office/officeart/2005/8/layout/cycle2"/>
    <dgm:cxn modelId="{E0286F51-A47A-4D01-9F4F-F79A921CEECC}" type="presOf" srcId="{FE0AF671-58B1-40F8-8B7A-983E652E7D40}" destId="{0314D0E1-52B0-4957-906A-3DED1FE20AB6}" srcOrd="0" destOrd="0" presId="urn:microsoft.com/office/officeart/2005/8/layout/cycle2"/>
    <dgm:cxn modelId="{5DAFF52D-C2A6-4241-A273-E7A9FD0924CD}" type="presOf" srcId="{315727AA-F8CB-4FAC-81F0-3D8F3BB1B56E}" destId="{1AFE4D34-A1BE-488A-9816-71CABDC842F3}" srcOrd="1"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0262FE51-EB8B-45BA-A400-F19433CEA50D}" type="presOf" srcId="{C3EFBD6A-E3EC-4E4A-B112-75A580157B18}" destId="{9336A9F3-2A53-40E9-8F9F-8E4C967B12C1}" srcOrd="0"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D9D4E128-B456-4960-BA90-D88EB794419F}" type="presOf" srcId="{A48FC8E7-DEF6-47DD-9FD7-A42C236E411D}" destId="{587F2F10-0AE6-474A-8CEB-4172CC329BE3}" srcOrd="1" destOrd="0" presId="urn:microsoft.com/office/officeart/2005/8/layout/cycle2"/>
    <dgm:cxn modelId="{88EBFA0F-8634-4498-8D2D-604F24F00886}" type="presParOf" srcId="{0314D0E1-52B0-4957-906A-3DED1FE20AB6}" destId="{6B1C954F-37B9-4616-8073-9C538A00A4CD}" srcOrd="0" destOrd="0" presId="urn:microsoft.com/office/officeart/2005/8/layout/cycle2"/>
    <dgm:cxn modelId="{77C0AF38-C7A5-4E0F-8941-FDAF70A28E25}" type="presParOf" srcId="{0314D0E1-52B0-4957-906A-3DED1FE20AB6}" destId="{CF57B3AA-9D23-4D82-8D72-1A4D072C9CF6}" srcOrd="1" destOrd="0" presId="urn:microsoft.com/office/officeart/2005/8/layout/cycle2"/>
    <dgm:cxn modelId="{3375A12B-A621-4EA1-9702-D3411C701FA6}" type="presParOf" srcId="{CF57B3AA-9D23-4D82-8D72-1A4D072C9CF6}" destId="{2546BF50-5AD8-40D0-A01F-A649CF2327DE}" srcOrd="0" destOrd="0" presId="urn:microsoft.com/office/officeart/2005/8/layout/cycle2"/>
    <dgm:cxn modelId="{1C09C19A-3DD4-441F-9493-81B7948BBAE1}" type="presParOf" srcId="{0314D0E1-52B0-4957-906A-3DED1FE20AB6}" destId="{83195273-D2D4-405D-A258-93AFE8C7BE7A}" srcOrd="2" destOrd="0" presId="urn:microsoft.com/office/officeart/2005/8/layout/cycle2"/>
    <dgm:cxn modelId="{F1571A3F-ADEA-4C39-ACBF-56C1A302701C}" type="presParOf" srcId="{0314D0E1-52B0-4957-906A-3DED1FE20AB6}" destId="{798A8C5B-4663-468B-BDAB-5BC0D323EF4E}" srcOrd="3" destOrd="0" presId="urn:microsoft.com/office/officeart/2005/8/layout/cycle2"/>
    <dgm:cxn modelId="{CAC2DD34-6B07-4122-9C09-DEDDCE5C1590}" type="presParOf" srcId="{798A8C5B-4663-468B-BDAB-5BC0D323EF4E}" destId="{6C754846-F75A-4A89-A242-6671D8DDC5A9}" srcOrd="0" destOrd="0" presId="urn:microsoft.com/office/officeart/2005/8/layout/cycle2"/>
    <dgm:cxn modelId="{E39787AA-9928-4AD1-BE52-1F7C6F289EB5}" type="presParOf" srcId="{0314D0E1-52B0-4957-906A-3DED1FE20AB6}" destId="{B05F7D2C-D848-4E12-98C6-11FDD917CB93}" srcOrd="4" destOrd="0" presId="urn:microsoft.com/office/officeart/2005/8/layout/cycle2"/>
    <dgm:cxn modelId="{46E11AB2-F265-45B7-82B7-A84ACDE91CE3}" type="presParOf" srcId="{0314D0E1-52B0-4957-906A-3DED1FE20AB6}" destId="{342C44B1-3496-43E6-B7A3-2E7DE47A0EB1}" srcOrd="5" destOrd="0" presId="urn:microsoft.com/office/officeart/2005/8/layout/cycle2"/>
    <dgm:cxn modelId="{19D099D7-EAC9-43D9-BC88-11439CBD0F93}" type="presParOf" srcId="{342C44B1-3496-43E6-B7A3-2E7DE47A0EB1}" destId="{EFE96AD8-1B36-480F-B9D4-5217307D065E}" srcOrd="0" destOrd="0" presId="urn:microsoft.com/office/officeart/2005/8/layout/cycle2"/>
    <dgm:cxn modelId="{45F790F8-2B15-4F78-AE4A-078C7B7FB6EC}" type="presParOf" srcId="{0314D0E1-52B0-4957-906A-3DED1FE20AB6}" destId="{AEC3BFE0-4A84-4A7A-9D2A-077ED9AD905B}" srcOrd="6" destOrd="0" presId="urn:microsoft.com/office/officeart/2005/8/layout/cycle2"/>
    <dgm:cxn modelId="{EF87AB4D-AD79-4892-BBF2-1C8990D8BA8B}" type="presParOf" srcId="{0314D0E1-52B0-4957-906A-3DED1FE20AB6}" destId="{BB722067-4A31-4156-9489-71E129EF8E43}" srcOrd="7" destOrd="0" presId="urn:microsoft.com/office/officeart/2005/8/layout/cycle2"/>
    <dgm:cxn modelId="{79FC1088-9087-4C3B-92DD-E7182E276A25}" type="presParOf" srcId="{BB722067-4A31-4156-9489-71E129EF8E43}" destId="{A40E58EC-493C-4310-A857-E6D93F3F5222}" srcOrd="0" destOrd="0" presId="urn:microsoft.com/office/officeart/2005/8/layout/cycle2"/>
    <dgm:cxn modelId="{1D944F29-018B-48A3-9838-6F28AF42B22D}" type="presParOf" srcId="{0314D0E1-52B0-4957-906A-3DED1FE20AB6}" destId="{157C4094-4D48-4CA4-8FE3-C846251355F5}" srcOrd="8" destOrd="0" presId="urn:microsoft.com/office/officeart/2005/8/layout/cycle2"/>
    <dgm:cxn modelId="{3D44ED9A-69D6-4181-9285-1A7AF81C219F}" type="presParOf" srcId="{0314D0E1-52B0-4957-906A-3DED1FE20AB6}" destId="{9347F69F-9A85-4B8D-9DE5-233494D2AF22}" srcOrd="9" destOrd="0" presId="urn:microsoft.com/office/officeart/2005/8/layout/cycle2"/>
    <dgm:cxn modelId="{BE98D32F-FE8E-443F-AA15-74A2589A16CC}" type="presParOf" srcId="{9347F69F-9A85-4B8D-9DE5-233494D2AF22}" destId="{7EFAF541-47AF-4C3C-9CFE-C8EF5507A27C}" srcOrd="0" destOrd="0" presId="urn:microsoft.com/office/officeart/2005/8/layout/cycle2"/>
    <dgm:cxn modelId="{2C1A9B4F-7553-4060-90DD-72EFE05A2281}" type="presParOf" srcId="{0314D0E1-52B0-4957-906A-3DED1FE20AB6}" destId="{5E517795-696C-4478-8F77-24582CDCDF88}" srcOrd="10" destOrd="0" presId="urn:microsoft.com/office/officeart/2005/8/layout/cycle2"/>
    <dgm:cxn modelId="{C2FD7105-6314-483F-9AB3-E5EB35833578}" type="presParOf" srcId="{0314D0E1-52B0-4957-906A-3DED1FE20AB6}" destId="{48C0BD33-5F17-45F5-9058-93C87A9DDC1F}" srcOrd="11" destOrd="0" presId="urn:microsoft.com/office/officeart/2005/8/layout/cycle2"/>
    <dgm:cxn modelId="{A50F39B8-5A48-4A6C-8DF8-6B59149975C5}" type="presParOf" srcId="{48C0BD33-5F17-45F5-9058-93C87A9DDC1F}" destId="{B1CEE351-6D90-4A79-B4AC-9CB274EA73AC}" srcOrd="0" destOrd="0" presId="urn:microsoft.com/office/officeart/2005/8/layout/cycle2"/>
    <dgm:cxn modelId="{DD04A6C7-119A-4141-9364-3602C78CEF76}" type="presParOf" srcId="{0314D0E1-52B0-4957-906A-3DED1FE20AB6}" destId="{23AEF67E-B71E-4BFF-8274-B39880BE8995}" srcOrd="12" destOrd="0" presId="urn:microsoft.com/office/officeart/2005/8/layout/cycle2"/>
    <dgm:cxn modelId="{84995BC9-BF75-4A42-A823-0A6DD1D8EF9D}" type="presParOf" srcId="{0314D0E1-52B0-4957-906A-3DED1FE20AB6}" destId="{9851BCFD-6C0F-44EE-A90D-93FA72FAD479}" srcOrd="13" destOrd="0" presId="urn:microsoft.com/office/officeart/2005/8/layout/cycle2"/>
    <dgm:cxn modelId="{41979172-3FD5-463A-9407-D97E067815BD}" type="presParOf" srcId="{9851BCFD-6C0F-44EE-A90D-93FA72FAD479}" destId="{587F2F10-0AE6-474A-8CEB-4172CC329BE3}" srcOrd="0" destOrd="0" presId="urn:microsoft.com/office/officeart/2005/8/layout/cycle2"/>
    <dgm:cxn modelId="{4BC78DEA-D7C9-4720-95D9-AC202E1F4A41}" type="presParOf" srcId="{0314D0E1-52B0-4957-906A-3DED1FE20AB6}" destId="{9336A9F3-2A53-40E9-8F9F-8E4C967B12C1}" srcOrd="14" destOrd="0" presId="urn:microsoft.com/office/officeart/2005/8/layout/cycle2"/>
    <dgm:cxn modelId="{B3628394-6ACE-4551-A783-EB7E38BBD564}" type="presParOf" srcId="{0314D0E1-52B0-4957-906A-3DED1FE20AB6}" destId="{80B8A62C-CA65-4F7F-B3E1-E47A6F8DBF28}" srcOrd="15" destOrd="0" presId="urn:microsoft.com/office/officeart/2005/8/layout/cycle2"/>
    <dgm:cxn modelId="{38807C63-1520-40FD-B7CE-8470E89F55AE}" type="presParOf" srcId="{80B8A62C-CA65-4F7F-B3E1-E47A6F8DBF28}" destId="{D0FD9655-5A6C-4F6C-98FD-3B2D55F73505}" srcOrd="0" destOrd="0" presId="urn:microsoft.com/office/officeart/2005/8/layout/cycle2"/>
    <dgm:cxn modelId="{DCC61064-52DA-47BE-81E9-1EC69497A686}" type="presParOf" srcId="{0314D0E1-52B0-4957-906A-3DED1FE20AB6}" destId="{AA562BA4-1362-4B11-BE12-AAF95F9B0655}" srcOrd="16" destOrd="0" presId="urn:microsoft.com/office/officeart/2005/8/layout/cycle2"/>
    <dgm:cxn modelId="{7EA34F79-C559-4B2B-BA9F-FBF099B5301D}" type="presParOf" srcId="{0314D0E1-52B0-4957-906A-3DED1FE20AB6}" destId="{8F1FDF32-78E0-4ED1-970D-21E8309CEF5A}" srcOrd="17" destOrd="0" presId="urn:microsoft.com/office/officeart/2005/8/layout/cycle2"/>
    <dgm:cxn modelId="{CAAD95A9-7183-4DA3-91E7-3152686A9445}" type="presParOf" srcId="{8F1FDF32-78E0-4ED1-970D-21E8309CEF5A}" destId="{56E98031-14F7-4FF4-8CB0-C66FC7DF872F}" srcOrd="0" destOrd="0" presId="urn:microsoft.com/office/officeart/2005/8/layout/cycle2"/>
    <dgm:cxn modelId="{E149117F-B208-4409-BDF5-2D58E96AF0C5}" type="presParOf" srcId="{0314D0E1-52B0-4957-906A-3DED1FE20AB6}" destId="{4C7C445F-E1C6-4F7A-821E-F674A343F87A}" srcOrd="18" destOrd="0" presId="urn:microsoft.com/office/officeart/2005/8/layout/cycle2"/>
    <dgm:cxn modelId="{CAFE792D-9B92-4560-A500-B8068A80E6F0}" type="presParOf" srcId="{0314D0E1-52B0-4957-906A-3DED1FE20AB6}" destId="{00C6A176-9825-494C-8FDD-D407F0EF76CB}" srcOrd="19" destOrd="0" presId="urn:microsoft.com/office/officeart/2005/8/layout/cycle2"/>
    <dgm:cxn modelId="{F8268C43-9E31-4002-9462-657267843393}" type="presParOf" srcId="{00C6A176-9825-494C-8FDD-D407F0EF76CB}" destId="{45B6EB01-0DBC-44EB-8631-D6071B6D84B4}" srcOrd="0" destOrd="0" presId="urn:microsoft.com/office/officeart/2005/8/layout/cycle2"/>
    <dgm:cxn modelId="{EB98B31A-36BA-44D6-85DD-4355336CA147}" type="presParOf" srcId="{0314D0E1-52B0-4957-906A-3DED1FE20AB6}" destId="{9B0B857B-DA14-4DB2-9764-FAEA0033B125}" srcOrd="20" destOrd="0" presId="urn:microsoft.com/office/officeart/2005/8/layout/cycle2"/>
    <dgm:cxn modelId="{5DDF7FEE-7378-4DA5-9F84-A3A874199116}" type="presParOf" srcId="{0314D0E1-52B0-4957-906A-3DED1FE20AB6}" destId="{FEA59801-9672-4D23-8192-A605C46BE70F}" srcOrd="21" destOrd="0" presId="urn:microsoft.com/office/officeart/2005/8/layout/cycle2"/>
    <dgm:cxn modelId="{64A2E73F-4961-497D-8958-81C488E746FB}"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DD22802A-6577-4820-9096-33B3A00E9485}" srcId="{FE0AF671-58B1-40F8-8B7A-983E652E7D40}" destId="{EA880416-D651-45A6-84F2-C54398F7B105}" srcOrd="8" destOrd="0" parTransId="{72BD0BD4-4B36-42CF-88B3-59B975F26DB9}" sibTransId="{7630EC86-B5D2-4E6A-906C-EC36BCBD2F9B}"/>
    <dgm:cxn modelId="{02F4ECD8-61E1-437E-A6B5-41560DB2F0B2}" type="presOf" srcId="{0E50710D-2BD5-4826-B9D1-2870E5EAFE57}" destId="{80B8A62C-CA65-4F7F-B3E1-E47A6F8DBF28}" srcOrd="0" destOrd="0" presId="urn:microsoft.com/office/officeart/2005/8/layout/cycle2"/>
    <dgm:cxn modelId="{C9AC8688-A0C2-4E79-A83E-69298C6FE808}" type="presOf" srcId="{6A94E007-355E-4DF8-8BC8-31F5F07906F8}" destId="{23AEF67E-B71E-4BFF-8274-B39880BE8995}" srcOrd="0" destOrd="0" presId="urn:microsoft.com/office/officeart/2005/8/layout/cycle2"/>
    <dgm:cxn modelId="{C2870E87-F66A-4D04-B8E5-AF5FC8E16E37}" type="presOf" srcId="{A48FC8E7-DEF6-47DD-9FD7-A42C236E411D}" destId="{9851BCFD-6C0F-44EE-A90D-93FA72FAD479}"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1E0EFF65-6760-4D6B-9387-54A192C1C2CA}" type="presOf" srcId="{D5290F46-685B-42D9-A176-CA6370062CB6}" destId="{EFE96AD8-1B36-480F-B9D4-5217307D065E}" srcOrd="1" destOrd="0" presId="urn:microsoft.com/office/officeart/2005/8/layout/cycle2"/>
    <dgm:cxn modelId="{0B75E63B-F9AF-4024-BFF9-1F83F7E0B5C8}" type="presOf" srcId="{4AB5C3AA-E12D-487A-99B0-D76EFF1AB462}" destId="{B05F7D2C-D848-4E12-98C6-11FDD917CB93}" srcOrd="0" destOrd="0" presId="urn:microsoft.com/office/officeart/2005/8/layout/cycle2"/>
    <dgm:cxn modelId="{62D1DF63-DC5A-4482-B84E-7C5A9EB87986}" type="presOf" srcId="{1A1A6082-1BF4-40F3-BF25-E2599BB53BFA}" destId="{2546BF50-5AD8-40D0-A01F-A649CF2327DE}" srcOrd="1" destOrd="0" presId="urn:microsoft.com/office/officeart/2005/8/layout/cycle2"/>
    <dgm:cxn modelId="{FC878350-9D4B-4DA1-A611-2BE26961DBCA}" type="presOf" srcId="{E8860603-B54B-464D-847C-F39AD96130A4}" destId="{83195273-D2D4-405D-A258-93AFE8C7BE7A}"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9A6C4D2D-6D9F-454D-BFEE-291A35FD6CEE}" type="presOf" srcId="{B9D5BAA1-0541-416B-9895-A63D7BC366EC}" destId="{6B1C954F-37B9-4616-8073-9C538A00A4CD}" srcOrd="0" destOrd="0" presId="urn:microsoft.com/office/officeart/2005/8/layout/cycle2"/>
    <dgm:cxn modelId="{46842F09-885C-4616-87DE-9863E80B914E}" type="presOf" srcId="{C3EFBD6A-E3EC-4E4A-B112-75A580157B18}" destId="{9336A9F3-2A53-40E9-8F9F-8E4C967B12C1}" srcOrd="0" destOrd="0" presId="urn:microsoft.com/office/officeart/2005/8/layout/cycle2"/>
    <dgm:cxn modelId="{A94AD316-FAB4-4B36-B8BA-36859A27C7B2}" type="presOf" srcId="{20D4FDE3-C196-41C9-8DB2-EF038981D495}" destId="{B1CEE351-6D90-4A79-B4AC-9CB274EA73AC}" srcOrd="1" destOrd="0" presId="urn:microsoft.com/office/officeart/2005/8/layout/cycle2"/>
    <dgm:cxn modelId="{D7C73896-1A0B-4FEE-9360-FC2605657E6E}" type="presOf" srcId="{275AFB5B-A843-4E45-89A6-0D625719EC18}" destId="{AEC3BFE0-4A84-4A7A-9D2A-077ED9AD905B}" srcOrd="0" destOrd="0" presId="urn:microsoft.com/office/officeart/2005/8/layout/cycle2"/>
    <dgm:cxn modelId="{FEA25B43-6580-4EE9-8027-7AB85CEC4E75}" type="presOf" srcId="{DCEF1A9F-ED00-4444-8E7D-348279B7611D}" destId="{A40E58EC-493C-4310-A857-E6D93F3F5222}" srcOrd="1" destOrd="0" presId="urn:microsoft.com/office/officeart/2005/8/layout/cycle2"/>
    <dgm:cxn modelId="{8A0CCE74-ECB0-45EF-A921-21F942A13AC2}" type="presOf" srcId="{A48FC8E7-DEF6-47DD-9FD7-A42C236E411D}" destId="{587F2F10-0AE6-474A-8CEB-4172CC329BE3}" srcOrd="1" destOrd="0" presId="urn:microsoft.com/office/officeart/2005/8/layout/cycle2"/>
    <dgm:cxn modelId="{B08638DB-E544-4E6F-985A-1A6919C7C65B}" type="presOf" srcId="{315727AA-F8CB-4FAC-81F0-3D8F3BB1B56E}" destId="{FEA59801-9672-4D23-8192-A605C46BE70F}" srcOrd="0" destOrd="0" presId="urn:microsoft.com/office/officeart/2005/8/layout/cycle2"/>
    <dgm:cxn modelId="{2A22DDD5-ABFD-48A7-A601-71D48FF57F61}" type="presOf" srcId="{1A1A6082-1BF4-40F3-BF25-E2599BB53BFA}" destId="{CF57B3AA-9D23-4D82-8D72-1A4D072C9CF6}" srcOrd="0" destOrd="0" presId="urn:microsoft.com/office/officeart/2005/8/layout/cycle2"/>
    <dgm:cxn modelId="{4A1AF5F7-35D8-4AFA-9BDD-A621FBCDDF9F}" type="presOf" srcId="{20D4FDE3-C196-41C9-8DB2-EF038981D495}" destId="{48C0BD33-5F17-45F5-9058-93C87A9DDC1F}" srcOrd="0" destOrd="0" presId="urn:microsoft.com/office/officeart/2005/8/layout/cycle2"/>
    <dgm:cxn modelId="{D7441C0A-F887-4027-97F2-56C56ED2261E}" type="presOf" srcId="{315727AA-F8CB-4FAC-81F0-3D8F3BB1B56E}" destId="{1AFE4D34-A1BE-488A-9816-71CABDC842F3}" srcOrd="1" destOrd="0" presId="urn:microsoft.com/office/officeart/2005/8/layout/cycle2"/>
    <dgm:cxn modelId="{962A51B4-55F3-485C-A097-9155770A9FCC}" type="presOf" srcId="{BF32EDA5-B1A7-4C67-9DEE-B0EFED1F5B2B}" destId="{6C754846-F75A-4A89-A242-6671D8DDC5A9}" srcOrd="1" destOrd="0" presId="urn:microsoft.com/office/officeart/2005/8/layout/cycle2"/>
    <dgm:cxn modelId="{208560E5-D9D4-4FE4-83CE-30CFC372C8F4}" type="presOf" srcId="{DCEF1A9F-ED00-4444-8E7D-348279B7611D}" destId="{BB722067-4A31-4156-9489-71E129EF8E43}" srcOrd="0"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47C9980C-C74A-497F-8038-067EEC5DA5E7}" type="presOf" srcId="{36CA222D-1275-4473-881C-488A61C55835}" destId="{9347F69F-9A85-4B8D-9DE5-233494D2AF22}" srcOrd="0" destOrd="0" presId="urn:microsoft.com/office/officeart/2005/8/layout/cycle2"/>
    <dgm:cxn modelId="{09849378-D396-42BF-8B5A-20900B9EB1FD}" type="presOf" srcId="{7630EC86-B5D2-4E6A-906C-EC36BCBD2F9B}" destId="{8F1FDF32-78E0-4ED1-970D-21E8309CEF5A}" srcOrd="0" destOrd="0" presId="urn:microsoft.com/office/officeart/2005/8/layout/cycle2"/>
    <dgm:cxn modelId="{65D6D67A-361A-4C98-9BD2-168D291001A9}" type="presOf" srcId="{91162D75-99DA-487C-940D-DAE8D13C4447}" destId="{157C4094-4D48-4CA4-8FE3-C846251355F5}" srcOrd="0" destOrd="0" presId="urn:microsoft.com/office/officeart/2005/8/layout/cycle2"/>
    <dgm:cxn modelId="{CCD0159F-473A-4ACE-A690-6D2086E3E79E}" type="presOf" srcId="{7630EC86-B5D2-4E6A-906C-EC36BCBD2F9B}" destId="{56E98031-14F7-4FF4-8CB0-C66FC7DF872F}" srcOrd="1" destOrd="0" presId="urn:microsoft.com/office/officeart/2005/8/layout/cycle2"/>
    <dgm:cxn modelId="{E5B9E9EC-5CD6-4E1D-A65D-AD8E6706A385}" type="presOf" srcId="{E2CB592C-1787-44C9-8686-4F00CBFA5CB1}" destId="{45B6EB01-0DBC-44EB-8631-D6071B6D84B4}"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0894194D-F04B-4FF9-A197-FBB778F67B69}" type="presOf" srcId="{36CA222D-1275-4473-881C-488A61C55835}" destId="{7EFAF541-47AF-4C3C-9CFE-C8EF5507A27C}" srcOrd="1" destOrd="0" presId="urn:microsoft.com/office/officeart/2005/8/layout/cycle2"/>
    <dgm:cxn modelId="{7A4ECA97-6EF8-4DF4-BCF5-B3B695AACC82}" type="presOf" srcId="{0E50710D-2BD5-4826-B9D1-2870E5EAFE57}" destId="{D0FD9655-5A6C-4F6C-98FD-3B2D55F73505}" srcOrd="1"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C2D99D67-5130-4978-97CD-32A3402D4ED8}" type="presOf" srcId="{EA880416-D651-45A6-84F2-C54398F7B105}" destId="{AA562BA4-1362-4B11-BE12-AAF95F9B0655}" srcOrd="0" destOrd="0" presId="urn:microsoft.com/office/officeart/2005/8/layout/cycle2"/>
    <dgm:cxn modelId="{8E642376-3BFB-4243-AA07-5EC0BCA789EC}" type="presOf" srcId="{B9C095A4-09B3-4524-A547-0933F3DD34F1}" destId="{5E517795-696C-4478-8F77-24582CDCDF88}" srcOrd="0" destOrd="0" presId="urn:microsoft.com/office/officeart/2005/8/layout/cycle2"/>
    <dgm:cxn modelId="{753DB99C-F667-42B7-9CEE-39EB8B6BF8D4}" type="presOf" srcId="{4D369322-CA3E-425E-AC5C-D9DEAEAC5E3C}" destId="{9B0B857B-DA14-4DB2-9764-FAEA0033B125}" srcOrd="0" destOrd="0" presId="urn:microsoft.com/office/officeart/2005/8/layout/cycle2"/>
    <dgm:cxn modelId="{4A330ABB-712A-405F-9A6E-1C8B7BFC9BEB}" type="presOf" srcId="{D5290F46-685B-42D9-A176-CA6370062CB6}" destId="{342C44B1-3496-43E6-B7A3-2E7DE47A0EB1}" srcOrd="0" destOrd="0" presId="urn:microsoft.com/office/officeart/2005/8/layout/cycle2"/>
    <dgm:cxn modelId="{13FEB53F-C35E-4882-9C76-1423CBEE417E}" type="presOf" srcId="{C1163CC9-4ECF-4D31-855C-26A2B3DCC5C4}" destId="{4C7C445F-E1C6-4F7A-821E-F674A343F87A}" srcOrd="0" destOrd="0" presId="urn:microsoft.com/office/officeart/2005/8/layout/cycle2"/>
    <dgm:cxn modelId="{C9B8371A-F5F7-4349-B195-67FDA787FD19}" type="presOf" srcId="{E2CB592C-1787-44C9-8686-4F00CBFA5CB1}" destId="{00C6A176-9825-494C-8FDD-D407F0EF76CB}" srcOrd="0"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1D064A05-48DD-45D3-9DC7-EEB9329B5EC4}" srcId="{FE0AF671-58B1-40F8-8B7A-983E652E7D40}" destId="{91162D75-99DA-487C-940D-DAE8D13C4447}" srcOrd="4" destOrd="0" parTransId="{80DE664A-ECD6-4435-A4B2-FD6572B36AF8}" sibTransId="{36CA222D-1275-4473-881C-488A61C55835}"/>
    <dgm:cxn modelId="{F75C13ED-E79C-4D5D-B9E7-76B2E1017122}" type="presOf" srcId="{FE0AF671-58B1-40F8-8B7A-983E652E7D40}" destId="{0314D0E1-52B0-4957-906A-3DED1FE20AB6}" srcOrd="0" destOrd="0" presId="urn:microsoft.com/office/officeart/2005/8/layout/cycle2"/>
    <dgm:cxn modelId="{ABF9AC79-2C6A-41FB-A9F7-B013DB02B658}" type="presOf" srcId="{BF32EDA5-B1A7-4C67-9DEE-B0EFED1F5B2B}" destId="{798A8C5B-4663-468B-BDAB-5BC0D323EF4E}" srcOrd="0" destOrd="0" presId="urn:microsoft.com/office/officeart/2005/8/layout/cycle2"/>
    <dgm:cxn modelId="{58933C24-E019-4C98-897C-64D053987ACE}" type="presParOf" srcId="{0314D0E1-52B0-4957-906A-3DED1FE20AB6}" destId="{6B1C954F-37B9-4616-8073-9C538A00A4CD}" srcOrd="0" destOrd="0" presId="urn:microsoft.com/office/officeart/2005/8/layout/cycle2"/>
    <dgm:cxn modelId="{0E4BA387-CDAB-43AE-9187-090A71DC4DBB}" type="presParOf" srcId="{0314D0E1-52B0-4957-906A-3DED1FE20AB6}" destId="{CF57B3AA-9D23-4D82-8D72-1A4D072C9CF6}" srcOrd="1" destOrd="0" presId="urn:microsoft.com/office/officeart/2005/8/layout/cycle2"/>
    <dgm:cxn modelId="{274A165A-9846-4F31-89F0-31B9060E25E4}" type="presParOf" srcId="{CF57B3AA-9D23-4D82-8D72-1A4D072C9CF6}" destId="{2546BF50-5AD8-40D0-A01F-A649CF2327DE}" srcOrd="0" destOrd="0" presId="urn:microsoft.com/office/officeart/2005/8/layout/cycle2"/>
    <dgm:cxn modelId="{791C544D-7C4C-421F-981B-43F3F89B8CF6}" type="presParOf" srcId="{0314D0E1-52B0-4957-906A-3DED1FE20AB6}" destId="{83195273-D2D4-405D-A258-93AFE8C7BE7A}" srcOrd="2" destOrd="0" presId="urn:microsoft.com/office/officeart/2005/8/layout/cycle2"/>
    <dgm:cxn modelId="{067D7CAF-9233-477B-A124-F2D9BAC5ADAC}" type="presParOf" srcId="{0314D0E1-52B0-4957-906A-3DED1FE20AB6}" destId="{798A8C5B-4663-468B-BDAB-5BC0D323EF4E}" srcOrd="3" destOrd="0" presId="urn:microsoft.com/office/officeart/2005/8/layout/cycle2"/>
    <dgm:cxn modelId="{97EC61B9-D5D6-4F80-8952-953875BC6BB1}" type="presParOf" srcId="{798A8C5B-4663-468B-BDAB-5BC0D323EF4E}" destId="{6C754846-F75A-4A89-A242-6671D8DDC5A9}" srcOrd="0" destOrd="0" presId="urn:microsoft.com/office/officeart/2005/8/layout/cycle2"/>
    <dgm:cxn modelId="{B40DD18F-3B2F-43B8-A650-C14C79CDEA3E}" type="presParOf" srcId="{0314D0E1-52B0-4957-906A-3DED1FE20AB6}" destId="{B05F7D2C-D848-4E12-98C6-11FDD917CB93}" srcOrd="4" destOrd="0" presId="urn:microsoft.com/office/officeart/2005/8/layout/cycle2"/>
    <dgm:cxn modelId="{6224842E-073A-45AD-A867-C3078C904549}" type="presParOf" srcId="{0314D0E1-52B0-4957-906A-3DED1FE20AB6}" destId="{342C44B1-3496-43E6-B7A3-2E7DE47A0EB1}" srcOrd="5" destOrd="0" presId="urn:microsoft.com/office/officeart/2005/8/layout/cycle2"/>
    <dgm:cxn modelId="{B818B7DF-33D5-4213-8A7F-9AB1C536E511}" type="presParOf" srcId="{342C44B1-3496-43E6-B7A3-2E7DE47A0EB1}" destId="{EFE96AD8-1B36-480F-B9D4-5217307D065E}" srcOrd="0" destOrd="0" presId="urn:microsoft.com/office/officeart/2005/8/layout/cycle2"/>
    <dgm:cxn modelId="{2D0F22DC-2AF4-4B23-99AA-CD93C4D56C2C}" type="presParOf" srcId="{0314D0E1-52B0-4957-906A-3DED1FE20AB6}" destId="{AEC3BFE0-4A84-4A7A-9D2A-077ED9AD905B}" srcOrd="6" destOrd="0" presId="urn:microsoft.com/office/officeart/2005/8/layout/cycle2"/>
    <dgm:cxn modelId="{79BEBDAD-0F47-453F-99EA-FB2B6E652187}" type="presParOf" srcId="{0314D0E1-52B0-4957-906A-3DED1FE20AB6}" destId="{BB722067-4A31-4156-9489-71E129EF8E43}" srcOrd="7" destOrd="0" presId="urn:microsoft.com/office/officeart/2005/8/layout/cycle2"/>
    <dgm:cxn modelId="{B462352C-581D-4F67-A2FB-7344A57920F5}" type="presParOf" srcId="{BB722067-4A31-4156-9489-71E129EF8E43}" destId="{A40E58EC-493C-4310-A857-E6D93F3F5222}" srcOrd="0" destOrd="0" presId="urn:microsoft.com/office/officeart/2005/8/layout/cycle2"/>
    <dgm:cxn modelId="{31AA1D82-5064-4CEC-A684-ED3A8C2E5AF8}" type="presParOf" srcId="{0314D0E1-52B0-4957-906A-3DED1FE20AB6}" destId="{157C4094-4D48-4CA4-8FE3-C846251355F5}" srcOrd="8" destOrd="0" presId="urn:microsoft.com/office/officeart/2005/8/layout/cycle2"/>
    <dgm:cxn modelId="{7D9F2066-83D6-44CB-8847-050E739139C3}" type="presParOf" srcId="{0314D0E1-52B0-4957-906A-3DED1FE20AB6}" destId="{9347F69F-9A85-4B8D-9DE5-233494D2AF22}" srcOrd="9" destOrd="0" presId="urn:microsoft.com/office/officeart/2005/8/layout/cycle2"/>
    <dgm:cxn modelId="{17BD5080-D3D6-4B17-97E9-4F90C88293CD}" type="presParOf" srcId="{9347F69F-9A85-4B8D-9DE5-233494D2AF22}" destId="{7EFAF541-47AF-4C3C-9CFE-C8EF5507A27C}" srcOrd="0" destOrd="0" presId="urn:microsoft.com/office/officeart/2005/8/layout/cycle2"/>
    <dgm:cxn modelId="{5B8A7B06-D8F5-48BB-A684-B4D55A11CAD8}" type="presParOf" srcId="{0314D0E1-52B0-4957-906A-3DED1FE20AB6}" destId="{5E517795-696C-4478-8F77-24582CDCDF88}" srcOrd="10" destOrd="0" presId="urn:microsoft.com/office/officeart/2005/8/layout/cycle2"/>
    <dgm:cxn modelId="{0AB7467D-3E88-4908-BF7D-8661842F5D6A}" type="presParOf" srcId="{0314D0E1-52B0-4957-906A-3DED1FE20AB6}" destId="{48C0BD33-5F17-45F5-9058-93C87A9DDC1F}" srcOrd="11" destOrd="0" presId="urn:microsoft.com/office/officeart/2005/8/layout/cycle2"/>
    <dgm:cxn modelId="{ADDEE7C0-771E-4C8D-96B0-C7F897E5288C}" type="presParOf" srcId="{48C0BD33-5F17-45F5-9058-93C87A9DDC1F}" destId="{B1CEE351-6D90-4A79-B4AC-9CB274EA73AC}" srcOrd="0" destOrd="0" presId="urn:microsoft.com/office/officeart/2005/8/layout/cycle2"/>
    <dgm:cxn modelId="{D2D67992-6496-496C-B77B-33E076CB5559}" type="presParOf" srcId="{0314D0E1-52B0-4957-906A-3DED1FE20AB6}" destId="{23AEF67E-B71E-4BFF-8274-B39880BE8995}" srcOrd="12" destOrd="0" presId="urn:microsoft.com/office/officeart/2005/8/layout/cycle2"/>
    <dgm:cxn modelId="{8519F200-0F84-4377-B54B-039389C1BC43}" type="presParOf" srcId="{0314D0E1-52B0-4957-906A-3DED1FE20AB6}" destId="{9851BCFD-6C0F-44EE-A90D-93FA72FAD479}" srcOrd="13" destOrd="0" presId="urn:microsoft.com/office/officeart/2005/8/layout/cycle2"/>
    <dgm:cxn modelId="{23ABD53B-87A5-4FC1-B166-6BFD11D4F26D}" type="presParOf" srcId="{9851BCFD-6C0F-44EE-A90D-93FA72FAD479}" destId="{587F2F10-0AE6-474A-8CEB-4172CC329BE3}" srcOrd="0" destOrd="0" presId="urn:microsoft.com/office/officeart/2005/8/layout/cycle2"/>
    <dgm:cxn modelId="{274EF9A1-6663-4434-8250-97C4C9588534}" type="presParOf" srcId="{0314D0E1-52B0-4957-906A-3DED1FE20AB6}" destId="{9336A9F3-2A53-40E9-8F9F-8E4C967B12C1}" srcOrd="14" destOrd="0" presId="urn:microsoft.com/office/officeart/2005/8/layout/cycle2"/>
    <dgm:cxn modelId="{C49555B3-7263-4C90-8E34-DB68AB1D86E2}" type="presParOf" srcId="{0314D0E1-52B0-4957-906A-3DED1FE20AB6}" destId="{80B8A62C-CA65-4F7F-B3E1-E47A6F8DBF28}" srcOrd="15" destOrd="0" presId="urn:microsoft.com/office/officeart/2005/8/layout/cycle2"/>
    <dgm:cxn modelId="{19C459E9-B6F5-4E63-8058-9214C468BDCB}" type="presParOf" srcId="{80B8A62C-CA65-4F7F-B3E1-E47A6F8DBF28}" destId="{D0FD9655-5A6C-4F6C-98FD-3B2D55F73505}" srcOrd="0" destOrd="0" presId="urn:microsoft.com/office/officeart/2005/8/layout/cycle2"/>
    <dgm:cxn modelId="{3335C61C-9F7E-4764-B8CE-2531162AEDD8}" type="presParOf" srcId="{0314D0E1-52B0-4957-906A-3DED1FE20AB6}" destId="{AA562BA4-1362-4B11-BE12-AAF95F9B0655}" srcOrd="16" destOrd="0" presId="urn:microsoft.com/office/officeart/2005/8/layout/cycle2"/>
    <dgm:cxn modelId="{D17C368E-B579-4B5A-B982-3A4B670A8F19}" type="presParOf" srcId="{0314D0E1-52B0-4957-906A-3DED1FE20AB6}" destId="{8F1FDF32-78E0-4ED1-970D-21E8309CEF5A}" srcOrd="17" destOrd="0" presId="urn:microsoft.com/office/officeart/2005/8/layout/cycle2"/>
    <dgm:cxn modelId="{F48F37DA-009E-459E-8F3F-96C2A536C9E2}" type="presParOf" srcId="{8F1FDF32-78E0-4ED1-970D-21E8309CEF5A}" destId="{56E98031-14F7-4FF4-8CB0-C66FC7DF872F}" srcOrd="0" destOrd="0" presId="urn:microsoft.com/office/officeart/2005/8/layout/cycle2"/>
    <dgm:cxn modelId="{E684A2C1-9D5A-42E7-B7D8-78E903F82831}" type="presParOf" srcId="{0314D0E1-52B0-4957-906A-3DED1FE20AB6}" destId="{4C7C445F-E1C6-4F7A-821E-F674A343F87A}" srcOrd="18" destOrd="0" presId="urn:microsoft.com/office/officeart/2005/8/layout/cycle2"/>
    <dgm:cxn modelId="{F2553D3D-822D-435D-BA72-D7D255758F2C}" type="presParOf" srcId="{0314D0E1-52B0-4957-906A-3DED1FE20AB6}" destId="{00C6A176-9825-494C-8FDD-D407F0EF76CB}" srcOrd="19" destOrd="0" presId="urn:microsoft.com/office/officeart/2005/8/layout/cycle2"/>
    <dgm:cxn modelId="{A2D721D2-F255-4BDD-8CED-E89A7AF09181}" type="presParOf" srcId="{00C6A176-9825-494C-8FDD-D407F0EF76CB}" destId="{45B6EB01-0DBC-44EB-8631-D6071B6D84B4}" srcOrd="0" destOrd="0" presId="urn:microsoft.com/office/officeart/2005/8/layout/cycle2"/>
    <dgm:cxn modelId="{7C07881B-3706-4A2D-AB6F-7B8AA7EB9E5E}" type="presParOf" srcId="{0314D0E1-52B0-4957-906A-3DED1FE20AB6}" destId="{9B0B857B-DA14-4DB2-9764-FAEA0033B125}" srcOrd="20" destOrd="0" presId="urn:microsoft.com/office/officeart/2005/8/layout/cycle2"/>
    <dgm:cxn modelId="{E2621849-BCB1-4E45-BEF6-2A17C417A1ED}" type="presParOf" srcId="{0314D0E1-52B0-4957-906A-3DED1FE20AB6}" destId="{FEA59801-9672-4D23-8192-A605C46BE70F}" srcOrd="21" destOrd="0" presId="urn:microsoft.com/office/officeart/2005/8/layout/cycle2"/>
    <dgm:cxn modelId="{05133DF4-09A6-4A32-8425-7984592397DA}"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E0AF671-58B1-40F8-8B7A-983E652E7D40}" type="doc">
      <dgm:prSet loTypeId="urn:microsoft.com/office/officeart/2005/8/layout/cycle2" loCatId="cycle" qsTypeId="urn:microsoft.com/office/officeart/2005/8/quickstyle/simple3" qsCatId="simple" csTypeId="urn:microsoft.com/office/officeart/2005/8/colors/accent0_3" csCatId="mainScheme" phldr="1"/>
      <dgm:spPr/>
      <dgm:t>
        <a:bodyPr/>
        <a:lstStyle/>
        <a:p>
          <a:endParaRPr lang="zh-CN" altLang="en-US"/>
        </a:p>
      </dgm:t>
    </dgm:pt>
    <dgm:pt modelId="{B9D5BAA1-0541-416B-9895-A63D7BC366EC}">
      <dgm:prSet phldrT="[文本]" custT="1"/>
      <dgm:spPr/>
      <dgm:t>
        <a:bodyPr/>
        <a:lstStyle/>
        <a:p>
          <a:r>
            <a:rPr lang="zh-CN" altLang="en-US" sz="600" b="0" dirty="0" smtClean="0"/>
            <a:t>设备费</a:t>
          </a:r>
          <a:endParaRPr lang="zh-CN" altLang="en-US" sz="600" b="0" dirty="0"/>
        </a:p>
      </dgm:t>
    </dgm:pt>
    <dgm:pt modelId="{6CC72F4D-15CE-4628-AAB8-CA3D7A770B90}" type="parTrans" cxnId="{053B5F10-BBCA-4CBA-BAFE-E0960AE52AF0}">
      <dgm:prSet/>
      <dgm:spPr/>
      <dgm:t>
        <a:bodyPr/>
        <a:lstStyle/>
        <a:p>
          <a:endParaRPr lang="zh-CN" altLang="en-US"/>
        </a:p>
      </dgm:t>
    </dgm:pt>
    <dgm:pt modelId="{1A1A6082-1BF4-40F3-BF25-E2599BB53BFA}" type="sibTrans" cxnId="{053B5F10-BBCA-4CBA-BAFE-E0960AE52AF0}">
      <dgm:prSet/>
      <dgm:spPr/>
      <dgm:t>
        <a:bodyPr/>
        <a:lstStyle/>
        <a:p>
          <a:endParaRPr lang="zh-CN" altLang="en-US"/>
        </a:p>
      </dgm:t>
    </dgm:pt>
    <dgm:pt modelId="{E8860603-B54B-464D-847C-F39AD96130A4}">
      <dgm:prSet phldrT="[文本]" custT="1"/>
      <dgm:spPr/>
      <dgm:t>
        <a:bodyPr/>
        <a:lstStyle/>
        <a:p>
          <a:r>
            <a:rPr lang="zh-CN" altLang="en-US" sz="600" b="0" dirty="0" smtClean="0"/>
            <a:t>材料费</a:t>
          </a:r>
          <a:endParaRPr lang="zh-CN" altLang="en-US" sz="600" b="0" dirty="0"/>
        </a:p>
      </dgm:t>
    </dgm:pt>
    <dgm:pt modelId="{C8927E3E-FCD4-4AC8-B757-904A4C4DD804}" type="parTrans" cxnId="{7994F207-E6AF-4524-8B7E-BD601AF486E4}">
      <dgm:prSet/>
      <dgm:spPr/>
      <dgm:t>
        <a:bodyPr/>
        <a:lstStyle/>
        <a:p>
          <a:endParaRPr lang="zh-CN" altLang="en-US"/>
        </a:p>
      </dgm:t>
    </dgm:pt>
    <dgm:pt modelId="{BF32EDA5-B1A7-4C67-9DEE-B0EFED1F5B2B}" type="sibTrans" cxnId="{7994F207-E6AF-4524-8B7E-BD601AF486E4}">
      <dgm:prSet/>
      <dgm:spPr/>
      <dgm:t>
        <a:bodyPr/>
        <a:lstStyle/>
        <a:p>
          <a:endParaRPr lang="zh-CN" altLang="en-US"/>
        </a:p>
      </dgm:t>
    </dgm:pt>
    <dgm:pt modelId="{4AB5C3AA-E12D-487A-99B0-D76EFF1AB462}">
      <dgm:prSet phldrT="[文本]" custT="1"/>
      <dgm:spPr/>
      <dgm:t>
        <a:bodyPr/>
        <a:lstStyle/>
        <a:p>
          <a:r>
            <a:rPr lang="zh-CN" altLang="en-US" sz="600" b="0" dirty="0" smtClean="0"/>
            <a:t>测试化验加工费</a:t>
          </a:r>
          <a:endParaRPr lang="zh-CN" altLang="en-US" sz="600" b="0" dirty="0"/>
        </a:p>
      </dgm:t>
    </dgm:pt>
    <dgm:pt modelId="{C4BDFA5F-E0EC-40C6-AB76-DB6C7624CCA8}" type="parTrans" cxnId="{E39D3228-A432-4DBD-8CA7-6A6ED95E71CE}">
      <dgm:prSet/>
      <dgm:spPr/>
      <dgm:t>
        <a:bodyPr/>
        <a:lstStyle/>
        <a:p>
          <a:endParaRPr lang="zh-CN" altLang="en-US"/>
        </a:p>
      </dgm:t>
    </dgm:pt>
    <dgm:pt modelId="{D5290F46-685B-42D9-A176-CA6370062CB6}" type="sibTrans" cxnId="{E39D3228-A432-4DBD-8CA7-6A6ED95E71CE}">
      <dgm:prSet/>
      <dgm:spPr/>
      <dgm:t>
        <a:bodyPr/>
        <a:lstStyle/>
        <a:p>
          <a:endParaRPr lang="zh-CN" altLang="en-US"/>
        </a:p>
      </dgm:t>
    </dgm:pt>
    <dgm:pt modelId="{275AFB5B-A843-4E45-89A6-0D625719EC18}">
      <dgm:prSet phldrT="[文本]" custT="1"/>
      <dgm:spPr/>
      <dgm:t>
        <a:bodyPr/>
        <a:lstStyle/>
        <a:p>
          <a:r>
            <a:rPr lang="zh-CN" altLang="en-US" sz="600" dirty="0" smtClean="0"/>
            <a:t>燃料动力费</a:t>
          </a:r>
          <a:endParaRPr lang="zh-CN" altLang="en-US" sz="600" dirty="0"/>
        </a:p>
      </dgm:t>
    </dgm:pt>
    <dgm:pt modelId="{78E41B58-F2A1-46CA-BF86-00BFC9F15560}" type="parTrans" cxnId="{E1753FF7-DDC4-4C09-BB90-C194CEB6445F}">
      <dgm:prSet/>
      <dgm:spPr/>
      <dgm:t>
        <a:bodyPr/>
        <a:lstStyle/>
        <a:p>
          <a:endParaRPr lang="zh-CN" altLang="en-US"/>
        </a:p>
      </dgm:t>
    </dgm:pt>
    <dgm:pt modelId="{DCEF1A9F-ED00-4444-8E7D-348279B7611D}" type="sibTrans" cxnId="{E1753FF7-DDC4-4C09-BB90-C194CEB6445F}">
      <dgm:prSet/>
      <dgm:spPr/>
      <dgm:t>
        <a:bodyPr/>
        <a:lstStyle/>
        <a:p>
          <a:endParaRPr lang="zh-CN" altLang="en-US"/>
        </a:p>
      </dgm:t>
    </dgm:pt>
    <dgm:pt modelId="{91162D75-99DA-487C-940D-DAE8D13C4447}">
      <dgm:prSet phldrT="[文本]" custT="1"/>
      <dgm:spPr>
        <a:solidFill>
          <a:schemeClr val="accent2"/>
        </a:solidFill>
      </dgm:spPr>
      <dgm:t>
        <a:bodyPr/>
        <a:lstStyle/>
        <a:p>
          <a:r>
            <a:rPr lang="zh-CN" altLang="en-US" sz="1200" b="1" smtClean="0"/>
            <a:t>差旅费</a:t>
          </a:r>
          <a:r>
            <a:rPr lang="en-US" altLang="zh-CN" sz="800" smtClean="0"/>
            <a:t>  </a:t>
          </a:r>
          <a:endParaRPr lang="zh-CN" altLang="en-US" sz="800" dirty="0"/>
        </a:p>
      </dgm:t>
    </dgm:pt>
    <dgm:pt modelId="{80DE664A-ECD6-4435-A4B2-FD6572B36AF8}" type="parTrans" cxnId="{1D064A05-48DD-45D3-9DC7-EEB9329B5EC4}">
      <dgm:prSet/>
      <dgm:spPr/>
      <dgm:t>
        <a:bodyPr/>
        <a:lstStyle/>
        <a:p>
          <a:endParaRPr lang="zh-CN" altLang="en-US"/>
        </a:p>
      </dgm:t>
    </dgm:pt>
    <dgm:pt modelId="{36CA222D-1275-4473-881C-488A61C55835}" type="sibTrans" cxnId="{1D064A05-48DD-45D3-9DC7-EEB9329B5EC4}">
      <dgm:prSet/>
      <dgm:spPr/>
      <dgm:t>
        <a:bodyPr/>
        <a:lstStyle/>
        <a:p>
          <a:endParaRPr lang="zh-CN" altLang="en-US"/>
        </a:p>
      </dgm:t>
    </dgm:pt>
    <dgm:pt modelId="{4D369322-CA3E-425E-AC5C-D9DEAEAC5E3C}">
      <dgm:prSet phldrT="[文本]" custT="1"/>
      <dgm:spPr/>
      <dgm:t>
        <a:bodyPr/>
        <a:lstStyle/>
        <a:p>
          <a:r>
            <a:rPr lang="zh-CN" altLang="en-US" sz="600" dirty="0" smtClean="0"/>
            <a:t>其他费用</a:t>
          </a:r>
          <a:endParaRPr lang="zh-CN" altLang="en-US" sz="600" dirty="0"/>
        </a:p>
      </dgm:t>
    </dgm:pt>
    <dgm:pt modelId="{2F3F6BF3-18D4-4D23-9378-A2C8486CF639}" type="parTrans" cxnId="{18C3D8FE-BE3A-4CDB-AEFC-C76C7D72DADC}">
      <dgm:prSet/>
      <dgm:spPr/>
      <dgm:t>
        <a:bodyPr/>
        <a:lstStyle/>
        <a:p>
          <a:endParaRPr lang="zh-CN" altLang="en-US"/>
        </a:p>
      </dgm:t>
    </dgm:pt>
    <dgm:pt modelId="{315727AA-F8CB-4FAC-81F0-3D8F3BB1B56E}" type="sibTrans" cxnId="{18C3D8FE-BE3A-4CDB-AEFC-C76C7D72DADC}">
      <dgm:prSet/>
      <dgm:spPr/>
      <dgm:t>
        <a:bodyPr/>
        <a:lstStyle/>
        <a:p>
          <a:endParaRPr lang="zh-CN" altLang="en-US"/>
        </a:p>
      </dgm:t>
    </dgm:pt>
    <dgm:pt modelId="{B9C095A4-09B3-4524-A547-0933F3DD34F1}">
      <dgm:prSet phldrT="[文本]" custT="1"/>
      <dgm:spPr/>
      <dgm:t>
        <a:bodyPr/>
        <a:lstStyle/>
        <a:p>
          <a:r>
            <a:rPr lang="zh-CN" altLang="en-US" sz="1200" b="1" dirty="0" smtClean="0"/>
            <a:t>会议费</a:t>
          </a:r>
          <a:endParaRPr lang="zh-CN" altLang="en-US" sz="1200" b="1" dirty="0"/>
        </a:p>
      </dgm:t>
    </dgm:pt>
    <dgm:pt modelId="{0988FE12-EB7E-4D50-B71D-E1CCF85FF4CB}" type="parTrans" cxnId="{C453EFB5-21B8-4DB0-B688-5FE3A729BD0D}">
      <dgm:prSet/>
      <dgm:spPr/>
      <dgm:t>
        <a:bodyPr/>
        <a:lstStyle/>
        <a:p>
          <a:endParaRPr lang="zh-CN" altLang="en-US"/>
        </a:p>
      </dgm:t>
    </dgm:pt>
    <dgm:pt modelId="{20D4FDE3-C196-41C9-8DB2-EF038981D495}" type="sibTrans" cxnId="{C453EFB5-21B8-4DB0-B688-5FE3A729BD0D}">
      <dgm:prSet/>
      <dgm:spPr/>
      <dgm:t>
        <a:bodyPr/>
        <a:lstStyle/>
        <a:p>
          <a:endParaRPr lang="zh-CN" altLang="en-US"/>
        </a:p>
      </dgm:t>
    </dgm:pt>
    <dgm:pt modelId="{6A94E007-355E-4DF8-8BC8-31F5F07906F8}">
      <dgm:prSet phldrT="[文本]" custT="1"/>
      <dgm:spPr/>
      <dgm:t>
        <a:bodyPr/>
        <a:lstStyle/>
        <a:p>
          <a:r>
            <a:rPr lang="zh-CN" altLang="en-US" sz="1000" b="1" dirty="0" smtClean="0"/>
            <a:t>国际合作交流费</a:t>
          </a:r>
          <a:endParaRPr lang="zh-CN" altLang="en-US" sz="1000" b="1" dirty="0"/>
        </a:p>
      </dgm:t>
    </dgm:pt>
    <dgm:pt modelId="{0B989E99-4766-4E2D-BC08-E4F4A6472D16}" type="parTrans" cxnId="{F2167190-DF36-40E0-8E07-A39452BE64C4}">
      <dgm:prSet/>
      <dgm:spPr/>
      <dgm:t>
        <a:bodyPr/>
        <a:lstStyle/>
        <a:p>
          <a:endParaRPr lang="zh-CN" altLang="en-US"/>
        </a:p>
      </dgm:t>
    </dgm:pt>
    <dgm:pt modelId="{A48FC8E7-DEF6-47DD-9FD7-A42C236E411D}" type="sibTrans" cxnId="{F2167190-DF36-40E0-8E07-A39452BE64C4}">
      <dgm:prSet/>
      <dgm:spPr/>
      <dgm:t>
        <a:bodyPr/>
        <a:lstStyle/>
        <a:p>
          <a:endParaRPr lang="zh-CN" altLang="en-US"/>
        </a:p>
      </dgm:t>
    </dgm:pt>
    <dgm:pt modelId="{C3EFBD6A-E3EC-4E4A-B112-75A580157B18}">
      <dgm:prSet phldrT="[文本]" custT="1"/>
      <dgm:spPr/>
      <dgm:t>
        <a:bodyPr/>
        <a:lstStyle/>
        <a:p>
          <a:r>
            <a:rPr lang="zh-CN" altLang="en-US" sz="600" dirty="0" smtClean="0"/>
            <a:t>出版</a:t>
          </a:r>
          <a:r>
            <a:rPr lang="en-US" altLang="zh-CN" sz="600" dirty="0" smtClean="0"/>
            <a:t>/</a:t>
          </a:r>
          <a:r>
            <a:rPr lang="zh-CN" altLang="en-US" sz="600" dirty="0" smtClean="0"/>
            <a:t>文献</a:t>
          </a:r>
          <a:r>
            <a:rPr lang="en-US" altLang="zh-CN" sz="600" dirty="0" smtClean="0"/>
            <a:t>/</a:t>
          </a:r>
          <a:r>
            <a:rPr lang="zh-CN" altLang="en-US" sz="600" dirty="0" smtClean="0"/>
            <a:t>信息传播</a:t>
          </a:r>
          <a:r>
            <a:rPr lang="en-US" altLang="zh-CN" sz="600" dirty="0" smtClean="0"/>
            <a:t>/</a:t>
          </a:r>
          <a:r>
            <a:rPr lang="zh-CN" altLang="en-US" sz="600" dirty="0" smtClean="0"/>
            <a:t>知识产权事务费</a:t>
          </a:r>
          <a:endParaRPr lang="zh-CN" altLang="en-US" sz="600" dirty="0"/>
        </a:p>
      </dgm:t>
    </dgm:pt>
    <dgm:pt modelId="{3612719D-4FCA-4865-A190-987513537793}" type="parTrans" cxnId="{9A3C2B1E-44F9-469C-A7BC-5A1AD392331C}">
      <dgm:prSet/>
      <dgm:spPr/>
      <dgm:t>
        <a:bodyPr/>
        <a:lstStyle/>
        <a:p>
          <a:endParaRPr lang="zh-CN" altLang="en-US"/>
        </a:p>
      </dgm:t>
    </dgm:pt>
    <dgm:pt modelId="{0E50710D-2BD5-4826-B9D1-2870E5EAFE57}" type="sibTrans" cxnId="{9A3C2B1E-44F9-469C-A7BC-5A1AD392331C}">
      <dgm:prSet/>
      <dgm:spPr/>
      <dgm:t>
        <a:bodyPr/>
        <a:lstStyle/>
        <a:p>
          <a:endParaRPr lang="zh-CN" altLang="en-US"/>
        </a:p>
      </dgm:t>
    </dgm:pt>
    <dgm:pt modelId="{EA880416-D651-45A6-84F2-C54398F7B105}">
      <dgm:prSet phldrT="[文本]" custT="1"/>
      <dgm:spPr/>
      <dgm:t>
        <a:bodyPr/>
        <a:lstStyle/>
        <a:p>
          <a:r>
            <a:rPr lang="zh-CN" altLang="en-US" sz="600" dirty="0" smtClean="0"/>
            <a:t>劳务费</a:t>
          </a:r>
          <a:endParaRPr lang="zh-CN" altLang="en-US" sz="600" dirty="0"/>
        </a:p>
      </dgm:t>
    </dgm:pt>
    <dgm:pt modelId="{72BD0BD4-4B36-42CF-88B3-59B975F26DB9}" type="parTrans" cxnId="{DD22802A-6577-4820-9096-33B3A00E9485}">
      <dgm:prSet/>
      <dgm:spPr/>
      <dgm:t>
        <a:bodyPr/>
        <a:lstStyle/>
        <a:p>
          <a:endParaRPr lang="zh-CN" altLang="en-US"/>
        </a:p>
      </dgm:t>
    </dgm:pt>
    <dgm:pt modelId="{7630EC86-B5D2-4E6A-906C-EC36BCBD2F9B}" type="sibTrans" cxnId="{DD22802A-6577-4820-9096-33B3A00E9485}">
      <dgm:prSet/>
      <dgm:spPr/>
      <dgm:t>
        <a:bodyPr/>
        <a:lstStyle/>
        <a:p>
          <a:endParaRPr lang="zh-CN" altLang="en-US"/>
        </a:p>
      </dgm:t>
    </dgm:pt>
    <dgm:pt modelId="{C1163CC9-4ECF-4D31-855C-26A2B3DCC5C4}">
      <dgm:prSet phldrT="[文本]" custT="1"/>
      <dgm:spPr/>
      <dgm:t>
        <a:bodyPr/>
        <a:lstStyle/>
        <a:p>
          <a:r>
            <a:rPr lang="zh-CN" altLang="en-US" sz="600" dirty="0" smtClean="0"/>
            <a:t>专家咨询费</a:t>
          </a:r>
          <a:endParaRPr lang="zh-CN" altLang="en-US" sz="600" dirty="0"/>
        </a:p>
      </dgm:t>
    </dgm:pt>
    <dgm:pt modelId="{B8FEF4D3-4E21-4BAE-801E-7205F8E8EF77}" type="parTrans" cxnId="{AEB7EDE5-1D16-475A-B61C-CBF7CFCC2F0F}">
      <dgm:prSet/>
      <dgm:spPr/>
      <dgm:t>
        <a:bodyPr/>
        <a:lstStyle/>
        <a:p>
          <a:endParaRPr lang="zh-CN" altLang="en-US"/>
        </a:p>
      </dgm:t>
    </dgm:pt>
    <dgm:pt modelId="{E2CB592C-1787-44C9-8686-4F00CBFA5CB1}" type="sibTrans" cxnId="{AEB7EDE5-1D16-475A-B61C-CBF7CFCC2F0F}">
      <dgm:prSet/>
      <dgm:spPr/>
      <dgm:t>
        <a:bodyPr/>
        <a:lstStyle/>
        <a:p>
          <a:endParaRPr lang="zh-CN" altLang="en-US"/>
        </a:p>
      </dgm:t>
    </dgm:pt>
    <dgm:pt modelId="{0314D0E1-52B0-4957-906A-3DED1FE20AB6}" type="pres">
      <dgm:prSet presAssocID="{FE0AF671-58B1-40F8-8B7A-983E652E7D40}" presName="cycle" presStyleCnt="0">
        <dgm:presLayoutVars>
          <dgm:dir/>
          <dgm:resizeHandles val="exact"/>
        </dgm:presLayoutVars>
      </dgm:prSet>
      <dgm:spPr/>
      <dgm:t>
        <a:bodyPr/>
        <a:lstStyle/>
        <a:p>
          <a:endParaRPr lang="zh-CN" altLang="en-US"/>
        </a:p>
      </dgm:t>
    </dgm:pt>
    <dgm:pt modelId="{6B1C954F-37B9-4616-8073-9C538A00A4CD}" type="pres">
      <dgm:prSet presAssocID="{B9D5BAA1-0541-416B-9895-A63D7BC366EC}" presName="node" presStyleLbl="node1" presStyleIdx="0" presStyleCnt="11" custScaleX="54496" custScaleY="33797" custRadScaleRad="99019" custRadScaleInc="-2796">
        <dgm:presLayoutVars>
          <dgm:bulletEnabled val="1"/>
        </dgm:presLayoutVars>
      </dgm:prSet>
      <dgm:spPr/>
      <dgm:t>
        <a:bodyPr/>
        <a:lstStyle/>
        <a:p>
          <a:endParaRPr lang="zh-CN" altLang="en-US"/>
        </a:p>
      </dgm:t>
    </dgm:pt>
    <dgm:pt modelId="{CF57B3AA-9D23-4D82-8D72-1A4D072C9CF6}" type="pres">
      <dgm:prSet presAssocID="{1A1A6082-1BF4-40F3-BF25-E2599BB53BFA}" presName="sibTrans" presStyleLbl="sibTrans2D1" presStyleIdx="0" presStyleCnt="11" custScaleX="55316" custScaleY="46309"/>
      <dgm:spPr/>
      <dgm:t>
        <a:bodyPr/>
        <a:lstStyle/>
        <a:p>
          <a:endParaRPr lang="zh-CN" altLang="en-US"/>
        </a:p>
      </dgm:t>
    </dgm:pt>
    <dgm:pt modelId="{2546BF50-5AD8-40D0-A01F-A649CF2327DE}" type="pres">
      <dgm:prSet presAssocID="{1A1A6082-1BF4-40F3-BF25-E2599BB53BFA}" presName="connectorText" presStyleLbl="sibTrans2D1" presStyleIdx="0" presStyleCnt="11"/>
      <dgm:spPr/>
      <dgm:t>
        <a:bodyPr/>
        <a:lstStyle/>
        <a:p>
          <a:endParaRPr lang="zh-CN" altLang="en-US"/>
        </a:p>
      </dgm:t>
    </dgm:pt>
    <dgm:pt modelId="{83195273-D2D4-405D-A258-93AFE8C7BE7A}" type="pres">
      <dgm:prSet presAssocID="{E8860603-B54B-464D-847C-F39AD96130A4}" presName="node" presStyleLbl="node1" presStyleIdx="1" presStyleCnt="11" custScaleX="57084" custScaleY="41522">
        <dgm:presLayoutVars>
          <dgm:bulletEnabled val="1"/>
        </dgm:presLayoutVars>
      </dgm:prSet>
      <dgm:spPr/>
      <dgm:t>
        <a:bodyPr/>
        <a:lstStyle/>
        <a:p>
          <a:endParaRPr lang="zh-CN" altLang="en-US"/>
        </a:p>
      </dgm:t>
    </dgm:pt>
    <dgm:pt modelId="{798A8C5B-4663-468B-BDAB-5BC0D323EF4E}" type="pres">
      <dgm:prSet presAssocID="{BF32EDA5-B1A7-4C67-9DEE-B0EFED1F5B2B}" presName="sibTrans" presStyleLbl="sibTrans2D1" presStyleIdx="1" presStyleCnt="11" custScaleX="55316" custScaleY="46309"/>
      <dgm:spPr/>
      <dgm:t>
        <a:bodyPr/>
        <a:lstStyle/>
        <a:p>
          <a:endParaRPr lang="zh-CN" altLang="en-US"/>
        </a:p>
      </dgm:t>
    </dgm:pt>
    <dgm:pt modelId="{6C754846-F75A-4A89-A242-6671D8DDC5A9}" type="pres">
      <dgm:prSet presAssocID="{BF32EDA5-B1A7-4C67-9DEE-B0EFED1F5B2B}" presName="connectorText" presStyleLbl="sibTrans2D1" presStyleIdx="1" presStyleCnt="11"/>
      <dgm:spPr/>
      <dgm:t>
        <a:bodyPr/>
        <a:lstStyle/>
        <a:p>
          <a:endParaRPr lang="zh-CN" altLang="en-US"/>
        </a:p>
      </dgm:t>
    </dgm:pt>
    <dgm:pt modelId="{B05F7D2C-D848-4E12-98C6-11FDD917CB93}" type="pres">
      <dgm:prSet presAssocID="{4AB5C3AA-E12D-487A-99B0-D76EFF1AB462}" presName="node" presStyleLbl="node1" presStyleIdx="2" presStyleCnt="11" custScaleX="60566" custScaleY="43054">
        <dgm:presLayoutVars>
          <dgm:bulletEnabled val="1"/>
        </dgm:presLayoutVars>
      </dgm:prSet>
      <dgm:spPr/>
      <dgm:t>
        <a:bodyPr/>
        <a:lstStyle/>
        <a:p>
          <a:endParaRPr lang="zh-CN" altLang="en-US"/>
        </a:p>
      </dgm:t>
    </dgm:pt>
    <dgm:pt modelId="{342C44B1-3496-43E6-B7A3-2E7DE47A0EB1}" type="pres">
      <dgm:prSet presAssocID="{D5290F46-685B-42D9-A176-CA6370062CB6}" presName="sibTrans" presStyleLbl="sibTrans2D1" presStyleIdx="2" presStyleCnt="11" custScaleX="55316" custScaleY="46309"/>
      <dgm:spPr/>
      <dgm:t>
        <a:bodyPr/>
        <a:lstStyle/>
        <a:p>
          <a:endParaRPr lang="zh-CN" altLang="en-US"/>
        </a:p>
      </dgm:t>
    </dgm:pt>
    <dgm:pt modelId="{EFE96AD8-1B36-480F-B9D4-5217307D065E}" type="pres">
      <dgm:prSet presAssocID="{D5290F46-685B-42D9-A176-CA6370062CB6}" presName="connectorText" presStyleLbl="sibTrans2D1" presStyleIdx="2" presStyleCnt="11"/>
      <dgm:spPr/>
      <dgm:t>
        <a:bodyPr/>
        <a:lstStyle/>
        <a:p>
          <a:endParaRPr lang="zh-CN" altLang="en-US"/>
        </a:p>
      </dgm:t>
    </dgm:pt>
    <dgm:pt modelId="{AEC3BFE0-4A84-4A7A-9D2A-077ED9AD905B}" type="pres">
      <dgm:prSet presAssocID="{275AFB5B-A843-4E45-89A6-0D625719EC18}" presName="node" presStyleLbl="node1" presStyleIdx="3" presStyleCnt="11" custScaleX="55317" custScaleY="46310">
        <dgm:presLayoutVars>
          <dgm:bulletEnabled val="1"/>
        </dgm:presLayoutVars>
      </dgm:prSet>
      <dgm:spPr/>
      <dgm:t>
        <a:bodyPr/>
        <a:lstStyle/>
        <a:p>
          <a:endParaRPr lang="zh-CN" altLang="en-US"/>
        </a:p>
      </dgm:t>
    </dgm:pt>
    <dgm:pt modelId="{BB722067-4A31-4156-9489-71E129EF8E43}" type="pres">
      <dgm:prSet presAssocID="{DCEF1A9F-ED00-4444-8E7D-348279B7611D}" presName="sibTrans" presStyleLbl="sibTrans2D1" presStyleIdx="3" presStyleCnt="11" custScaleX="55316" custScaleY="46309"/>
      <dgm:spPr/>
      <dgm:t>
        <a:bodyPr/>
        <a:lstStyle/>
        <a:p>
          <a:endParaRPr lang="zh-CN" altLang="en-US"/>
        </a:p>
      </dgm:t>
    </dgm:pt>
    <dgm:pt modelId="{A40E58EC-493C-4310-A857-E6D93F3F5222}" type="pres">
      <dgm:prSet presAssocID="{DCEF1A9F-ED00-4444-8E7D-348279B7611D}" presName="connectorText" presStyleLbl="sibTrans2D1" presStyleIdx="3" presStyleCnt="11"/>
      <dgm:spPr/>
      <dgm:t>
        <a:bodyPr/>
        <a:lstStyle/>
        <a:p>
          <a:endParaRPr lang="zh-CN" altLang="en-US"/>
        </a:p>
      </dgm:t>
    </dgm:pt>
    <dgm:pt modelId="{157C4094-4D48-4CA4-8FE3-C846251355F5}" type="pres">
      <dgm:prSet presAssocID="{91162D75-99DA-487C-940D-DAE8D13C4447}" presName="node" presStyleLbl="node1" presStyleIdx="4" presStyleCnt="11" custScaleX="83572" custScaleY="67800" custRadScaleRad="101687" custRadScaleInc="43777">
        <dgm:presLayoutVars>
          <dgm:bulletEnabled val="1"/>
        </dgm:presLayoutVars>
      </dgm:prSet>
      <dgm:spPr/>
      <dgm:t>
        <a:bodyPr/>
        <a:lstStyle/>
        <a:p>
          <a:endParaRPr lang="zh-CN" altLang="en-US"/>
        </a:p>
      </dgm:t>
    </dgm:pt>
    <dgm:pt modelId="{9347F69F-9A85-4B8D-9DE5-233494D2AF22}" type="pres">
      <dgm:prSet presAssocID="{36CA222D-1275-4473-881C-488A61C55835}" presName="sibTrans" presStyleLbl="sibTrans2D1" presStyleIdx="4" presStyleCnt="11" custScaleX="55316" custScaleY="46309" custLinFactY="114985" custLinFactNeighborX="53386" custLinFactNeighborY="200000"/>
      <dgm:spPr/>
      <dgm:t>
        <a:bodyPr/>
        <a:lstStyle/>
        <a:p>
          <a:endParaRPr lang="zh-CN" altLang="en-US"/>
        </a:p>
      </dgm:t>
    </dgm:pt>
    <dgm:pt modelId="{7EFAF541-47AF-4C3C-9CFE-C8EF5507A27C}" type="pres">
      <dgm:prSet presAssocID="{36CA222D-1275-4473-881C-488A61C55835}" presName="connectorText" presStyleLbl="sibTrans2D1" presStyleIdx="4" presStyleCnt="11"/>
      <dgm:spPr/>
      <dgm:t>
        <a:bodyPr/>
        <a:lstStyle/>
        <a:p>
          <a:endParaRPr lang="zh-CN" altLang="en-US"/>
        </a:p>
      </dgm:t>
    </dgm:pt>
    <dgm:pt modelId="{5E517795-696C-4478-8F77-24582CDCDF88}" type="pres">
      <dgm:prSet presAssocID="{B9C095A4-09B3-4524-A547-0933F3DD34F1}" presName="node" presStyleLbl="node1" presStyleIdx="5" presStyleCnt="11" custScaleX="96025" custScaleY="67937" custRadScaleRad="96123" custRadScaleInc="-40959">
        <dgm:presLayoutVars>
          <dgm:bulletEnabled val="1"/>
        </dgm:presLayoutVars>
      </dgm:prSet>
      <dgm:spPr/>
      <dgm:t>
        <a:bodyPr/>
        <a:lstStyle/>
        <a:p>
          <a:endParaRPr lang="zh-CN" altLang="en-US"/>
        </a:p>
      </dgm:t>
    </dgm:pt>
    <dgm:pt modelId="{48C0BD33-5F17-45F5-9058-93C87A9DDC1F}" type="pres">
      <dgm:prSet presAssocID="{20D4FDE3-C196-41C9-8DB2-EF038981D495}" presName="sibTrans" presStyleLbl="sibTrans2D1" presStyleIdx="5" presStyleCnt="11" custScaleX="55316" custScaleY="46309" custLinFactY="100000" custLinFactNeighborX="-4059" custLinFactNeighborY="137018"/>
      <dgm:spPr/>
      <dgm:t>
        <a:bodyPr/>
        <a:lstStyle/>
        <a:p>
          <a:endParaRPr lang="zh-CN" altLang="en-US"/>
        </a:p>
      </dgm:t>
    </dgm:pt>
    <dgm:pt modelId="{B1CEE351-6D90-4A79-B4AC-9CB274EA73AC}" type="pres">
      <dgm:prSet presAssocID="{20D4FDE3-C196-41C9-8DB2-EF038981D495}" presName="connectorText" presStyleLbl="sibTrans2D1" presStyleIdx="5" presStyleCnt="11"/>
      <dgm:spPr/>
      <dgm:t>
        <a:bodyPr/>
        <a:lstStyle/>
        <a:p>
          <a:endParaRPr lang="zh-CN" altLang="en-US"/>
        </a:p>
      </dgm:t>
    </dgm:pt>
    <dgm:pt modelId="{23AEF67E-B71E-4BFF-8274-B39880BE8995}" type="pres">
      <dgm:prSet presAssocID="{6A94E007-355E-4DF8-8BC8-31F5F07906F8}" presName="node" presStyleLbl="node1" presStyleIdx="6" presStyleCnt="11" custScaleX="88749" custScaleY="69754" custRadScaleRad="93665" custRadScaleInc="-107961">
        <dgm:presLayoutVars>
          <dgm:bulletEnabled val="1"/>
        </dgm:presLayoutVars>
      </dgm:prSet>
      <dgm:spPr/>
      <dgm:t>
        <a:bodyPr/>
        <a:lstStyle/>
        <a:p>
          <a:endParaRPr lang="zh-CN" altLang="en-US"/>
        </a:p>
      </dgm:t>
    </dgm:pt>
    <dgm:pt modelId="{9851BCFD-6C0F-44EE-A90D-93FA72FAD479}" type="pres">
      <dgm:prSet presAssocID="{A48FC8E7-DEF6-47DD-9FD7-A42C236E411D}" presName="sibTrans" presStyleLbl="sibTrans2D1" presStyleIdx="6" presStyleCnt="11" custScaleX="55316" custScaleY="46309"/>
      <dgm:spPr/>
      <dgm:t>
        <a:bodyPr/>
        <a:lstStyle/>
        <a:p>
          <a:endParaRPr lang="zh-CN" altLang="en-US"/>
        </a:p>
      </dgm:t>
    </dgm:pt>
    <dgm:pt modelId="{587F2F10-0AE6-474A-8CEB-4172CC329BE3}" type="pres">
      <dgm:prSet presAssocID="{A48FC8E7-DEF6-47DD-9FD7-A42C236E411D}" presName="connectorText" presStyleLbl="sibTrans2D1" presStyleIdx="6" presStyleCnt="11"/>
      <dgm:spPr/>
      <dgm:t>
        <a:bodyPr/>
        <a:lstStyle/>
        <a:p>
          <a:endParaRPr lang="zh-CN" altLang="en-US"/>
        </a:p>
      </dgm:t>
    </dgm:pt>
    <dgm:pt modelId="{9336A9F3-2A53-40E9-8F9F-8E4C967B12C1}" type="pres">
      <dgm:prSet presAssocID="{C3EFBD6A-E3EC-4E4A-B112-75A580157B18}" presName="node" presStyleLbl="node1" presStyleIdx="7" presStyleCnt="11" custScaleX="55317" custScaleY="46310">
        <dgm:presLayoutVars>
          <dgm:bulletEnabled val="1"/>
        </dgm:presLayoutVars>
      </dgm:prSet>
      <dgm:spPr/>
      <dgm:t>
        <a:bodyPr/>
        <a:lstStyle/>
        <a:p>
          <a:endParaRPr lang="zh-CN" altLang="en-US"/>
        </a:p>
      </dgm:t>
    </dgm:pt>
    <dgm:pt modelId="{80B8A62C-CA65-4F7F-B3E1-E47A6F8DBF28}" type="pres">
      <dgm:prSet presAssocID="{0E50710D-2BD5-4826-B9D1-2870E5EAFE57}" presName="sibTrans" presStyleLbl="sibTrans2D1" presStyleIdx="7" presStyleCnt="11" custScaleX="55316" custScaleY="46309"/>
      <dgm:spPr/>
      <dgm:t>
        <a:bodyPr/>
        <a:lstStyle/>
        <a:p>
          <a:endParaRPr lang="zh-CN" altLang="en-US"/>
        </a:p>
      </dgm:t>
    </dgm:pt>
    <dgm:pt modelId="{D0FD9655-5A6C-4F6C-98FD-3B2D55F73505}" type="pres">
      <dgm:prSet presAssocID="{0E50710D-2BD5-4826-B9D1-2870E5EAFE57}" presName="connectorText" presStyleLbl="sibTrans2D1" presStyleIdx="7" presStyleCnt="11"/>
      <dgm:spPr/>
      <dgm:t>
        <a:bodyPr/>
        <a:lstStyle/>
        <a:p>
          <a:endParaRPr lang="zh-CN" altLang="en-US"/>
        </a:p>
      </dgm:t>
    </dgm:pt>
    <dgm:pt modelId="{AA562BA4-1362-4B11-BE12-AAF95F9B0655}" type="pres">
      <dgm:prSet presAssocID="{EA880416-D651-45A6-84F2-C54398F7B105}" presName="node" presStyleLbl="node1" presStyleIdx="8" presStyleCnt="11" custScaleX="55317" custScaleY="46310">
        <dgm:presLayoutVars>
          <dgm:bulletEnabled val="1"/>
        </dgm:presLayoutVars>
      </dgm:prSet>
      <dgm:spPr/>
      <dgm:t>
        <a:bodyPr/>
        <a:lstStyle/>
        <a:p>
          <a:endParaRPr lang="zh-CN" altLang="en-US"/>
        </a:p>
      </dgm:t>
    </dgm:pt>
    <dgm:pt modelId="{8F1FDF32-78E0-4ED1-970D-21E8309CEF5A}" type="pres">
      <dgm:prSet presAssocID="{7630EC86-B5D2-4E6A-906C-EC36BCBD2F9B}" presName="sibTrans" presStyleLbl="sibTrans2D1" presStyleIdx="8" presStyleCnt="11" custScaleX="55316" custScaleY="46309"/>
      <dgm:spPr/>
      <dgm:t>
        <a:bodyPr/>
        <a:lstStyle/>
        <a:p>
          <a:endParaRPr lang="zh-CN" altLang="en-US"/>
        </a:p>
      </dgm:t>
    </dgm:pt>
    <dgm:pt modelId="{56E98031-14F7-4FF4-8CB0-C66FC7DF872F}" type="pres">
      <dgm:prSet presAssocID="{7630EC86-B5D2-4E6A-906C-EC36BCBD2F9B}" presName="connectorText" presStyleLbl="sibTrans2D1" presStyleIdx="8" presStyleCnt="11"/>
      <dgm:spPr/>
      <dgm:t>
        <a:bodyPr/>
        <a:lstStyle/>
        <a:p>
          <a:endParaRPr lang="zh-CN" altLang="en-US"/>
        </a:p>
      </dgm:t>
    </dgm:pt>
    <dgm:pt modelId="{4C7C445F-E1C6-4F7A-821E-F674A343F87A}" type="pres">
      <dgm:prSet presAssocID="{C1163CC9-4ECF-4D31-855C-26A2B3DCC5C4}" presName="node" presStyleLbl="node1" presStyleIdx="9" presStyleCnt="11" custScaleX="55317" custScaleY="46310">
        <dgm:presLayoutVars>
          <dgm:bulletEnabled val="1"/>
        </dgm:presLayoutVars>
      </dgm:prSet>
      <dgm:spPr/>
      <dgm:t>
        <a:bodyPr/>
        <a:lstStyle/>
        <a:p>
          <a:endParaRPr lang="zh-CN" altLang="en-US"/>
        </a:p>
      </dgm:t>
    </dgm:pt>
    <dgm:pt modelId="{00C6A176-9825-494C-8FDD-D407F0EF76CB}" type="pres">
      <dgm:prSet presAssocID="{E2CB592C-1787-44C9-8686-4F00CBFA5CB1}" presName="sibTrans" presStyleLbl="sibTrans2D1" presStyleIdx="9" presStyleCnt="11" custScaleX="55316" custScaleY="46309"/>
      <dgm:spPr/>
      <dgm:t>
        <a:bodyPr/>
        <a:lstStyle/>
        <a:p>
          <a:endParaRPr lang="zh-CN" altLang="en-US"/>
        </a:p>
      </dgm:t>
    </dgm:pt>
    <dgm:pt modelId="{45B6EB01-0DBC-44EB-8631-D6071B6D84B4}" type="pres">
      <dgm:prSet presAssocID="{E2CB592C-1787-44C9-8686-4F00CBFA5CB1}" presName="connectorText" presStyleLbl="sibTrans2D1" presStyleIdx="9" presStyleCnt="11"/>
      <dgm:spPr/>
      <dgm:t>
        <a:bodyPr/>
        <a:lstStyle/>
        <a:p>
          <a:endParaRPr lang="zh-CN" altLang="en-US"/>
        </a:p>
      </dgm:t>
    </dgm:pt>
    <dgm:pt modelId="{9B0B857B-DA14-4DB2-9764-FAEA0033B125}" type="pres">
      <dgm:prSet presAssocID="{4D369322-CA3E-425E-AC5C-D9DEAEAC5E3C}" presName="node" presStyleLbl="node1" presStyleIdx="10" presStyleCnt="11" custScaleX="55317" custScaleY="46310">
        <dgm:presLayoutVars>
          <dgm:bulletEnabled val="1"/>
        </dgm:presLayoutVars>
      </dgm:prSet>
      <dgm:spPr/>
      <dgm:t>
        <a:bodyPr/>
        <a:lstStyle/>
        <a:p>
          <a:endParaRPr lang="zh-CN" altLang="en-US"/>
        </a:p>
      </dgm:t>
    </dgm:pt>
    <dgm:pt modelId="{FEA59801-9672-4D23-8192-A605C46BE70F}" type="pres">
      <dgm:prSet presAssocID="{315727AA-F8CB-4FAC-81F0-3D8F3BB1B56E}" presName="sibTrans" presStyleLbl="sibTrans2D1" presStyleIdx="10" presStyleCnt="11" custScaleX="55316" custScaleY="46309"/>
      <dgm:spPr/>
      <dgm:t>
        <a:bodyPr/>
        <a:lstStyle/>
        <a:p>
          <a:endParaRPr lang="zh-CN" altLang="en-US"/>
        </a:p>
      </dgm:t>
    </dgm:pt>
    <dgm:pt modelId="{1AFE4D34-A1BE-488A-9816-71CABDC842F3}" type="pres">
      <dgm:prSet presAssocID="{315727AA-F8CB-4FAC-81F0-3D8F3BB1B56E}" presName="connectorText" presStyleLbl="sibTrans2D1" presStyleIdx="10" presStyleCnt="11"/>
      <dgm:spPr/>
      <dgm:t>
        <a:bodyPr/>
        <a:lstStyle/>
        <a:p>
          <a:endParaRPr lang="zh-CN" altLang="en-US"/>
        </a:p>
      </dgm:t>
    </dgm:pt>
  </dgm:ptLst>
  <dgm:cxnLst>
    <dgm:cxn modelId="{00B853D7-6777-4B4D-A546-6EB1EC31DC10}" type="presOf" srcId="{7630EC86-B5D2-4E6A-906C-EC36BCBD2F9B}" destId="{8F1FDF32-78E0-4ED1-970D-21E8309CEF5A}" srcOrd="0" destOrd="0" presId="urn:microsoft.com/office/officeart/2005/8/layout/cycle2"/>
    <dgm:cxn modelId="{722624A4-04C1-4416-B2E9-66F895E86E65}" type="presOf" srcId="{C3EFBD6A-E3EC-4E4A-B112-75A580157B18}" destId="{9336A9F3-2A53-40E9-8F9F-8E4C967B12C1}" srcOrd="0" destOrd="0" presId="urn:microsoft.com/office/officeart/2005/8/layout/cycle2"/>
    <dgm:cxn modelId="{BB555E61-A122-44CD-89A3-DD2485740C8B}" type="presOf" srcId="{D5290F46-685B-42D9-A176-CA6370062CB6}" destId="{EFE96AD8-1B36-480F-B9D4-5217307D065E}" srcOrd="1" destOrd="0" presId="urn:microsoft.com/office/officeart/2005/8/layout/cycle2"/>
    <dgm:cxn modelId="{DD22802A-6577-4820-9096-33B3A00E9485}" srcId="{FE0AF671-58B1-40F8-8B7A-983E652E7D40}" destId="{EA880416-D651-45A6-84F2-C54398F7B105}" srcOrd="8" destOrd="0" parTransId="{72BD0BD4-4B36-42CF-88B3-59B975F26DB9}" sibTransId="{7630EC86-B5D2-4E6A-906C-EC36BCBD2F9B}"/>
    <dgm:cxn modelId="{425B7410-43D6-41AE-B347-FA6A90AE48FF}" type="presOf" srcId="{315727AA-F8CB-4FAC-81F0-3D8F3BB1B56E}" destId="{FEA59801-9672-4D23-8192-A605C46BE70F}" srcOrd="0" destOrd="0" presId="urn:microsoft.com/office/officeart/2005/8/layout/cycle2"/>
    <dgm:cxn modelId="{90886F7D-A555-448A-970B-66915D802530}" type="presOf" srcId="{91162D75-99DA-487C-940D-DAE8D13C4447}" destId="{157C4094-4D48-4CA4-8FE3-C846251355F5}" srcOrd="0" destOrd="0" presId="urn:microsoft.com/office/officeart/2005/8/layout/cycle2"/>
    <dgm:cxn modelId="{053B5F10-BBCA-4CBA-BAFE-E0960AE52AF0}" srcId="{FE0AF671-58B1-40F8-8B7A-983E652E7D40}" destId="{B9D5BAA1-0541-416B-9895-A63D7BC366EC}" srcOrd="0" destOrd="0" parTransId="{6CC72F4D-15CE-4628-AAB8-CA3D7A770B90}" sibTransId="{1A1A6082-1BF4-40F3-BF25-E2599BB53BFA}"/>
    <dgm:cxn modelId="{35AD0238-3D2D-42F1-A663-3D1EDA1D08CE}" type="presOf" srcId="{1A1A6082-1BF4-40F3-BF25-E2599BB53BFA}" destId="{2546BF50-5AD8-40D0-A01F-A649CF2327DE}" srcOrd="1" destOrd="0" presId="urn:microsoft.com/office/officeart/2005/8/layout/cycle2"/>
    <dgm:cxn modelId="{576F5BBB-18B7-4E7E-BDC5-F8C2EB2088BA}" type="presOf" srcId="{0E50710D-2BD5-4826-B9D1-2870E5EAFE57}" destId="{80B8A62C-CA65-4F7F-B3E1-E47A6F8DBF28}" srcOrd="0" destOrd="0" presId="urn:microsoft.com/office/officeart/2005/8/layout/cycle2"/>
    <dgm:cxn modelId="{D20F3552-6562-4704-BE07-965AC2BCB277}" type="presOf" srcId="{FE0AF671-58B1-40F8-8B7A-983E652E7D40}" destId="{0314D0E1-52B0-4957-906A-3DED1FE20AB6}" srcOrd="0" destOrd="0" presId="urn:microsoft.com/office/officeart/2005/8/layout/cycle2"/>
    <dgm:cxn modelId="{571174B4-1144-4CE0-A420-DDBCC0F133B0}" type="presOf" srcId="{4D369322-CA3E-425E-AC5C-D9DEAEAC5E3C}" destId="{9B0B857B-DA14-4DB2-9764-FAEA0033B125}" srcOrd="0" destOrd="0" presId="urn:microsoft.com/office/officeart/2005/8/layout/cycle2"/>
    <dgm:cxn modelId="{374FB8D8-F2BA-4BE3-B47B-06B93785A526}" type="presOf" srcId="{D5290F46-685B-42D9-A176-CA6370062CB6}" destId="{342C44B1-3496-43E6-B7A3-2E7DE47A0EB1}" srcOrd="0" destOrd="0" presId="urn:microsoft.com/office/officeart/2005/8/layout/cycle2"/>
    <dgm:cxn modelId="{973CE8D2-45BF-4C4B-AC84-5A100CFBE28F}" type="presOf" srcId="{36CA222D-1275-4473-881C-488A61C55835}" destId="{9347F69F-9A85-4B8D-9DE5-233494D2AF22}" srcOrd="0" destOrd="0" presId="urn:microsoft.com/office/officeart/2005/8/layout/cycle2"/>
    <dgm:cxn modelId="{A23034D1-2180-4515-BFBD-03775BF96CA5}" type="presOf" srcId="{C1163CC9-4ECF-4D31-855C-26A2B3DCC5C4}" destId="{4C7C445F-E1C6-4F7A-821E-F674A343F87A}" srcOrd="0" destOrd="0" presId="urn:microsoft.com/office/officeart/2005/8/layout/cycle2"/>
    <dgm:cxn modelId="{2493B8C6-662F-4D16-8F9C-B05B511D759C}" type="presOf" srcId="{BF32EDA5-B1A7-4C67-9DEE-B0EFED1F5B2B}" destId="{798A8C5B-4663-468B-BDAB-5BC0D323EF4E}" srcOrd="0" destOrd="0" presId="urn:microsoft.com/office/officeart/2005/8/layout/cycle2"/>
    <dgm:cxn modelId="{88C68DC7-E1F1-42A3-B85C-6F4C36D64DA3}" type="presOf" srcId="{315727AA-F8CB-4FAC-81F0-3D8F3BB1B56E}" destId="{1AFE4D34-A1BE-488A-9816-71CABDC842F3}" srcOrd="1" destOrd="0" presId="urn:microsoft.com/office/officeart/2005/8/layout/cycle2"/>
    <dgm:cxn modelId="{51A770D2-4515-46B3-A76A-365F417D2CC6}" type="presOf" srcId="{B9D5BAA1-0541-416B-9895-A63D7BC366EC}" destId="{6B1C954F-37B9-4616-8073-9C538A00A4CD}" srcOrd="0" destOrd="0" presId="urn:microsoft.com/office/officeart/2005/8/layout/cycle2"/>
    <dgm:cxn modelId="{C8AF48C5-3496-447F-8ADD-E70E46CF415F}" type="presOf" srcId="{36CA222D-1275-4473-881C-488A61C55835}" destId="{7EFAF541-47AF-4C3C-9CFE-C8EF5507A27C}" srcOrd="1" destOrd="0" presId="urn:microsoft.com/office/officeart/2005/8/layout/cycle2"/>
    <dgm:cxn modelId="{020AF969-BAC5-4E07-9EE3-44DA9E2E6C8A}" type="presOf" srcId="{275AFB5B-A843-4E45-89A6-0D625719EC18}" destId="{AEC3BFE0-4A84-4A7A-9D2A-077ED9AD905B}" srcOrd="0" destOrd="0" presId="urn:microsoft.com/office/officeart/2005/8/layout/cycle2"/>
    <dgm:cxn modelId="{A90BD2E6-26DD-4658-9183-FB86A8B8C65F}" type="presOf" srcId="{4AB5C3AA-E12D-487A-99B0-D76EFF1AB462}" destId="{B05F7D2C-D848-4E12-98C6-11FDD917CB93}" srcOrd="0" destOrd="0" presId="urn:microsoft.com/office/officeart/2005/8/layout/cycle2"/>
    <dgm:cxn modelId="{E1753FF7-DDC4-4C09-BB90-C194CEB6445F}" srcId="{FE0AF671-58B1-40F8-8B7A-983E652E7D40}" destId="{275AFB5B-A843-4E45-89A6-0D625719EC18}" srcOrd="3" destOrd="0" parTransId="{78E41B58-F2A1-46CA-BF86-00BFC9F15560}" sibTransId="{DCEF1A9F-ED00-4444-8E7D-348279B7611D}"/>
    <dgm:cxn modelId="{C453EFB5-21B8-4DB0-B688-5FE3A729BD0D}" srcId="{FE0AF671-58B1-40F8-8B7A-983E652E7D40}" destId="{B9C095A4-09B3-4524-A547-0933F3DD34F1}" srcOrd="5" destOrd="0" parTransId="{0988FE12-EB7E-4D50-B71D-E1CCF85FF4CB}" sibTransId="{20D4FDE3-C196-41C9-8DB2-EF038981D495}"/>
    <dgm:cxn modelId="{58202C9A-D156-4429-930C-4ED26AF5441A}" type="presOf" srcId="{6A94E007-355E-4DF8-8BC8-31F5F07906F8}" destId="{23AEF67E-B71E-4BFF-8274-B39880BE8995}" srcOrd="0" destOrd="0" presId="urn:microsoft.com/office/officeart/2005/8/layout/cycle2"/>
    <dgm:cxn modelId="{470CF232-46D9-4F89-BDBB-46A851F2F629}" type="presOf" srcId="{1A1A6082-1BF4-40F3-BF25-E2599BB53BFA}" destId="{CF57B3AA-9D23-4D82-8D72-1A4D072C9CF6}" srcOrd="0" destOrd="0" presId="urn:microsoft.com/office/officeart/2005/8/layout/cycle2"/>
    <dgm:cxn modelId="{F848F667-0230-4D3B-8613-7B6AFB4DC0D8}" type="presOf" srcId="{E8860603-B54B-464D-847C-F39AD96130A4}" destId="{83195273-D2D4-405D-A258-93AFE8C7BE7A}" srcOrd="0" destOrd="0" presId="urn:microsoft.com/office/officeart/2005/8/layout/cycle2"/>
    <dgm:cxn modelId="{4C785615-9151-4F79-83AA-22228D9DEF0C}" type="presOf" srcId="{DCEF1A9F-ED00-4444-8E7D-348279B7611D}" destId="{A40E58EC-493C-4310-A857-E6D93F3F5222}" srcOrd="1" destOrd="0" presId="urn:microsoft.com/office/officeart/2005/8/layout/cycle2"/>
    <dgm:cxn modelId="{5C5B7394-C4A4-4187-85B2-0269D63E245D}" type="presOf" srcId="{A48FC8E7-DEF6-47DD-9FD7-A42C236E411D}" destId="{587F2F10-0AE6-474A-8CEB-4172CC329BE3}" srcOrd="1" destOrd="0" presId="urn:microsoft.com/office/officeart/2005/8/layout/cycle2"/>
    <dgm:cxn modelId="{9A3C2B1E-44F9-469C-A7BC-5A1AD392331C}" srcId="{FE0AF671-58B1-40F8-8B7A-983E652E7D40}" destId="{C3EFBD6A-E3EC-4E4A-B112-75A580157B18}" srcOrd="7" destOrd="0" parTransId="{3612719D-4FCA-4865-A190-987513537793}" sibTransId="{0E50710D-2BD5-4826-B9D1-2870E5EAFE57}"/>
    <dgm:cxn modelId="{E39D3228-A432-4DBD-8CA7-6A6ED95E71CE}" srcId="{FE0AF671-58B1-40F8-8B7A-983E652E7D40}" destId="{4AB5C3AA-E12D-487A-99B0-D76EFF1AB462}" srcOrd="2" destOrd="0" parTransId="{C4BDFA5F-E0EC-40C6-AB76-DB6C7624CCA8}" sibTransId="{D5290F46-685B-42D9-A176-CA6370062CB6}"/>
    <dgm:cxn modelId="{AEB7EDE5-1D16-475A-B61C-CBF7CFCC2F0F}" srcId="{FE0AF671-58B1-40F8-8B7A-983E652E7D40}" destId="{C1163CC9-4ECF-4D31-855C-26A2B3DCC5C4}" srcOrd="9" destOrd="0" parTransId="{B8FEF4D3-4E21-4BAE-801E-7205F8E8EF77}" sibTransId="{E2CB592C-1787-44C9-8686-4F00CBFA5CB1}"/>
    <dgm:cxn modelId="{79F53786-82B9-40CD-9BF0-1CC7289E5AEB}" type="presOf" srcId="{20D4FDE3-C196-41C9-8DB2-EF038981D495}" destId="{48C0BD33-5F17-45F5-9058-93C87A9DDC1F}" srcOrd="0" destOrd="0" presId="urn:microsoft.com/office/officeart/2005/8/layout/cycle2"/>
    <dgm:cxn modelId="{088E451F-315D-465F-882E-0B6B989ABB9B}" type="presOf" srcId="{A48FC8E7-DEF6-47DD-9FD7-A42C236E411D}" destId="{9851BCFD-6C0F-44EE-A90D-93FA72FAD479}" srcOrd="0" destOrd="0" presId="urn:microsoft.com/office/officeart/2005/8/layout/cycle2"/>
    <dgm:cxn modelId="{F2A06E19-CFC0-404E-B70E-CD0BC5BBB0DC}" type="presOf" srcId="{20D4FDE3-C196-41C9-8DB2-EF038981D495}" destId="{B1CEE351-6D90-4A79-B4AC-9CB274EA73AC}" srcOrd="1" destOrd="0" presId="urn:microsoft.com/office/officeart/2005/8/layout/cycle2"/>
    <dgm:cxn modelId="{04BBAD88-784F-4CD3-ACD2-573A155F2C5D}" type="presOf" srcId="{DCEF1A9F-ED00-4444-8E7D-348279B7611D}" destId="{BB722067-4A31-4156-9489-71E129EF8E43}" srcOrd="0" destOrd="0" presId="urn:microsoft.com/office/officeart/2005/8/layout/cycle2"/>
    <dgm:cxn modelId="{067E87D9-7197-4495-9E16-264246AB0E0E}" type="presOf" srcId="{B9C095A4-09B3-4524-A547-0933F3DD34F1}" destId="{5E517795-696C-4478-8F77-24582CDCDF88}" srcOrd="0" destOrd="0" presId="urn:microsoft.com/office/officeart/2005/8/layout/cycle2"/>
    <dgm:cxn modelId="{EC6E940E-FE21-4A38-A593-A9535A14AC12}" type="presOf" srcId="{E2CB592C-1787-44C9-8686-4F00CBFA5CB1}" destId="{45B6EB01-0DBC-44EB-8631-D6071B6D84B4}" srcOrd="1" destOrd="0" presId="urn:microsoft.com/office/officeart/2005/8/layout/cycle2"/>
    <dgm:cxn modelId="{7994F207-E6AF-4524-8B7E-BD601AF486E4}" srcId="{FE0AF671-58B1-40F8-8B7A-983E652E7D40}" destId="{E8860603-B54B-464D-847C-F39AD96130A4}" srcOrd="1" destOrd="0" parTransId="{C8927E3E-FCD4-4AC8-B757-904A4C4DD804}" sibTransId="{BF32EDA5-B1A7-4C67-9DEE-B0EFED1F5B2B}"/>
    <dgm:cxn modelId="{8E96A838-E72A-4FA2-86AA-F30D8E06CE4B}" type="presOf" srcId="{7630EC86-B5D2-4E6A-906C-EC36BCBD2F9B}" destId="{56E98031-14F7-4FF4-8CB0-C66FC7DF872F}" srcOrd="1" destOrd="0" presId="urn:microsoft.com/office/officeart/2005/8/layout/cycle2"/>
    <dgm:cxn modelId="{18C3D8FE-BE3A-4CDB-AEFC-C76C7D72DADC}" srcId="{FE0AF671-58B1-40F8-8B7A-983E652E7D40}" destId="{4D369322-CA3E-425E-AC5C-D9DEAEAC5E3C}" srcOrd="10" destOrd="0" parTransId="{2F3F6BF3-18D4-4D23-9378-A2C8486CF639}" sibTransId="{315727AA-F8CB-4FAC-81F0-3D8F3BB1B56E}"/>
    <dgm:cxn modelId="{8A07E47D-AC5D-4008-9A9B-4E2B07C4BC2D}" type="presOf" srcId="{E2CB592C-1787-44C9-8686-4F00CBFA5CB1}" destId="{00C6A176-9825-494C-8FDD-D407F0EF76CB}" srcOrd="0" destOrd="0" presId="urn:microsoft.com/office/officeart/2005/8/layout/cycle2"/>
    <dgm:cxn modelId="{D674B747-DC36-4B46-A9A4-8BF783668A38}" type="presOf" srcId="{0E50710D-2BD5-4826-B9D1-2870E5EAFE57}" destId="{D0FD9655-5A6C-4F6C-98FD-3B2D55F73505}" srcOrd="1" destOrd="0" presId="urn:microsoft.com/office/officeart/2005/8/layout/cycle2"/>
    <dgm:cxn modelId="{F2167190-DF36-40E0-8E07-A39452BE64C4}" srcId="{FE0AF671-58B1-40F8-8B7A-983E652E7D40}" destId="{6A94E007-355E-4DF8-8BC8-31F5F07906F8}" srcOrd="6" destOrd="0" parTransId="{0B989E99-4766-4E2D-BC08-E4F4A6472D16}" sibTransId="{A48FC8E7-DEF6-47DD-9FD7-A42C236E411D}"/>
    <dgm:cxn modelId="{1D585203-9E5D-4448-8C70-459FE5A662CD}" type="presOf" srcId="{BF32EDA5-B1A7-4C67-9DEE-B0EFED1F5B2B}" destId="{6C754846-F75A-4A89-A242-6671D8DDC5A9}" srcOrd="1" destOrd="0" presId="urn:microsoft.com/office/officeart/2005/8/layout/cycle2"/>
    <dgm:cxn modelId="{1D064A05-48DD-45D3-9DC7-EEB9329B5EC4}" srcId="{FE0AF671-58B1-40F8-8B7A-983E652E7D40}" destId="{91162D75-99DA-487C-940D-DAE8D13C4447}" srcOrd="4" destOrd="0" parTransId="{80DE664A-ECD6-4435-A4B2-FD6572B36AF8}" sibTransId="{36CA222D-1275-4473-881C-488A61C55835}"/>
    <dgm:cxn modelId="{F58CAE61-F2D3-4CEB-880E-24A119FD1746}" type="presOf" srcId="{EA880416-D651-45A6-84F2-C54398F7B105}" destId="{AA562BA4-1362-4B11-BE12-AAF95F9B0655}" srcOrd="0" destOrd="0" presId="urn:microsoft.com/office/officeart/2005/8/layout/cycle2"/>
    <dgm:cxn modelId="{E90998D5-68E4-4B93-81E1-40C21DF51275}" type="presParOf" srcId="{0314D0E1-52B0-4957-906A-3DED1FE20AB6}" destId="{6B1C954F-37B9-4616-8073-9C538A00A4CD}" srcOrd="0" destOrd="0" presId="urn:microsoft.com/office/officeart/2005/8/layout/cycle2"/>
    <dgm:cxn modelId="{75E7514A-1259-482E-B185-5C21A8EEF2B4}" type="presParOf" srcId="{0314D0E1-52B0-4957-906A-3DED1FE20AB6}" destId="{CF57B3AA-9D23-4D82-8D72-1A4D072C9CF6}" srcOrd="1" destOrd="0" presId="urn:microsoft.com/office/officeart/2005/8/layout/cycle2"/>
    <dgm:cxn modelId="{64E28AB6-99E5-462E-B117-3BA6C944508E}" type="presParOf" srcId="{CF57B3AA-9D23-4D82-8D72-1A4D072C9CF6}" destId="{2546BF50-5AD8-40D0-A01F-A649CF2327DE}" srcOrd="0" destOrd="0" presId="urn:microsoft.com/office/officeart/2005/8/layout/cycle2"/>
    <dgm:cxn modelId="{A5633201-57FC-4008-BB6B-213ACD156F94}" type="presParOf" srcId="{0314D0E1-52B0-4957-906A-3DED1FE20AB6}" destId="{83195273-D2D4-405D-A258-93AFE8C7BE7A}" srcOrd="2" destOrd="0" presId="urn:microsoft.com/office/officeart/2005/8/layout/cycle2"/>
    <dgm:cxn modelId="{1B48D9BD-E268-4337-8534-1898B143A72F}" type="presParOf" srcId="{0314D0E1-52B0-4957-906A-3DED1FE20AB6}" destId="{798A8C5B-4663-468B-BDAB-5BC0D323EF4E}" srcOrd="3" destOrd="0" presId="urn:microsoft.com/office/officeart/2005/8/layout/cycle2"/>
    <dgm:cxn modelId="{02F5110E-CFA2-4E3F-AA89-89FE7A5BC695}" type="presParOf" srcId="{798A8C5B-4663-468B-BDAB-5BC0D323EF4E}" destId="{6C754846-F75A-4A89-A242-6671D8DDC5A9}" srcOrd="0" destOrd="0" presId="urn:microsoft.com/office/officeart/2005/8/layout/cycle2"/>
    <dgm:cxn modelId="{B60A71BB-D5DE-4521-ABF8-CA1EA1A5F6BD}" type="presParOf" srcId="{0314D0E1-52B0-4957-906A-3DED1FE20AB6}" destId="{B05F7D2C-D848-4E12-98C6-11FDD917CB93}" srcOrd="4" destOrd="0" presId="urn:microsoft.com/office/officeart/2005/8/layout/cycle2"/>
    <dgm:cxn modelId="{661793DA-8E4C-4BD1-A466-6D83256465E1}" type="presParOf" srcId="{0314D0E1-52B0-4957-906A-3DED1FE20AB6}" destId="{342C44B1-3496-43E6-B7A3-2E7DE47A0EB1}" srcOrd="5" destOrd="0" presId="urn:microsoft.com/office/officeart/2005/8/layout/cycle2"/>
    <dgm:cxn modelId="{53223D90-4AB9-4111-BC61-3B022F28E0A4}" type="presParOf" srcId="{342C44B1-3496-43E6-B7A3-2E7DE47A0EB1}" destId="{EFE96AD8-1B36-480F-B9D4-5217307D065E}" srcOrd="0" destOrd="0" presId="urn:microsoft.com/office/officeart/2005/8/layout/cycle2"/>
    <dgm:cxn modelId="{B8CEA98C-1175-4308-BC13-B2052548FF60}" type="presParOf" srcId="{0314D0E1-52B0-4957-906A-3DED1FE20AB6}" destId="{AEC3BFE0-4A84-4A7A-9D2A-077ED9AD905B}" srcOrd="6" destOrd="0" presId="urn:microsoft.com/office/officeart/2005/8/layout/cycle2"/>
    <dgm:cxn modelId="{FF73DBB2-2FB5-4BA7-BCAF-DB07A6C0CB45}" type="presParOf" srcId="{0314D0E1-52B0-4957-906A-3DED1FE20AB6}" destId="{BB722067-4A31-4156-9489-71E129EF8E43}" srcOrd="7" destOrd="0" presId="urn:microsoft.com/office/officeart/2005/8/layout/cycle2"/>
    <dgm:cxn modelId="{FCFF923F-0A1F-4644-BBA8-D340F8434048}" type="presParOf" srcId="{BB722067-4A31-4156-9489-71E129EF8E43}" destId="{A40E58EC-493C-4310-A857-E6D93F3F5222}" srcOrd="0" destOrd="0" presId="urn:microsoft.com/office/officeart/2005/8/layout/cycle2"/>
    <dgm:cxn modelId="{9EEC32A8-EC44-47B8-9C82-838535F4486F}" type="presParOf" srcId="{0314D0E1-52B0-4957-906A-3DED1FE20AB6}" destId="{157C4094-4D48-4CA4-8FE3-C846251355F5}" srcOrd="8" destOrd="0" presId="urn:microsoft.com/office/officeart/2005/8/layout/cycle2"/>
    <dgm:cxn modelId="{0546E3B4-AAE4-4F34-AA04-E136BDEEF9DE}" type="presParOf" srcId="{0314D0E1-52B0-4957-906A-3DED1FE20AB6}" destId="{9347F69F-9A85-4B8D-9DE5-233494D2AF22}" srcOrd="9" destOrd="0" presId="urn:microsoft.com/office/officeart/2005/8/layout/cycle2"/>
    <dgm:cxn modelId="{8EBA759A-5543-46B2-9AC7-9FAD050EF32C}" type="presParOf" srcId="{9347F69F-9A85-4B8D-9DE5-233494D2AF22}" destId="{7EFAF541-47AF-4C3C-9CFE-C8EF5507A27C}" srcOrd="0" destOrd="0" presId="urn:microsoft.com/office/officeart/2005/8/layout/cycle2"/>
    <dgm:cxn modelId="{B9549E2A-7709-44D0-BC99-A1B8266267EA}" type="presParOf" srcId="{0314D0E1-52B0-4957-906A-3DED1FE20AB6}" destId="{5E517795-696C-4478-8F77-24582CDCDF88}" srcOrd="10" destOrd="0" presId="urn:microsoft.com/office/officeart/2005/8/layout/cycle2"/>
    <dgm:cxn modelId="{D5F0C0F6-A2FD-482D-9E38-BEA0EE63BF24}" type="presParOf" srcId="{0314D0E1-52B0-4957-906A-3DED1FE20AB6}" destId="{48C0BD33-5F17-45F5-9058-93C87A9DDC1F}" srcOrd="11" destOrd="0" presId="urn:microsoft.com/office/officeart/2005/8/layout/cycle2"/>
    <dgm:cxn modelId="{0A4EDE92-41F0-4F07-B37A-8563399FC946}" type="presParOf" srcId="{48C0BD33-5F17-45F5-9058-93C87A9DDC1F}" destId="{B1CEE351-6D90-4A79-B4AC-9CB274EA73AC}" srcOrd="0" destOrd="0" presId="urn:microsoft.com/office/officeart/2005/8/layout/cycle2"/>
    <dgm:cxn modelId="{3BD76D8E-334E-4D37-BC89-97BE49FFD9C4}" type="presParOf" srcId="{0314D0E1-52B0-4957-906A-3DED1FE20AB6}" destId="{23AEF67E-B71E-4BFF-8274-B39880BE8995}" srcOrd="12" destOrd="0" presId="urn:microsoft.com/office/officeart/2005/8/layout/cycle2"/>
    <dgm:cxn modelId="{00A372B3-1B9B-4CCB-B41E-3DA6BB6D4E74}" type="presParOf" srcId="{0314D0E1-52B0-4957-906A-3DED1FE20AB6}" destId="{9851BCFD-6C0F-44EE-A90D-93FA72FAD479}" srcOrd="13" destOrd="0" presId="urn:microsoft.com/office/officeart/2005/8/layout/cycle2"/>
    <dgm:cxn modelId="{E35EC581-453F-4629-9719-1953F98AEEE0}" type="presParOf" srcId="{9851BCFD-6C0F-44EE-A90D-93FA72FAD479}" destId="{587F2F10-0AE6-474A-8CEB-4172CC329BE3}" srcOrd="0" destOrd="0" presId="urn:microsoft.com/office/officeart/2005/8/layout/cycle2"/>
    <dgm:cxn modelId="{1961A3E1-86C3-47BB-B50A-B42AADE7109B}" type="presParOf" srcId="{0314D0E1-52B0-4957-906A-3DED1FE20AB6}" destId="{9336A9F3-2A53-40E9-8F9F-8E4C967B12C1}" srcOrd="14" destOrd="0" presId="urn:microsoft.com/office/officeart/2005/8/layout/cycle2"/>
    <dgm:cxn modelId="{AE21D343-5E64-40C5-BAFE-56F5B505E05E}" type="presParOf" srcId="{0314D0E1-52B0-4957-906A-3DED1FE20AB6}" destId="{80B8A62C-CA65-4F7F-B3E1-E47A6F8DBF28}" srcOrd="15" destOrd="0" presId="urn:microsoft.com/office/officeart/2005/8/layout/cycle2"/>
    <dgm:cxn modelId="{21B9F8CD-7E93-4105-9968-C1ECE5014992}" type="presParOf" srcId="{80B8A62C-CA65-4F7F-B3E1-E47A6F8DBF28}" destId="{D0FD9655-5A6C-4F6C-98FD-3B2D55F73505}" srcOrd="0" destOrd="0" presId="urn:microsoft.com/office/officeart/2005/8/layout/cycle2"/>
    <dgm:cxn modelId="{5EDDCFC1-A4FD-4C85-9C2F-8389D1F039F9}" type="presParOf" srcId="{0314D0E1-52B0-4957-906A-3DED1FE20AB6}" destId="{AA562BA4-1362-4B11-BE12-AAF95F9B0655}" srcOrd="16" destOrd="0" presId="urn:microsoft.com/office/officeart/2005/8/layout/cycle2"/>
    <dgm:cxn modelId="{02691558-A550-4536-ACF8-A1F751C467FB}" type="presParOf" srcId="{0314D0E1-52B0-4957-906A-3DED1FE20AB6}" destId="{8F1FDF32-78E0-4ED1-970D-21E8309CEF5A}" srcOrd="17" destOrd="0" presId="urn:microsoft.com/office/officeart/2005/8/layout/cycle2"/>
    <dgm:cxn modelId="{FC3F84D2-CD6D-4988-8761-4977D8772FA0}" type="presParOf" srcId="{8F1FDF32-78E0-4ED1-970D-21E8309CEF5A}" destId="{56E98031-14F7-4FF4-8CB0-C66FC7DF872F}" srcOrd="0" destOrd="0" presId="urn:microsoft.com/office/officeart/2005/8/layout/cycle2"/>
    <dgm:cxn modelId="{880E1797-57BC-422B-ADE2-CC506F07C9C6}" type="presParOf" srcId="{0314D0E1-52B0-4957-906A-3DED1FE20AB6}" destId="{4C7C445F-E1C6-4F7A-821E-F674A343F87A}" srcOrd="18" destOrd="0" presId="urn:microsoft.com/office/officeart/2005/8/layout/cycle2"/>
    <dgm:cxn modelId="{7657A840-4EEB-4111-AD0A-08540E0D35BB}" type="presParOf" srcId="{0314D0E1-52B0-4957-906A-3DED1FE20AB6}" destId="{00C6A176-9825-494C-8FDD-D407F0EF76CB}" srcOrd="19" destOrd="0" presId="urn:microsoft.com/office/officeart/2005/8/layout/cycle2"/>
    <dgm:cxn modelId="{42A27FCA-91D0-421B-BE01-6498CB17332A}" type="presParOf" srcId="{00C6A176-9825-494C-8FDD-D407F0EF76CB}" destId="{45B6EB01-0DBC-44EB-8631-D6071B6D84B4}" srcOrd="0" destOrd="0" presId="urn:microsoft.com/office/officeart/2005/8/layout/cycle2"/>
    <dgm:cxn modelId="{CA08B4C8-57BB-4D9B-8B40-AEEC10B2BAA0}" type="presParOf" srcId="{0314D0E1-52B0-4957-906A-3DED1FE20AB6}" destId="{9B0B857B-DA14-4DB2-9764-FAEA0033B125}" srcOrd="20" destOrd="0" presId="urn:microsoft.com/office/officeart/2005/8/layout/cycle2"/>
    <dgm:cxn modelId="{512E0597-86B4-46E6-9DE1-17D36871884B}" type="presParOf" srcId="{0314D0E1-52B0-4957-906A-3DED1FE20AB6}" destId="{FEA59801-9672-4D23-8192-A605C46BE70F}" srcOrd="21" destOrd="0" presId="urn:microsoft.com/office/officeart/2005/8/layout/cycle2"/>
    <dgm:cxn modelId="{3CB1BDE6-C291-4A43-9156-C46622C5A189}" type="presParOf" srcId="{FEA59801-9672-4D23-8192-A605C46BE70F}" destId="{1AFE4D34-A1BE-488A-9816-71CABDC842F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A4B05D-6A93-4D0A-BD34-2F2FA42CE1F8}">
      <dsp:nvSpPr>
        <dsp:cNvPr id="0" name=""/>
        <dsp:cNvSpPr/>
      </dsp:nvSpPr>
      <dsp:spPr>
        <a:xfrm>
          <a:off x="4189695" y="1539766"/>
          <a:ext cx="602429" cy="286701"/>
        </a:xfrm>
        <a:custGeom>
          <a:avLst/>
          <a:gdLst/>
          <a:ahLst/>
          <a:cxnLst/>
          <a:rect l="0" t="0" r="0" b="0"/>
          <a:pathLst>
            <a:path>
              <a:moveTo>
                <a:pt x="0" y="0"/>
              </a:moveTo>
              <a:lnTo>
                <a:pt x="0" y="195378"/>
              </a:lnTo>
              <a:lnTo>
                <a:pt x="602429" y="195378"/>
              </a:lnTo>
              <a:lnTo>
                <a:pt x="602429" y="286701"/>
              </a:lnTo>
            </a:path>
          </a:pathLst>
        </a:custGeom>
        <a:noFill/>
        <a:ln w="12700" cap="flat" cmpd="sng" algn="ctr">
          <a:solidFill>
            <a:schemeClr val="accent3">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F75A3F1A-946A-40E7-89FF-42AA28405721}">
      <dsp:nvSpPr>
        <dsp:cNvPr id="0" name=""/>
        <dsp:cNvSpPr/>
      </dsp:nvSpPr>
      <dsp:spPr>
        <a:xfrm>
          <a:off x="3587266" y="1539766"/>
          <a:ext cx="602429" cy="286701"/>
        </a:xfrm>
        <a:custGeom>
          <a:avLst/>
          <a:gdLst/>
          <a:ahLst/>
          <a:cxnLst/>
          <a:rect l="0" t="0" r="0" b="0"/>
          <a:pathLst>
            <a:path>
              <a:moveTo>
                <a:pt x="602429" y="0"/>
              </a:moveTo>
              <a:lnTo>
                <a:pt x="602429" y="195378"/>
              </a:lnTo>
              <a:lnTo>
                <a:pt x="0" y="195378"/>
              </a:lnTo>
              <a:lnTo>
                <a:pt x="0" y="286701"/>
              </a:lnTo>
            </a:path>
          </a:pathLst>
        </a:custGeom>
        <a:noFill/>
        <a:ln w="12700" cap="flat" cmpd="sng" algn="ctr">
          <a:solidFill>
            <a:schemeClr val="accent3">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1662F680-62F3-4109-BCEF-599E9A856EA9}">
      <dsp:nvSpPr>
        <dsp:cNvPr id="0" name=""/>
        <dsp:cNvSpPr/>
      </dsp:nvSpPr>
      <dsp:spPr>
        <a:xfrm>
          <a:off x="2984837" y="627086"/>
          <a:ext cx="1204858" cy="286701"/>
        </a:xfrm>
        <a:custGeom>
          <a:avLst/>
          <a:gdLst/>
          <a:ahLst/>
          <a:cxnLst/>
          <a:rect l="0" t="0" r="0" b="0"/>
          <a:pathLst>
            <a:path>
              <a:moveTo>
                <a:pt x="0" y="0"/>
              </a:moveTo>
              <a:lnTo>
                <a:pt x="0" y="195378"/>
              </a:lnTo>
              <a:lnTo>
                <a:pt x="1204858" y="195378"/>
              </a:lnTo>
              <a:lnTo>
                <a:pt x="1204858" y="286701"/>
              </a:lnTo>
            </a:path>
          </a:pathLst>
        </a:custGeom>
        <a:noFill/>
        <a:ln w="12700" cap="flat" cmpd="sng" algn="ctr">
          <a:solidFill>
            <a:schemeClr val="accent2">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C315A791-912D-4F18-B4CC-4DA8E7D90829}">
      <dsp:nvSpPr>
        <dsp:cNvPr id="0" name=""/>
        <dsp:cNvSpPr/>
      </dsp:nvSpPr>
      <dsp:spPr>
        <a:xfrm>
          <a:off x="1779978" y="1539766"/>
          <a:ext cx="602429" cy="286701"/>
        </a:xfrm>
        <a:custGeom>
          <a:avLst/>
          <a:gdLst/>
          <a:ahLst/>
          <a:cxnLst/>
          <a:rect l="0" t="0" r="0" b="0"/>
          <a:pathLst>
            <a:path>
              <a:moveTo>
                <a:pt x="0" y="0"/>
              </a:moveTo>
              <a:lnTo>
                <a:pt x="0" y="195378"/>
              </a:lnTo>
              <a:lnTo>
                <a:pt x="602429" y="195378"/>
              </a:lnTo>
              <a:lnTo>
                <a:pt x="602429" y="286701"/>
              </a:lnTo>
            </a:path>
          </a:pathLst>
        </a:custGeom>
        <a:noFill/>
        <a:ln w="12700" cap="flat" cmpd="sng" algn="ctr">
          <a:solidFill>
            <a:schemeClr val="accent3">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2D9E6645-198F-476C-B429-825EE4E3E8D1}">
      <dsp:nvSpPr>
        <dsp:cNvPr id="0" name=""/>
        <dsp:cNvSpPr/>
      </dsp:nvSpPr>
      <dsp:spPr>
        <a:xfrm>
          <a:off x="1177549" y="1539766"/>
          <a:ext cx="602429" cy="286701"/>
        </a:xfrm>
        <a:custGeom>
          <a:avLst/>
          <a:gdLst/>
          <a:ahLst/>
          <a:cxnLst/>
          <a:rect l="0" t="0" r="0" b="0"/>
          <a:pathLst>
            <a:path>
              <a:moveTo>
                <a:pt x="602429" y="0"/>
              </a:moveTo>
              <a:lnTo>
                <a:pt x="602429" y="195378"/>
              </a:lnTo>
              <a:lnTo>
                <a:pt x="0" y="195378"/>
              </a:lnTo>
              <a:lnTo>
                <a:pt x="0" y="286701"/>
              </a:lnTo>
            </a:path>
          </a:pathLst>
        </a:custGeom>
        <a:noFill/>
        <a:ln w="12700" cap="flat" cmpd="sng" algn="ctr">
          <a:solidFill>
            <a:schemeClr val="accent3">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97BA32B6-989A-4F51-A055-F766CCF43DA6}">
      <dsp:nvSpPr>
        <dsp:cNvPr id="0" name=""/>
        <dsp:cNvSpPr/>
      </dsp:nvSpPr>
      <dsp:spPr>
        <a:xfrm>
          <a:off x="1779978" y="627086"/>
          <a:ext cx="1204858" cy="286701"/>
        </a:xfrm>
        <a:custGeom>
          <a:avLst/>
          <a:gdLst/>
          <a:ahLst/>
          <a:cxnLst/>
          <a:rect l="0" t="0" r="0" b="0"/>
          <a:pathLst>
            <a:path>
              <a:moveTo>
                <a:pt x="1204858" y="0"/>
              </a:moveTo>
              <a:lnTo>
                <a:pt x="1204858" y="195378"/>
              </a:lnTo>
              <a:lnTo>
                <a:pt x="0" y="195378"/>
              </a:lnTo>
              <a:lnTo>
                <a:pt x="0" y="286701"/>
              </a:lnTo>
            </a:path>
          </a:pathLst>
        </a:custGeom>
        <a:noFill/>
        <a:ln w="12700" cap="flat" cmpd="sng" algn="ctr">
          <a:solidFill>
            <a:schemeClr val="accent2">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B41B44AB-D549-470F-A94B-E9B9A7E8F1B3}">
      <dsp:nvSpPr>
        <dsp:cNvPr id="0" name=""/>
        <dsp:cNvSpPr/>
      </dsp:nvSpPr>
      <dsp:spPr>
        <a:xfrm>
          <a:off x="2491940" y="1107"/>
          <a:ext cx="985793" cy="625978"/>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53C721DF-6882-4034-B224-42FCAA2E8E30}">
      <dsp:nvSpPr>
        <dsp:cNvPr id="0" name=""/>
        <dsp:cNvSpPr/>
      </dsp:nvSpPr>
      <dsp:spPr>
        <a:xfrm>
          <a:off x="2601473" y="105163"/>
          <a:ext cx="985793" cy="625978"/>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altLang="en-US"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课题经费预算</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sp:txBody>
      <dsp:txXfrm>
        <a:off x="2619807" y="123497"/>
        <a:ext cx="949125" cy="589310"/>
      </dsp:txXfrm>
    </dsp:sp>
    <dsp:sp modelId="{C406AC3A-46FC-436A-B054-AD0F69571E9D}">
      <dsp:nvSpPr>
        <dsp:cNvPr id="0" name=""/>
        <dsp:cNvSpPr/>
      </dsp:nvSpPr>
      <dsp:spPr>
        <a:xfrm>
          <a:off x="1287082" y="913787"/>
          <a:ext cx="985793" cy="625978"/>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BF00F526-DA92-4549-9651-70203CF5825C}">
      <dsp:nvSpPr>
        <dsp:cNvPr id="0" name=""/>
        <dsp:cNvSpPr/>
      </dsp:nvSpPr>
      <dsp:spPr>
        <a:xfrm>
          <a:off x="1396614" y="1017843"/>
          <a:ext cx="985793" cy="625978"/>
        </a:xfrm>
        <a:prstGeom prst="roundRect">
          <a:avLst>
            <a:gd name="adj" fmla="val 10000"/>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经费支出预算</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sp:txBody>
      <dsp:txXfrm>
        <a:off x="1414948" y="1036177"/>
        <a:ext cx="949125" cy="589310"/>
      </dsp:txXfrm>
    </dsp:sp>
    <dsp:sp modelId="{EC3B3E9E-A171-46E4-A662-5A3CEF5833AE}">
      <dsp:nvSpPr>
        <dsp:cNvPr id="0" name=""/>
        <dsp:cNvSpPr/>
      </dsp:nvSpPr>
      <dsp:spPr>
        <a:xfrm>
          <a:off x="684652" y="1826467"/>
          <a:ext cx="985793" cy="625978"/>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0BDB510D-E374-4D58-953A-516FB7401C80}">
      <dsp:nvSpPr>
        <dsp:cNvPr id="0" name=""/>
        <dsp:cNvSpPr/>
      </dsp:nvSpPr>
      <dsp:spPr>
        <a:xfrm>
          <a:off x="794185" y="1930523"/>
          <a:ext cx="985793" cy="625978"/>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直接费用</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sp:txBody>
      <dsp:txXfrm>
        <a:off x="812519" y="1948857"/>
        <a:ext cx="949125" cy="589310"/>
      </dsp:txXfrm>
    </dsp:sp>
    <dsp:sp modelId="{802E0847-22E8-4BE1-B78A-24D8F0705300}">
      <dsp:nvSpPr>
        <dsp:cNvPr id="0" name=""/>
        <dsp:cNvSpPr/>
      </dsp:nvSpPr>
      <dsp:spPr>
        <a:xfrm>
          <a:off x="1889511" y="1826467"/>
          <a:ext cx="985793" cy="625978"/>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CF04CEB2-3423-45DE-998A-FCFCF128FE54}">
      <dsp:nvSpPr>
        <dsp:cNvPr id="0" name=""/>
        <dsp:cNvSpPr/>
      </dsp:nvSpPr>
      <dsp:spPr>
        <a:xfrm>
          <a:off x="1999043" y="1930523"/>
          <a:ext cx="985793" cy="625978"/>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间接费用</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sp:txBody>
      <dsp:txXfrm>
        <a:off x="2017377" y="1948857"/>
        <a:ext cx="949125" cy="589310"/>
      </dsp:txXfrm>
    </dsp:sp>
    <dsp:sp modelId="{87BAC484-6AE1-4F58-8AB2-3D6B9717426B}">
      <dsp:nvSpPr>
        <dsp:cNvPr id="0" name=""/>
        <dsp:cNvSpPr/>
      </dsp:nvSpPr>
      <dsp:spPr>
        <a:xfrm>
          <a:off x="3696799" y="913787"/>
          <a:ext cx="985793" cy="625978"/>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18742FDA-C35D-49A8-925D-CBE9C7F4926E}">
      <dsp:nvSpPr>
        <dsp:cNvPr id="0" name=""/>
        <dsp:cNvSpPr/>
      </dsp:nvSpPr>
      <dsp:spPr>
        <a:xfrm>
          <a:off x="3806331" y="1017843"/>
          <a:ext cx="985793" cy="625978"/>
        </a:xfrm>
        <a:prstGeom prst="roundRect">
          <a:avLst>
            <a:gd name="adj" fmla="val 10000"/>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经费来源预算</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sp:txBody>
      <dsp:txXfrm>
        <a:off x="3824665" y="1036177"/>
        <a:ext cx="949125" cy="589310"/>
      </dsp:txXfrm>
    </dsp:sp>
    <dsp:sp modelId="{8067E3FD-8888-4929-AC70-6F9C0386E9E2}">
      <dsp:nvSpPr>
        <dsp:cNvPr id="0" name=""/>
        <dsp:cNvSpPr/>
      </dsp:nvSpPr>
      <dsp:spPr>
        <a:xfrm>
          <a:off x="3094369" y="1826467"/>
          <a:ext cx="985793" cy="625978"/>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C14C23E4-BBBB-4EB1-81DC-945DB4DB9E80}">
      <dsp:nvSpPr>
        <dsp:cNvPr id="0" name=""/>
        <dsp:cNvSpPr/>
      </dsp:nvSpPr>
      <dsp:spPr>
        <a:xfrm>
          <a:off x="3203902" y="1930523"/>
          <a:ext cx="985793" cy="625978"/>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专项经费</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sp:txBody>
      <dsp:txXfrm>
        <a:off x="3222236" y="1948857"/>
        <a:ext cx="949125" cy="589310"/>
      </dsp:txXfrm>
    </dsp:sp>
    <dsp:sp modelId="{42C9365C-3EE6-47D1-A659-08D47D96818A}">
      <dsp:nvSpPr>
        <dsp:cNvPr id="0" name=""/>
        <dsp:cNvSpPr/>
      </dsp:nvSpPr>
      <dsp:spPr>
        <a:xfrm>
          <a:off x="4299228" y="1826467"/>
          <a:ext cx="985793" cy="625978"/>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96D7715C-E6E9-4838-8E90-94521A3C4FFB}">
      <dsp:nvSpPr>
        <dsp:cNvPr id="0" name=""/>
        <dsp:cNvSpPr/>
      </dsp:nvSpPr>
      <dsp:spPr>
        <a:xfrm>
          <a:off x="4408760" y="1930523"/>
          <a:ext cx="985793" cy="625978"/>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sz="1600" b="1" kern="1200" dirty="0" smtClean="0">
              <a:ln w="3175"/>
              <a:effectLst>
                <a:outerShdw blurRad="38100" dist="38100" dir="2700000" algn="tl">
                  <a:srgbClr val="000000">
                    <a:alpha val="43137"/>
                  </a:srgbClr>
                </a:outerShdw>
              </a:effectLst>
              <a:latin typeface="方正风雅宋简体" pitchFamily="2" charset="-122"/>
              <a:ea typeface="方正风雅宋简体" pitchFamily="2" charset="-122"/>
              <a:cs typeface="+mn-cs"/>
            </a:rPr>
            <a:t>自筹经费</a:t>
          </a:r>
          <a:endParaRPr lang="zh-CN" altLang="en-US" sz="1600" b="1" kern="1200" dirty="0">
            <a:ln w="3175"/>
            <a:effectLst>
              <a:outerShdw blurRad="38100" dist="38100" dir="2700000" algn="tl">
                <a:srgbClr val="000000">
                  <a:alpha val="43137"/>
                </a:srgbClr>
              </a:outerShdw>
            </a:effectLst>
            <a:latin typeface="方正风雅宋简体" pitchFamily="2" charset="-122"/>
            <a:ea typeface="方正风雅宋简体" pitchFamily="2" charset="-122"/>
            <a:cs typeface="+mn-cs"/>
          </a:endParaRPr>
        </a:p>
      </dsp:txBody>
      <dsp:txXfrm>
        <a:off x="4427094" y="1948857"/>
        <a:ext cx="949125" cy="58931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rgbClr val="848A9A"/>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rgbClr val="848A9A"/>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431145" y="285750"/>
          <a:ext cx="759856" cy="629698"/>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设备费</a:t>
          </a:r>
          <a:endParaRPr lang="zh-CN" altLang="en-US" sz="1200" b="1" kern="1200" dirty="0"/>
        </a:p>
      </dsp:txBody>
      <dsp:txXfrm>
        <a:off x="3542423" y="377967"/>
        <a:ext cx="537300" cy="445264"/>
      </dsp:txXfrm>
    </dsp:sp>
    <dsp:sp modelId="{CF57B3AA-9D23-4D82-8D72-1A4D072C9CF6}">
      <dsp:nvSpPr>
        <dsp:cNvPr id="0" name=""/>
        <dsp:cNvSpPr/>
      </dsp:nvSpPr>
      <dsp:spPr>
        <a:xfrm rot="911228">
          <a:off x="4412844" y="723029"/>
          <a:ext cx="219527"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4413585" y="745758"/>
        <a:ext cx="177096" cy="84862"/>
      </dsp:txXfrm>
    </dsp:sp>
    <dsp:sp modelId="{83195273-D2D4-405D-A258-93AFE8C7BE7A}">
      <dsp:nvSpPr>
        <dsp:cNvPr id="0" name=""/>
        <dsp:cNvSpPr/>
      </dsp:nvSpPr>
      <dsp:spPr>
        <a:xfrm>
          <a:off x="4882565" y="749862"/>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材料费</a:t>
          </a:r>
          <a:endParaRPr lang="zh-CN" altLang="en-US" sz="600" kern="1200" dirty="0"/>
        </a:p>
      </dsp:txBody>
      <dsp:txXfrm>
        <a:off x="4955875" y="811235"/>
        <a:ext cx="353969" cy="296334"/>
      </dsp:txXfrm>
    </dsp:sp>
    <dsp:sp modelId="{798A8C5B-4663-468B-BDAB-5BC0D323EF4E}">
      <dsp:nvSpPr>
        <dsp:cNvPr id="0" name=""/>
        <dsp:cNvSpPr/>
      </dsp:nvSpPr>
      <dsp:spPr>
        <a:xfrm rot="2945455">
          <a:off x="5435265" y="1391433"/>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442587" y="1403686"/>
        <a:ext cx="224027" cy="84862"/>
      </dsp:txXfrm>
    </dsp:sp>
    <dsp:sp modelId="{B05F7D2C-D848-4E12-98C6-11FDD917CB93}">
      <dsp:nvSpPr>
        <dsp:cNvPr id="0" name=""/>
        <dsp:cNvSpPr/>
      </dsp:nvSpPr>
      <dsp:spPr>
        <a:xfrm>
          <a:off x="5771689" y="1775966"/>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测试化验加工费</a:t>
          </a:r>
          <a:endParaRPr lang="zh-CN" altLang="en-US" sz="600" kern="1200" dirty="0"/>
        </a:p>
      </dsp:txBody>
      <dsp:txXfrm>
        <a:off x="5844999" y="1837339"/>
        <a:ext cx="353969" cy="296334"/>
      </dsp:txXfrm>
    </dsp:sp>
    <dsp:sp modelId="{342C44B1-3496-43E6-B7A3-2E7DE47A0EB1}">
      <dsp:nvSpPr>
        <dsp:cNvPr id="0" name=""/>
        <dsp:cNvSpPr/>
      </dsp:nvSpPr>
      <dsp:spPr>
        <a:xfrm rot="4909091">
          <a:off x="5979188" y="2572826"/>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997384" y="2580113"/>
        <a:ext cx="232383" cy="84862"/>
      </dsp:txXfrm>
    </dsp:sp>
    <dsp:sp modelId="{AEC3BFE0-4A84-4A7A-9D2A-077ED9AD905B}">
      <dsp:nvSpPr>
        <dsp:cNvPr id="0" name=""/>
        <dsp:cNvSpPr/>
      </dsp:nvSpPr>
      <dsp:spPr>
        <a:xfrm>
          <a:off x="5964914" y="311987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81250"/>
        <a:ext cx="353969" cy="296334"/>
      </dsp:txXfrm>
    </dsp:sp>
    <dsp:sp modelId="{BB722067-4A31-4156-9489-71E129EF8E43}">
      <dsp:nvSpPr>
        <dsp:cNvPr id="0" name=""/>
        <dsp:cNvSpPr/>
      </dsp:nvSpPr>
      <dsp:spPr>
        <a:xfrm rot="6872727">
          <a:off x="5803033" y="3863563"/>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5833062" y="3872552"/>
        <a:ext cx="229457" cy="84862"/>
      </dsp:txXfrm>
    </dsp:sp>
    <dsp:sp modelId="{157C4094-4D48-4CA4-8FE3-C846251355F5}">
      <dsp:nvSpPr>
        <dsp:cNvPr id="0" name=""/>
        <dsp:cNvSpPr/>
      </dsp:nvSpPr>
      <dsp:spPr>
        <a:xfrm>
          <a:off x="5400893" y="435491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差旅费</a:t>
          </a:r>
          <a:r>
            <a:rPr lang="en-US" altLang="zh-CN" sz="600" kern="1200" dirty="0" smtClean="0"/>
            <a:t>  </a:t>
          </a:r>
          <a:endParaRPr lang="zh-CN" altLang="en-US" sz="600" kern="1200" dirty="0"/>
        </a:p>
      </dsp:txBody>
      <dsp:txXfrm>
        <a:off x="5474203" y="4416286"/>
        <a:ext cx="353969" cy="296334"/>
      </dsp:txXfrm>
    </dsp:sp>
    <dsp:sp modelId="{9347F69F-9A85-4B8D-9DE5-233494D2AF22}">
      <dsp:nvSpPr>
        <dsp:cNvPr id="0" name=""/>
        <dsp:cNvSpPr/>
      </dsp:nvSpPr>
      <dsp:spPr>
        <a:xfrm rot="8836364">
          <a:off x="4961431" y="4853574"/>
          <a:ext cx="25967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5000494" y="4870391"/>
        <a:ext cx="217239" cy="84862"/>
      </dsp:txXfrm>
    </dsp:sp>
    <dsp:sp modelId="{5E517795-696C-4478-8F77-24582CDCDF88}">
      <dsp:nvSpPr>
        <dsp:cNvPr id="0" name=""/>
        <dsp:cNvSpPr/>
      </dsp:nvSpPr>
      <dsp:spPr>
        <a:xfrm>
          <a:off x="4258697" y="508895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会议费</a:t>
          </a:r>
          <a:endParaRPr lang="zh-CN" altLang="en-US" sz="600" kern="1200" dirty="0"/>
        </a:p>
      </dsp:txBody>
      <dsp:txXfrm>
        <a:off x="4332007" y="5150330"/>
        <a:ext cx="353969" cy="296334"/>
      </dsp:txXfrm>
    </dsp:sp>
    <dsp:sp modelId="{48C0BD33-5F17-45F5-9058-93C87A9DDC1F}">
      <dsp:nvSpPr>
        <dsp:cNvPr id="0" name=""/>
        <dsp:cNvSpPr/>
      </dsp:nvSpPr>
      <dsp:spPr>
        <a:xfrm rot="10800000">
          <a:off x="3717337" y="5227779"/>
          <a:ext cx="2512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3759768" y="5256066"/>
        <a:ext cx="208861" cy="84862"/>
      </dsp:txXfrm>
    </dsp:sp>
    <dsp:sp modelId="{23AEF67E-B71E-4BFF-8274-B39880BE8995}">
      <dsp:nvSpPr>
        <dsp:cNvPr id="0" name=""/>
        <dsp:cNvSpPr/>
      </dsp:nvSpPr>
      <dsp:spPr>
        <a:xfrm>
          <a:off x="2900966" y="508895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国际合作交流费</a:t>
          </a:r>
          <a:endParaRPr lang="zh-CN" altLang="en-US" sz="600" kern="1200" dirty="0"/>
        </a:p>
      </dsp:txBody>
      <dsp:txXfrm>
        <a:off x="2974276" y="5150330"/>
        <a:ext cx="353969" cy="296334"/>
      </dsp:txXfrm>
    </dsp:sp>
    <dsp:sp modelId="{9851BCFD-6C0F-44EE-A90D-93FA72FAD479}">
      <dsp:nvSpPr>
        <dsp:cNvPr id="0" name=""/>
        <dsp:cNvSpPr/>
      </dsp:nvSpPr>
      <dsp:spPr>
        <a:xfrm rot="12763636">
          <a:off x="2461505" y="4867940"/>
          <a:ext cx="25967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2500568" y="4907697"/>
        <a:ext cx="217239" cy="84862"/>
      </dsp:txXfrm>
    </dsp:sp>
    <dsp:sp modelId="{9336A9F3-2A53-40E9-8F9F-8E4C967B12C1}">
      <dsp:nvSpPr>
        <dsp:cNvPr id="0" name=""/>
        <dsp:cNvSpPr/>
      </dsp:nvSpPr>
      <dsp:spPr>
        <a:xfrm>
          <a:off x="1758770" y="435491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416286"/>
        <a:ext cx="353969" cy="296334"/>
      </dsp:txXfrm>
    </dsp:sp>
    <dsp:sp modelId="{80B8A62C-CA65-4F7F-B3E1-E47A6F8DBF28}">
      <dsp:nvSpPr>
        <dsp:cNvPr id="0" name=""/>
        <dsp:cNvSpPr/>
      </dsp:nvSpPr>
      <dsp:spPr>
        <a:xfrm rot="14727273">
          <a:off x="1596889" y="3888871"/>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1626918" y="3936456"/>
        <a:ext cx="229457" cy="84862"/>
      </dsp:txXfrm>
    </dsp:sp>
    <dsp:sp modelId="{AA562BA4-1362-4B11-BE12-AAF95F9B0655}">
      <dsp:nvSpPr>
        <dsp:cNvPr id="0" name=""/>
        <dsp:cNvSpPr/>
      </dsp:nvSpPr>
      <dsp:spPr>
        <a:xfrm>
          <a:off x="1194749" y="311987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81250"/>
        <a:ext cx="353969" cy="296334"/>
      </dsp:txXfrm>
    </dsp:sp>
    <dsp:sp modelId="{8F1FDF32-78E0-4ED1-970D-21E8309CEF5A}">
      <dsp:nvSpPr>
        <dsp:cNvPr id="0" name=""/>
        <dsp:cNvSpPr/>
      </dsp:nvSpPr>
      <dsp:spPr>
        <a:xfrm rot="16690909">
          <a:off x="1402248" y="2600661"/>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1420444" y="2649948"/>
        <a:ext cx="232383" cy="84862"/>
      </dsp:txXfrm>
    </dsp:sp>
    <dsp:sp modelId="{4C7C445F-E1C6-4F7A-821E-F674A343F87A}">
      <dsp:nvSpPr>
        <dsp:cNvPr id="0" name=""/>
        <dsp:cNvSpPr/>
      </dsp:nvSpPr>
      <dsp:spPr>
        <a:xfrm>
          <a:off x="1387974" y="1775966"/>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837339"/>
        <a:ext cx="353969" cy="296334"/>
      </dsp:txXfrm>
    </dsp:sp>
    <dsp:sp modelId="{00C6A176-9825-494C-8FDD-D407F0EF76CB}">
      <dsp:nvSpPr>
        <dsp:cNvPr id="0" name=""/>
        <dsp:cNvSpPr/>
      </dsp:nvSpPr>
      <dsp:spPr>
        <a:xfrm rot="18654545">
          <a:off x="1940674" y="1412039"/>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1947996" y="1456360"/>
        <a:ext cx="224027" cy="84862"/>
      </dsp:txXfrm>
    </dsp:sp>
    <dsp:sp modelId="{9B0B857B-DA14-4DB2-9764-FAEA0033B125}">
      <dsp:nvSpPr>
        <dsp:cNvPr id="0" name=""/>
        <dsp:cNvSpPr/>
      </dsp:nvSpPr>
      <dsp:spPr>
        <a:xfrm>
          <a:off x="2277098" y="749862"/>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811235"/>
        <a:ext cx="353969" cy="296334"/>
      </dsp:txXfrm>
    </dsp:sp>
    <dsp:sp modelId="{FEA59801-9672-4D23-8192-A605C46BE70F}">
      <dsp:nvSpPr>
        <dsp:cNvPr id="0" name=""/>
        <dsp:cNvSpPr/>
      </dsp:nvSpPr>
      <dsp:spPr>
        <a:xfrm rot="20663025">
          <a:off x="2993190" y="729293"/>
          <a:ext cx="208907"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2993973" y="763291"/>
        <a:ext cx="166476" cy="84862"/>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rgbClr val="848A9A"/>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rgbClr val="848A9A"/>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rgbClr val="848A9A"/>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rgbClr val="848A9A"/>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449080"/>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93870"/>
        <a:ext cx="348717" cy="216264"/>
      </dsp:txXfrm>
    </dsp:sp>
    <dsp:sp modelId="{CF57B3AA-9D23-4D82-8D72-1A4D072C9CF6}">
      <dsp:nvSpPr>
        <dsp:cNvPr id="0" name=""/>
        <dsp:cNvSpPr/>
      </dsp:nvSpPr>
      <dsp:spPr>
        <a:xfrm rot="911228">
          <a:off x="4321406" y="705023"/>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727752"/>
        <a:ext cx="216973" cy="84862"/>
      </dsp:txXfrm>
    </dsp:sp>
    <dsp:sp modelId="{83195273-D2D4-405D-A258-93AFE8C7BE7A}">
      <dsp:nvSpPr>
        <dsp:cNvPr id="0" name=""/>
        <dsp:cNvSpPr/>
      </dsp:nvSpPr>
      <dsp:spPr>
        <a:xfrm>
          <a:off x="4874569" y="772929"/>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827957"/>
        <a:ext cx="365277" cy="265696"/>
      </dsp:txXfrm>
    </dsp:sp>
    <dsp:sp modelId="{798A8C5B-4663-468B-BDAB-5BC0D323EF4E}">
      <dsp:nvSpPr>
        <dsp:cNvPr id="0" name=""/>
        <dsp:cNvSpPr/>
      </dsp:nvSpPr>
      <dsp:spPr>
        <a:xfrm rot="2945455">
          <a:off x="5429280" y="1389156"/>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401409"/>
        <a:ext cx="229620" cy="84862"/>
      </dsp:txXfrm>
    </dsp:sp>
    <dsp:sp modelId="{B05F7D2C-D848-4E12-98C6-11FDD917CB93}">
      <dsp:nvSpPr>
        <dsp:cNvPr id="0" name=""/>
        <dsp:cNvSpPr/>
      </dsp:nvSpPr>
      <dsp:spPr>
        <a:xfrm>
          <a:off x="5747939" y="1792101"/>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849159"/>
        <a:ext cx="387558" cy="275499"/>
      </dsp:txXfrm>
    </dsp:sp>
    <dsp:sp modelId="{342C44B1-3496-43E6-B7A3-2E7DE47A0EB1}">
      <dsp:nvSpPr>
        <dsp:cNvPr id="0" name=""/>
        <dsp:cNvSpPr/>
      </dsp:nvSpPr>
      <dsp:spPr>
        <a:xfrm rot="4909091">
          <a:off x="5976025" y="2566895"/>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74182"/>
        <a:ext cx="236601" cy="84862"/>
      </dsp:txXfrm>
    </dsp:sp>
    <dsp:sp modelId="{AEC3BFE0-4A84-4A7A-9D2A-077ED9AD905B}">
      <dsp:nvSpPr>
        <dsp:cNvPr id="0" name=""/>
        <dsp:cNvSpPr/>
      </dsp:nvSpPr>
      <dsp:spPr>
        <a:xfrm>
          <a:off x="5964914"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82653"/>
        <a:ext cx="353969" cy="296334"/>
      </dsp:txXfrm>
    </dsp:sp>
    <dsp:sp modelId="{BB722067-4A31-4156-9489-71E129EF8E43}">
      <dsp:nvSpPr>
        <dsp:cNvPr id="0" name=""/>
        <dsp:cNvSpPr/>
      </dsp:nvSpPr>
      <dsp:spPr>
        <a:xfrm rot="6872727">
          <a:off x="5804691" y="3862864"/>
          <a:ext cx="2704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834720" y="3871853"/>
        <a:ext cx="228061" cy="84862"/>
      </dsp:txXfrm>
    </dsp:sp>
    <dsp:sp modelId="{157C4094-4D48-4CA4-8FE3-C846251355F5}">
      <dsp:nvSpPr>
        <dsp:cNvPr id="0" name=""/>
        <dsp:cNvSpPr/>
      </dsp:nvSpPr>
      <dsp:spPr>
        <a:xfrm>
          <a:off x="5406399" y="4350216"/>
          <a:ext cx="489576" cy="431279"/>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差旅费</a:t>
          </a:r>
          <a:r>
            <a:rPr lang="en-US" altLang="zh-CN" sz="800" kern="1200" smtClean="0"/>
            <a:t>  </a:t>
          </a:r>
          <a:endParaRPr lang="zh-CN" altLang="en-US" sz="800" kern="1200" dirty="0"/>
        </a:p>
      </dsp:txBody>
      <dsp:txXfrm>
        <a:off x="5478096" y="4413375"/>
        <a:ext cx="346182" cy="304961"/>
      </dsp:txXfrm>
    </dsp:sp>
    <dsp:sp modelId="{9347F69F-9A85-4B8D-9DE5-233494D2AF22}">
      <dsp:nvSpPr>
        <dsp:cNvPr id="0" name=""/>
        <dsp:cNvSpPr/>
      </dsp:nvSpPr>
      <dsp:spPr>
        <a:xfrm rot="8836364">
          <a:off x="4962074" y="4854540"/>
          <a:ext cx="259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001137" y="4871357"/>
        <a:ext cx="217314" cy="84862"/>
      </dsp:txXfrm>
    </dsp:sp>
    <dsp:sp modelId="{5E517795-696C-4478-8F77-24582CDCDF88}">
      <dsp:nvSpPr>
        <dsp:cNvPr id="0" name=""/>
        <dsp:cNvSpPr/>
      </dsp:nvSpPr>
      <dsp:spPr>
        <a:xfrm>
          <a:off x="4255484" y="5093165"/>
          <a:ext cx="507014" cy="41347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会议费</a:t>
          </a:r>
          <a:endParaRPr lang="zh-CN" altLang="en-US" sz="600" b="0" kern="1200" dirty="0"/>
        </a:p>
      </dsp:txBody>
      <dsp:txXfrm>
        <a:off x="4329734" y="5153716"/>
        <a:ext cx="358514" cy="292368"/>
      </dsp:txXfrm>
    </dsp:sp>
    <dsp:sp modelId="{48C0BD33-5F17-45F5-9058-93C87A9DDC1F}">
      <dsp:nvSpPr>
        <dsp:cNvPr id="0" name=""/>
        <dsp:cNvSpPr/>
      </dsp:nvSpPr>
      <dsp:spPr>
        <a:xfrm rot="10800000">
          <a:off x="3703408" y="5229182"/>
          <a:ext cx="256266"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3745839" y="5257469"/>
        <a:ext cx="213835" cy="84862"/>
      </dsp:txXfrm>
    </dsp:sp>
    <dsp:sp modelId="{23AEF67E-B71E-4BFF-8274-B39880BE8995}">
      <dsp:nvSpPr>
        <dsp:cNvPr id="0" name=""/>
        <dsp:cNvSpPr/>
      </dsp:nvSpPr>
      <dsp:spPr>
        <a:xfrm>
          <a:off x="2921147" y="5105400"/>
          <a:ext cx="460228" cy="38900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国际合作交流费</a:t>
          </a:r>
          <a:endParaRPr lang="zh-CN" altLang="en-US" sz="600" b="0" kern="1200" dirty="0"/>
        </a:p>
      </dsp:txBody>
      <dsp:txXfrm>
        <a:off x="2988546" y="5162368"/>
        <a:ext cx="325430" cy="275064"/>
      </dsp:txXfrm>
    </dsp:sp>
    <dsp:sp modelId="{9851BCFD-6C0F-44EE-A90D-93FA72FAD479}">
      <dsp:nvSpPr>
        <dsp:cNvPr id="0" name=""/>
        <dsp:cNvSpPr/>
      </dsp:nvSpPr>
      <dsp:spPr>
        <a:xfrm rot="12763636">
          <a:off x="2582589" y="4929200"/>
          <a:ext cx="20378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621652" y="4968957"/>
        <a:ext cx="161351" cy="84862"/>
      </dsp:txXfrm>
    </dsp:sp>
    <dsp:sp modelId="{9336A9F3-2A53-40E9-8F9F-8E4C967B12C1}">
      <dsp:nvSpPr>
        <dsp:cNvPr id="0" name=""/>
        <dsp:cNvSpPr/>
      </dsp:nvSpPr>
      <dsp:spPr>
        <a:xfrm>
          <a:off x="1560678" y="4129088"/>
          <a:ext cx="896775" cy="873536"/>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出版</a:t>
          </a:r>
          <a:r>
            <a:rPr lang="en-US" altLang="zh-CN" sz="1000" b="1" kern="1200" dirty="0" smtClean="0"/>
            <a:t>/</a:t>
          </a:r>
          <a:r>
            <a:rPr lang="zh-CN" altLang="en-US" sz="1000" b="1" kern="1200" dirty="0" smtClean="0"/>
            <a:t>文献</a:t>
          </a:r>
          <a:r>
            <a:rPr lang="en-US" altLang="zh-CN" sz="1000" b="1" kern="1200" dirty="0" smtClean="0"/>
            <a:t>/</a:t>
          </a:r>
          <a:r>
            <a:rPr lang="zh-CN" altLang="en-US" sz="1000" b="1" kern="1200" dirty="0" smtClean="0"/>
            <a:t>信息传播</a:t>
          </a:r>
          <a:r>
            <a:rPr lang="en-US" altLang="zh-CN" sz="1000" b="1" kern="1200" dirty="0" smtClean="0"/>
            <a:t>/</a:t>
          </a:r>
          <a:r>
            <a:rPr lang="zh-CN" altLang="en-US" sz="1000" b="1" kern="1200" dirty="0" smtClean="0"/>
            <a:t>知识产权事务费</a:t>
          </a:r>
          <a:endParaRPr lang="zh-CN" altLang="en-US" sz="1000" b="1" kern="1200" dirty="0"/>
        </a:p>
      </dsp:txBody>
      <dsp:txXfrm>
        <a:off x="1692008" y="4257014"/>
        <a:ext cx="634115" cy="617684"/>
      </dsp:txXfrm>
    </dsp:sp>
    <dsp:sp modelId="{80B8A62C-CA65-4F7F-B3E1-E47A6F8DBF28}">
      <dsp:nvSpPr>
        <dsp:cNvPr id="0" name=""/>
        <dsp:cNvSpPr/>
      </dsp:nvSpPr>
      <dsp:spPr>
        <a:xfrm rot="14727273">
          <a:off x="1581833" y="3785553"/>
          <a:ext cx="20635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11862" y="3833138"/>
        <a:ext cx="163921" cy="84862"/>
      </dsp:txXfrm>
    </dsp:sp>
    <dsp:sp modelId="{AA562BA4-1362-4B11-BE12-AAF95F9B0655}">
      <dsp:nvSpPr>
        <dsp:cNvPr id="0" name=""/>
        <dsp:cNvSpPr/>
      </dsp:nvSpPr>
      <dsp:spPr>
        <a:xfrm>
          <a:off x="1194749"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82653"/>
        <a:ext cx="353969" cy="296334"/>
      </dsp:txXfrm>
    </dsp:sp>
    <dsp:sp modelId="{8F1FDF32-78E0-4ED1-970D-21E8309CEF5A}">
      <dsp:nvSpPr>
        <dsp:cNvPr id="0" name=""/>
        <dsp:cNvSpPr/>
      </dsp:nvSpPr>
      <dsp:spPr>
        <a:xfrm rot="16690909">
          <a:off x="1402248" y="2602064"/>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651351"/>
        <a:ext cx="232383" cy="84862"/>
      </dsp:txXfrm>
    </dsp:sp>
    <dsp:sp modelId="{4C7C445F-E1C6-4F7A-821E-F674A343F87A}">
      <dsp:nvSpPr>
        <dsp:cNvPr id="0" name=""/>
        <dsp:cNvSpPr/>
      </dsp:nvSpPr>
      <dsp:spPr>
        <a:xfrm>
          <a:off x="1387974" y="1777369"/>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838742"/>
        <a:ext cx="353969" cy="296334"/>
      </dsp:txXfrm>
    </dsp:sp>
    <dsp:sp modelId="{00C6A176-9825-494C-8FDD-D407F0EF76CB}">
      <dsp:nvSpPr>
        <dsp:cNvPr id="0" name=""/>
        <dsp:cNvSpPr/>
      </dsp:nvSpPr>
      <dsp:spPr>
        <a:xfrm rot="18654545">
          <a:off x="1940674" y="1413442"/>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57763"/>
        <a:ext cx="224027" cy="84862"/>
      </dsp:txXfrm>
    </dsp:sp>
    <dsp:sp modelId="{9B0B857B-DA14-4DB2-9764-FAEA0033B125}">
      <dsp:nvSpPr>
        <dsp:cNvPr id="0" name=""/>
        <dsp:cNvSpPr/>
      </dsp:nvSpPr>
      <dsp:spPr>
        <a:xfrm>
          <a:off x="2277098" y="75126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812637"/>
        <a:ext cx="353969" cy="296334"/>
      </dsp:txXfrm>
    </dsp:sp>
    <dsp:sp modelId="{FEA59801-9672-4D23-8192-A605C46BE70F}">
      <dsp:nvSpPr>
        <dsp:cNvPr id="0" name=""/>
        <dsp:cNvSpPr/>
      </dsp:nvSpPr>
      <dsp:spPr>
        <a:xfrm rot="20663025">
          <a:off x="3038184" y="712367"/>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746365"/>
        <a:ext cx="207632" cy="84862"/>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449080"/>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93870"/>
        <a:ext cx="348717" cy="216264"/>
      </dsp:txXfrm>
    </dsp:sp>
    <dsp:sp modelId="{CF57B3AA-9D23-4D82-8D72-1A4D072C9CF6}">
      <dsp:nvSpPr>
        <dsp:cNvPr id="0" name=""/>
        <dsp:cNvSpPr/>
      </dsp:nvSpPr>
      <dsp:spPr>
        <a:xfrm rot="911228">
          <a:off x="4321406" y="705023"/>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727752"/>
        <a:ext cx="216973" cy="84862"/>
      </dsp:txXfrm>
    </dsp:sp>
    <dsp:sp modelId="{83195273-D2D4-405D-A258-93AFE8C7BE7A}">
      <dsp:nvSpPr>
        <dsp:cNvPr id="0" name=""/>
        <dsp:cNvSpPr/>
      </dsp:nvSpPr>
      <dsp:spPr>
        <a:xfrm>
          <a:off x="4874569" y="772929"/>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827957"/>
        <a:ext cx="365277" cy="265696"/>
      </dsp:txXfrm>
    </dsp:sp>
    <dsp:sp modelId="{798A8C5B-4663-468B-BDAB-5BC0D323EF4E}">
      <dsp:nvSpPr>
        <dsp:cNvPr id="0" name=""/>
        <dsp:cNvSpPr/>
      </dsp:nvSpPr>
      <dsp:spPr>
        <a:xfrm rot="2945455">
          <a:off x="5429280" y="1389156"/>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401409"/>
        <a:ext cx="229620" cy="84862"/>
      </dsp:txXfrm>
    </dsp:sp>
    <dsp:sp modelId="{B05F7D2C-D848-4E12-98C6-11FDD917CB93}">
      <dsp:nvSpPr>
        <dsp:cNvPr id="0" name=""/>
        <dsp:cNvSpPr/>
      </dsp:nvSpPr>
      <dsp:spPr>
        <a:xfrm>
          <a:off x="5747939" y="1792101"/>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849159"/>
        <a:ext cx="387558" cy="275499"/>
      </dsp:txXfrm>
    </dsp:sp>
    <dsp:sp modelId="{342C44B1-3496-43E6-B7A3-2E7DE47A0EB1}">
      <dsp:nvSpPr>
        <dsp:cNvPr id="0" name=""/>
        <dsp:cNvSpPr/>
      </dsp:nvSpPr>
      <dsp:spPr>
        <a:xfrm rot="4909091">
          <a:off x="5976025" y="2566895"/>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74182"/>
        <a:ext cx="236601" cy="84862"/>
      </dsp:txXfrm>
    </dsp:sp>
    <dsp:sp modelId="{AEC3BFE0-4A84-4A7A-9D2A-077ED9AD905B}">
      <dsp:nvSpPr>
        <dsp:cNvPr id="0" name=""/>
        <dsp:cNvSpPr/>
      </dsp:nvSpPr>
      <dsp:spPr>
        <a:xfrm>
          <a:off x="5964914"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82653"/>
        <a:ext cx="353969" cy="296334"/>
      </dsp:txXfrm>
    </dsp:sp>
    <dsp:sp modelId="{BB722067-4A31-4156-9489-71E129EF8E43}">
      <dsp:nvSpPr>
        <dsp:cNvPr id="0" name=""/>
        <dsp:cNvSpPr/>
      </dsp:nvSpPr>
      <dsp:spPr>
        <a:xfrm rot="6872727">
          <a:off x="5804691" y="3862864"/>
          <a:ext cx="2704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834720" y="3871853"/>
        <a:ext cx="228061" cy="84862"/>
      </dsp:txXfrm>
    </dsp:sp>
    <dsp:sp modelId="{157C4094-4D48-4CA4-8FE3-C846251355F5}">
      <dsp:nvSpPr>
        <dsp:cNvPr id="0" name=""/>
        <dsp:cNvSpPr/>
      </dsp:nvSpPr>
      <dsp:spPr>
        <a:xfrm>
          <a:off x="5406399" y="4350216"/>
          <a:ext cx="489576" cy="431279"/>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差旅费</a:t>
          </a:r>
          <a:r>
            <a:rPr lang="en-US" altLang="zh-CN" sz="800" kern="1200" smtClean="0"/>
            <a:t>  </a:t>
          </a:r>
          <a:endParaRPr lang="zh-CN" altLang="en-US" sz="800" kern="1200" dirty="0"/>
        </a:p>
      </dsp:txBody>
      <dsp:txXfrm>
        <a:off x="5478096" y="4413375"/>
        <a:ext cx="346182" cy="304961"/>
      </dsp:txXfrm>
    </dsp:sp>
    <dsp:sp modelId="{9347F69F-9A85-4B8D-9DE5-233494D2AF22}">
      <dsp:nvSpPr>
        <dsp:cNvPr id="0" name=""/>
        <dsp:cNvSpPr/>
      </dsp:nvSpPr>
      <dsp:spPr>
        <a:xfrm rot="8836364">
          <a:off x="4962074" y="4854540"/>
          <a:ext cx="259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001137" y="4871357"/>
        <a:ext cx="217314" cy="84862"/>
      </dsp:txXfrm>
    </dsp:sp>
    <dsp:sp modelId="{5E517795-696C-4478-8F77-24582CDCDF88}">
      <dsp:nvSpPr>
        <dsp:cNvPr id="0" name=""/>
        <dsp:cNvSpPr/>
      </dsp:nvSpPr>
      <dsp:spPr>
        <a:xfrm>
          <a:off x="4255484" y="5093165"/>
          <a:ext cx="507014" cy="41347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会议费</a:t>
          </a:r>
          <a:endParaRPr lang="zh-CN" altLang="en-US" sz="600" b="0" kern="1200" dirty="0"/>
        </a:p>
      </dsp:txBody>
      <dsp:txXfrm>
        <a:off x="4329734" y="5153716"/>
        <a:ext cx="358514" cy="292368"/>
      </dsp:txXfrm>
    </dsp:sp>
    <dsp:sp modelId="{48C0BD33-5F17-45F5-9058-93C87A9DDC1F}">
      <dsp:nvSpPr>
        <dsp:cNvPr id="0" name=""/>
        <dsp:cNvSpPr/>
      </dsp:nvSpPr>
      <dsp:spPr>
        <a:xfrm rot="10800000">
          <a:off x="3703408" y="5229182"/>
          <a:ext cx="256266"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3745839" y="5257469"/>
        <a:ext cx="213835" cy="84862"/>
      </dsp:txXfrm>
    </dsp:sp>
    <dsp:sp modelId="{23AEF67E-B71E-4BFF-8274-B39880BE8995}">
      <dsp:nvSpPr>
        <dsp:cNvPr id="0" name=""/>
        <dsp:cNvSpPr/>
      </dsp:nvSpPr>
      <dsp:spPr>
        <a:xfrm>
          <a:off x="2921147" y="5105400"/>
          <a:ext cx="460228" cy="38900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国际合作交流费</a:t>
          </a:r>
          <a:endParaRPr lang="zh-CN" altLang="en-US" sz="600" b="0" kern="1200" dirty="0"/>
        </a:p>
      </dsp:txBody>
      <dsp:txXfrm>
        <a:off x="2988546" y="5162368"/>
        <a:ext cx="325430" cy="275064"/>
      </dsp:txXfrm>
    </dsp:sp>
    <dsp:sp modelId="{9851BCFD-6C0F-44EE-A90D-93FA72FAD479}">
      <dsp:nvSpPr>
        <dsp:cNvPr id="0" name=""/>
        <dsp:cNvSpPr/>
      </dsp:nvSpPr>
      <dsp:spPr>
        <a:xfrm rot="12763636">
          <a:off x="2466739" y="4874427"/>
          <a:ext cx="26502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505802" y="4914184"/>
        <a:ext cx="222593" cy="84862"/>
      </dsp:txXfrm>
    </dsp:sp>
    <dsp:sp modelId="{9336A9F3-2A53-40E9-8F9F-8E4C967B12C1}">
      <dsp:nvSpPr>
        <dsp:cNvPr id="0" name=""/>
        <dsp:cNvSpPr/>
      </dsp:nvSpPr>
      <dsp:spPr>
        <a:xfrm>
          <a:off x="1758770" y="4356315"/>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417688"/>
        <a:ext cx="353969" cy="296334"/>
      </dsp:txXfrm>
    </dsp:sp>
    <dsp:sp modelId="{80B8A62C-CA65-4F7F-B3E1-E47A6F8DBF28}">
      <dsp:nvSpPr>
        <dsp:cNvPr id="0" name=""/>
        <dsp:cNvSpPr/>
      </dsp:nvSpPr>
      <dsp:spPr>
        <a:xfrm rot="14727273">
          <a:off x="1645008" y="3951264"/>
          <a:ext cx="2313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75037" y="3998849"/>
        <a:ext cx="188927" cy="84862"/>
      </dsp:txXfrm>
    </dsp:sp>
    <dsp:sp modelId="{AA562BA4-1362-4B11-BE12-AAF95F9B0655}">
      <dsp:nvSpPr>
        <dsp:cNvPr id="0" name=""/>
        <dsp:cNvSpPr/>
      </dsp:nvSpPr>
      <dsp:spPr>
        <a:xfrm>
          <a:off x="1070812" y="2981325"/>
          <a:ext cx="748463" cy="698990"/>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劳务费</a:t>
          </a:r>
          <a:endParaRPr lang="zh-CN" altLang="en-US" sz="1200" b="1" kern="1200" dirty="0"/>
        </a:p>
      </dsp:txBody>
      <dsp:txXfrm>
        <a:off x="1180422" y="3083690"/>
        <a:ext cx="529243" cy="494260"/>
      </dsp:txXfrm>
    </dsp:sp>
    <dsp:sp modelId="{8F1FDF32-78E0-4ED1-970D-21E8309CEF5A}">
      <dsp:nvSpPr>
        <dsp:cNvPr id="0" name=""/>
        <dsp:cNvSpPr/>
      </dsp:nvSpPr>
      <dsp:spPr>
        <a:xfrm rot="16690909">
          <a:off x="1432980" y="2530815"/>
          <a:ext cx="233837"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51176" y="2580102"/>
        <a:ext cx="191406" cy="84862"/>
      </dsp:txXfrm>
    </dsp:sp>
    <dsp:sp modelId="{4C7C445F-E1C6-4F7A-821E-F674A343F87A}">
      <dsp:nvSpPr>
        <dsp:cNvPr id="0" name=""/>
        <dsp:cNvSpPr/>
      </dsp:nvSpPr>
      <dsp:spPr>
        <a:xfrm>
          <a:off x="1387974" y="1777369"/>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838742"/>
        <a:ext cx="353969" cy="296334"/>
      </dsp:txXfrm>
    </dsp:sp>
    <dsp:sp modelId="{00C6A176-9825-494C-8FDD-D407F0EF76CB}">
      <dsp:nvSpPr>
        <dsp:cNvPr id="0" name=""/>
        <dsp:cNvSpPr/>
      </dsp:nvSpPr>
      <dsp:spPr>
        <a:xfrm rot="18654545">
          <a:off x="1940674" y="1413442"/>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57763"/>
        <a:ext cx="224027" cy="84862"/>
      </dsp:txXfrm>
    </dsp:sp>
    <dsp:sp modelId="{9B0B857B-DA14-4DB2-9764-FAEA0033B125}">
      <dsp:nvSpPr>
        <dsp:cNvPr id="0" name=""/>
        <dsp:cNvSpPr/>
      </dsp:nvSpPr>
      <dsp:spPr>
        <a:xfrm>
          <a:off x="2277098" y="75126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812637"/>
        <a:ext cx="353969" cy="296334"/>
      </dsp:txXfrm>
    </dsp:sp>
    <dsp:sp modelId="{FEA59801-9672-4D23-8192-A605C46BE70F}">
      <dsp:nvSpPr>
        <dsp:cNvPr id="0" name=""/>
        <dsp:cNvSpPr/>
      </dsp:nvSpPr>
      <dsp:spPr>
        <a:xfrm rot="20663025">
          <a:off x="3038184" y="712367"/>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746365"/>
        <a:ext cx="207632" cy="84862"/>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449080"/>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93870"/>
        <a:ext cx="348717" cy="216264"/>
      </dsp:txXfrm>
    </dsp:sp>
    <dsp:sp modelId="{CF57B3AA-9D23-4D82-8D72-1A4D072C9CF6}">
      <dsp:nvSpPr>
        <dsp:cNvPr id="0" name=""/>
        <dsp:cNvSpPr/>
      </dsp:nvSpPr>
      <dsp:spPr>
        <a:xfrm rot="911228">
          <a:off x="4321406" y="705023"/>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727752"/>
        <a:ext cx="216973" cy="84862"/>
      </dsp:txXfrm>
    </dsp:sp>
    <dsp:sp modelId="{83195273-D2D4-405D-A258-93AFE8C7BE7A}">
      <dsp:nvSpPr>
        <dsp:cNvPr id="0" name=""/>
        <dsp:cNvSpPr/>
      </dsp:nvSpPr>
      <dsp:spPr>
        <a:xfrm>
          <a:off x="4874569" y="772929"/>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827957"/>
        <a:ext cx="365277" cy="265696"/>
      </dsp:txXfrm>
    </dsp:sp>
    <dsp:sp modelId="{798A8C5B-4663-468B-BDAB-5BC0D323EF4E}">
      <dsp:nvSpPr>
        <dsp:cNvPr id="0" name=""/>
        <dsp:cNvSpPr/>
      </dsp:nvSpPr>
      <dsp:spPr>
        <a:xfrm rot="2945455">
          <a:off x="5429280" y="1389156"/>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401409"/>
        <a:ext cx="229620" cy="84862"/>
      </dsp:txXfrm>
    </dsp:sp>
    <dsp:sp modelId="{B05F7D2C-D848-4E12-98C6-11FDD917CB93}">
      <dsp:nvSpPr>
        <dsp:cNvPr id="0" name=""/>
        <dsp:cNvSpPr/>
      </dsp:nvSpPr>
      <dsp:spPr>
        <a:xfrm>
          <a:off x="5747939" y="1792101"/>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849159"/>
        <a:ext cx="387558" cy="275499"/>
      </dsp:txXfrm>
    </dsp:sp>
    <dsp:sp modelId="{342C44B1-3496-43E6-B7A3-2E7DE47A0EB1}">
      <dsp:nvSpPr>
        <dsp:cNvPr id="0" name=""/>
        <dsp:cNvSpPr/>
      </dsp:nvSpPr>
      <dsp:spPr>
        <a:xfrm rot="4909091">
          <a:off x="5976025" y="2566895"/>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74182"/>
        <a:ext cx="236601" cy="84862"/>
      </dsp:txXfrm>
    </dsp:sp>
    <dsp:sp modelId="{AEC3BFE0-4A84-4A7A-9D2A-077ED9AD905B}">
      <dsp:nvSpPr>
        <dsp:cNvPr id="0" name=""/>
        <dsp:cNvSpPr/>
      </dsp:nvSpPr>
      <dsp:spPr>
        <a:xfrm>
          <a:off x="5964914"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82653"/>
        <a:ext cx="353969" cy="296334"/>
      </dsp:txXfrm>
    </dsp:sp>
    <dsp:sp modelId="{BB722067-4A31-4156-9489-71E129EF8E43}">
      <dsp:nvSpPr>
        <dsp:cNvPr id="0" name=""/>
        <dsp:cNvSpPr/>
      </dsp:nvSpPr>
      <dsp:spPr>
        <a:xfrm rot="6872727">
          <a:off x="5804691" y="3862864"/>
          <a:ext cx="2704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834720" y="3871853"/>
        <a:ext cx="228061" cy="84862"/>
      </dsp:txXfrm>
    </dsp:sp>
    <dsp:sp modelId="{157C4094-4D48-4CA4-8FE3-C846251355F5}">
      <dsp:nvSpPr>
        <dsp:cNvPr id="0" name=""/>
        <dsp:cNvSpPr/>
      </dsp:nvSpPr>
      <dsp:spPr>
        <a:xfrm>
          <a:off x="5406399" y="4350216"/>
          <a:ext cx="489576" cy="431279"/>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差旅费</a:t>
          </a:r>
          <a:r>
            <a:rPr lang="en-US" altLang="zh-CN" sz="800" kern="1200" smtClean="0"/>
            <a:t>  </a:t>
          </a:r>
          <a:endParaRPr lang="zh-CN" altLang="en-US" sz="800" kern="1200" dirty="0"/>
        </a:p>
      </dsp:txBody>
      <dsp:txXfrm>
        <a:off x="5478096" y="4413375"/>
        <a:ext cx="346182" cy="304961"/>
      </dsp:txXfrm>
    </dsp:sp>
    <dsp:sp modelId="{9347F69F-9A85-4B8D-9DE5-233494D2AF22}">
      <dsp:nvSpPr>
        <dsp:cNvPr id="0" name=""/>
        <dsp:cNvSpPr/>
      </dsp:nvSpPr>
      <dsp:spPr>
        <a:xfrm rot="8836364">
          <a:off x="4962074" y="4854540"/>
          <a:ext cx="259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001137" y="4871357"/>
        <a:ext cx="217314" cy="84862"/>
      </dsp:txXfrm>
    </dsp:sp>
    <dsp:sp modelId="{5E517795-696C-4478-8F77-24582CDCDF88}">
      <dsp:nvSpPr>
        <dsp:cNvPr id="0" name=""/>
        <dsp:cNvSpPr/>
      </dsp:nvSpPr>
      <dsp:spPr>
        <a:xfrm>
          <a:off x="4255484" y="5093165"/>
          <a:ext cx="507014" cy="41347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会议费</a:t>
          </a:r>
          <a:endParaRPr lang="zh-CN" altLang="en-US" sz="600" b="0" kern="1200" dirty="0"/>
        </a:p>
      </dsp:txBody>
      <dsp:txXfrm>
        <a:off x="4329734" y="5153716"/>
        <a:ext cx="358514" cy="292368"/>
      </dsp:txXfrm>
    </dsp:sp>
    <dsp:sp modelId="{48C0BD33-5F17-45F5-9058-93C87A9DDC1F}">
      <dsp:nvSpPr>
        <dsp:cNvPr id="0" name=""/>
        <dsp:cNvSpPr/>
      </dsp:nvSpPr>
      <dsp:spPr>
        <a:xfrm rot="10800000">
          <a:off x="3703408" y="5229182"/>
          <a:ext cx="256266"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3745839" y="5257469"/>
        <a:ext cx="213835" cy="84862"/>
      </dsp:txXfrm>
    </dsp:sp>
    <dsp:sp modelId="{23AEF67E-B71E-4BFF-8274-B39880BE8995}">
      <dsp:nvSpPr>
        <dsp:cNvPr id="0" name=""/>
        <dsp:cNvSpPr/>
      </dsp:nvSpPr>
      <dsp:spPr>
        <a:xfrm>
          <a:off x="2921147" y="5105400"/>
          <a:ext cx="460228" cy="38900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国际合作交流费</a:t>
          </a:r>
          <a:endParaRPr lang="zh-CN" altLang="en-US" sz="600" b="0" kern="1200" dirty="0"/>
        </a:p>
      </dsp:txBody>
      <dsp:txXfrm>
        <a:off x="2988546" y="5162368"/>
        <a:ext cx="325430" cy="275064"/>
      </dsp:txXfrm>
    </dsp:sp>
    <dsp:sp modelId="{9851BCFD-6C0F-44EE-A90D-93FA72FAD479}">
      <dsp:nvSpPr>
        <dsp:cNvPr id="0" name=""/>
        <dsp:cNvSpPr/>
      </dsp:nvSpPr>
      <dsp:spPr>
        <a:xfrm rot="12763636">
          <a:off x="2466739" y="4874427"/>
          <a:ext cx="26502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505802" y="4914184"/>
        <a:ext cx="222593" cy="84862"/>
      </dsp:txXfrm>
    </dsp:sp>
    <dsp:sp modelId="{9336A9F3-2A53-40E9-8F9F-8E4C967B12C1}">
      <dsp:nvSpPr>
        <dsp:cNvPr id="0" name=""/>
        <dsp:cNvSpPr/>
      </dsp:nvSpPr>
      <dsp:spPr>
        <a:xfrm>
          <a:off x="1758770" y="4356315"/>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417688"/>
        <a:ext cx="353969" cy="296334"/>
      </dsp:txXfrm>
    </dsp:sp>
    <dsp:sp modelId="{80B8A62C-CA65-4F7F-B3E1-E47A6F8DBF28}">
      <dsp:nvSpPr>
        <dsp:cNvPr id="0" name=""/>
        <dsp:cNvSpPr/>
      </dsp:nvSpPr>
      <dsp:spPr>
        <a:xfrm rot="14727273">
          <a:off x="1645008" y="3951264"/>
          <a:ext cx="2313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75037" y="3998849"/>
        <a:ext cx="188927" cy="84862"/>
      </dsp:txXfrm>
    </dsp:sp>
    <dsp:sp modelId="{AA562BA4-1362-4B11-BE12-AAF95F9B0655}">
      <dsp:nvSpPr>
        <dsp:cNvPr id="0" name=""/>
        <dsp:cNvSpPr/>
      </dsp:nvSpPr>
      <dsp:spPr>
        <a:xfrm>
          <a:off x="1070812" y="2981325"/>
          <a:ext cx="748463" cy="698990"/>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劳务费</a:t>
          </a:r>
          <a:endParaRPr lang="zh-CN" altLang="en-US" sz="1200" b="1" kern="1200" dirty="0"/>
        </a:p>
      </dsp:txBody>
      <dsp:txXfrm>
        <a:off x="1180422" y="3083690"/>
        <a:ext cx="529243" cy="494260"/>
      </dsp:txXfrm>
    </dsp:sp>
    <dsp:sp modelId="{8F1FDF32-78E0-4ED1-970D-21E8309CEF5A}">
      <dsp:nvSpPr>
        <dsp:cNvPr id="0" name=""/>
        <dsp:cNvSpPr/>
      </dsp:nvSpPr>
      <dsp:spPr>
        <a:xfrm rot="16690909">
          <a:off x="1432980" y="2530815"/>
          <a:ext cx="233837"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51176" y="2580102"/>
        <a:ext cx="191406" cy="84862"/>
      </dsp:txXfrm>
    </dsp:sp>
    <dsp:sp modelId="{4C7C445F-E1C6-4F7A-821E-F674A343F87A}">
      <dsp:nvSpPr>
        <dsp:cNvPr id="0" name=""/>
        <dsp:cNvSpPr/>
      </dsp:nvSpPr>
      <dsp:spPr>
        <a:xfrm>
          <a:off x="1387974" y="1777369"/>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838742"/>
        <a:ext cx="353969" cy="296334"/>
      </dsp:txXfrm>
    </dsp:sp>
    <dsp:sp modelId="{00C6A176-9825-494C-8FDD-D407F0EF76CB}">
      <dsp:nvSpPr>
        <dsp:cNvPr id="0" name=""/>
        <dsp:cNvSpPr/>
      </dsp:nvSpPr>
      <dsp:spPr>
        <a:xfrm rot="18654545">
          <a:off x="1940674" y="1413442"/>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57763"/>
        <a:ext cx="224027" cy="84862"/>
      </dsp:txXfrm>
    </dsp:sp>
    <dsp:sp modelId="{9B0B857B-DA14-4DB2-9764-FAEA0033B125}">
      <dsp:nvSpPr>
        <dsp:cNvPr id="0" name=""/>
        <dsp:cNvSpPr/>
      </dsp:nvSpPr>
      <dsp:spPr>
        <a:xfrm>
          <a:off x="2277098" y="75126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812637"/>
        <a:ext cx="353969" cy="296334"/>
      </dsp:txXfrm>
    </dsp:sp>
    <dsp:sp modelId="{FEA59801-9672-4D23-8192-A605C46BE70F}">
      <dsp:nvSpPr>
        <dsp:cNvPr id="0" name=""/>
        <dsp:cNvSpPr/>
      </dsp:nvSpPr>
      <dsp:spPr>
        <a:xfrm rot="20663025">
          <a:off x="3038184" y="712367"/>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746365"/>
        <a:ext cx="207632" cy="84862"/>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449080"/>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93870"/>
        <a:ext cx="348717" cy="216264"/>
      </dsp:txXfrm>
    </dsp:sp>
    <dsp:sp modelId="{CF57B3AA-9D23-4D82-8D72-1A4D072C9CF6}">
      <dsp:nvSpPr>
        <dsp:cNvPr id="0" name=""/>
        <dsp:cNvSpPr/>
      </dsp:nvSpPr>
      <dsp:spPr>
        <a:xfrm rot="911228">
          <a:off x="4321406" y="705023"/>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727752"/>
        <a:ext cx="216973" cy="84862"/>
      </dsp:txXfrm>
    </dsp:sp>
    <dsp:sp modelId="{83195273-D2D4-405D-A258-93AFE8C7BE7A}">
      <dsp:nvSpPr>
        <dsp:cNvPr id="0" name=""/>
        <dsp:cNvSpPr/>
      </dsp:nvSpPr>
      <dsp:spPr>
        <a:xfrm>
          <a:off x="4874569" y="772929"/>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827957"/>
        <a:ext cx="365277" cy="265696"/>
      </dsp:txXfrm>
    </dsp:sp>
    <dsp:sp modelId="{798A8C5B-4663-468B-BDAB-5BC0D323EF4E}">
      <dsp:nvSpPr>
        <dsp:cNvPr id="0" name=""/>
        <dsp:cNvSpPr/>
      </dsp:nvSpPr>
      <dsp:spPr>
        <a:xfrm rot="2945455">
          <a:off x="5429280" y="1389156"/>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401409"/>
        <a:ext cx="229620" cy="84862"/>
      </dsp:txXfrm>
    </dsp:sp>
    <dsp:sp modelId="{B05F7D2C-D848-4E12-98C6-11FDD917CB93}">
      <dsp:nvSpPr>
        <dsp:cNvPr id="0" name=""/>
        <dsp:cNvSpPr/>
      </dsp:nvSpPr>
      <dsp:spPr>
        <a:xfrm>
          <a:off x="5747939" y="1792101"/>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849159"/>
        <a:ext cx="387558" cy="275499"/>
      </dsp:txXfrm>
    </dsp:sp>
    <dsp:sp modelId="{342C44B1-3496-43E6-B7A3-2E7DE47A0EB1}">
      <dsp:nvSpPr>
        <dsp:cNvPr id="0" name=""/>
        <dsp:cNvSpPr/>
      </dsp:nvSpPr>
      <dsp:spPr>
        <a:xfrm rot="4909091">
          <a:off x="5976025" y="2566895"/>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74182"/>
        <a:ext cx="236601" cy="84862"/>
      </dsp:txXfrm>
    </dsp:sp>
    <dsp:sp modelId="{AEC3BFE0-4A84-4A7A-9D2A-077ED9AD905B}">
      <dsp:nvSpPr>
        <dsp:cNvPr id="0" name=""/>
        <dsp:cNvSpPr/>
      </dsp:nvSpPr>
      <dsp:spPr>
        <a:xfrm>
          <a:off x="5964914"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82653"/>
        <a:ext cx="353969" cy="296334"/>
      </dsp:txXfrm>
    </dsp:sp>
    <dsp:sp modelId="{BB722067-4A31-4156-9489-71E129EF8E43}">
      <dsp:nvSpPr>
        <dsp:cNvPr id="0" name=""/>
        <dsp:cNvSpPr/>
      </dsp:nvSpPr>
      <dsp:spPr>
        <a:xfrm rot="6872727">
          <a:off x="5804691" y="3862864"/>
          <a:ext cx="2704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834720" y="3871853"/>
        <a:ext cx="228061" cy="84862"/>
      </dsp:txXfrm>
    </dsp:sp>
    <dsp:sp modelId="{157C4094-4D48-4CA4-8FE3-C846251355F5}">
      <dsp:nvSpPr>
        <dsp:cNvPr id="0" name=""/>
        <dsp:cNvSpPr/>
      </dsp:nvSpPr>
      <dsp:spPr>
        <a:xfrm>
          <a:off x="5406399" y="4350216"/>
          <a:ext cx="489576" cy="431279"/>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差旅费</a:t>
          </a:r>
          <a:r>
            <a:rPr lang="en-US" altLang="zh-CN" sz="800" kern="1200" smtClean="0"/>
            <a:t>  </a:t>
          </a:r>
          <a:endParaRPr lang="zh-CN" altLang="en-US" sz="800" kern="1200" dirty="0"/>
        </a:p>
      </dsp:txBody>
      <dsp:txXfrm>
        <a:off x="5478096" y="4413375"/>
        <a:ext cx="346182" cy="304961"/>
      </dsp:txXfrm>
    </dsp:sp>
    <dsp:sp modelId="{9347F69F-9A85-4B8D-9DE5-233494D2AF22}">
      <dsp:nvSpPr>
        <dsp:cNvPr id="0" name=""/>
        <dsp:cNvSpPr/>
      </dsp:nvSpPr>
      <dsp:spPr>
        <a:xfrm rot="8836364">
          <a:off x="4962074" y="4854540"/>
          <a:ext cx="259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001137" y="4871357"/>
        <a:ext cx="217314" cy="84862"/>
      </dsp:txXfrm>
    </dsp:sp>
    <dsp:sp modelId="{5E517795-696C-4478-8F77-24582CDCDF88}">
      <dsp:nvSpPr>
        <dsp:cNvPr id="0" name=""/>
        <dsp:cNvSpPr/>
      </dsp:nvSpPr>
      <dsp:spPr>
        <a:xfrm>
          <a:off x="4255484" y="5093165"/>
          <a:ext cx="507014" cy="41347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会议费</a:t>
          </a:r>
          <a:endParaRPr lang="zh-CN" altLang="en-US" sz="600" b="0" kern="1200" dirty="0"/>
        </a:p>
      </dsp:txBody>
      <dsp:txXfrm>
        <a:off x="4329734" y="5153716"/>
        <a:ext cx="358514" cy="292368"/>
      </dsp:txXfrm>
    </dsp:sp>
    <dsp:sp modelId="{48C0BD33-5F17-45F5-9058-93C87A9DDC1F}">
      <dsp:nvSpPr>
        <dsp:cNvPr id="0" name=""/>
        <dsp:cNvSpPr/>
      </dsp:nvSpPr>
      <dsp:spPr>
        <a:xfrm rot="10800000">
          <a:off x="3703408" y="5229182"/>
          <a:ext cx="256266"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3745839" y="5257469"/>
        <a:ext cx="213835" cy="84862"/>
      </dsp:txXfrm>
    </dsp:sp>
    <dsp:sp modelId="{23AEF67E-B71E-4BFF-8274-B39880BE8995}">
      <dsp:nvSpPr>
        <dsp:cNvPr id="0" name=""/>
        <dsp:cNvSpPr/>
      </dsp:nvSpPr>
      <dsp:spPr>
        <a:xfrm>
          <a:off x="2921147" y="5105400"/>
          <a:ext cx="460228" cy="38900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国际合作交流费</a:t>
          </a:r>
          <a:endParaRPr lang="zh-CN" altLang="en-US" sz="600" b="0" kern="1200" dirty="0"/>
        </a:p>
      </dsp:txBody>
      <dsp:txXfrm>
        <a:off x="2988546" y="5162368"/>
        <a:ext cx="325430" cy="275064"/>
      </dsp:txXfrm>
    </dsp:sp>
    <dsp:sp modelId="{9851BCFD-6C0F-44EE-A90D-93FA72FAD479}">
      <dsp:nvSpPr>
        <dsp:cNvPr id="0" name=""/>
        <dsp:cNvSpPr/>
      </dsp:nvSpPr>
      <dsp:spPr>
        <a:xfrm rot="12763636">
          <a:off x="2466739" y="4874427"/>
          <a:ext cx="26502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505802" y="4914184"/>
        <a:ext cx="222593" cy="84862"/>
      </dsp:txXfrm>
    </dsp:sp>
    <dsp:sp modelId="{9336A9F3-2A53-40E9-8F9F-8E4C967B12C1}">
      <dsp:nvSpPr>
        <dsp:cNvPr id="0" name=""/>
        <dsp:cNvSpPr/>
      </dsp:nvSpPr>
      <dsp:spPr>
        <a:xfrm>
          <a:off x="1758770" y="4356315"/>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417688"/>
        <a:ext cx="353969" cy="296334"/>
      </dsp:txXfrm>
    </dsp:sp>
    <dsp:sp modelId="{80B8A62C-CA65-4F7F-B3E1-E47A6F8DBF28}">
      <dsp:nvSpPr>
        <dsp:cNvPr id="0" name=""/>
        <dsp:cNvSpPr/>
      </dsp:nvSpPr>
      <dsp:spPr>
        <a:xfrm rot="14727273">
          <a:off x="1596889" y="3890273"/>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937858"/>
        <a:ext cx="229457" cy="84862"/>
      </dsp:txXfrm>
    </dsp:sp>
    <dsp:sp modelId="{AA562BA4-1362-4B11-BE12-AAF95F9B0655}">
      <dsp:nvSpPr>
        <dsp:cNvPr id="0" name=""/>
        <dsp:cNvSpPr/>
      </dsp:nvSpPr>
      <dsp:spPr>
        <a:xfrm>
          <a:off x="1194749"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82653"/>
        <a:ext cx="353969" cy="296334"/>
      </dsp:txXfrm>
    </dsp:sp>
    <dsp:sp modelId="{8F1FDF32-78E0-4ED1-970D-21E8309CEF5A}">
      <dsp:nvSpPr>
        <dsp:cNvPr id="0" name=""/>
        <dsp:cNvSpPr/>
      </dsp:nvSpPr>
      <dsp:spPr>
        <a:xfrm rot="16690909">
          <a:off x="1411599" y="2659942"/>
          <a:ext cx="23946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9795" y="2709229"/>
        <a:ext cx="197037" cy="84862"/>
      </dsp:txXfrm>
    </dsp:sp>
    <dsp:sp modelId="{4C7C445F-E1C6-4F7A-821E-F674A343F87A}">
      <dsp:nvSpPr>
        <dsp:cNvPr id="0" name=""/>
        <dsp:cNvSpPr/>
      </dsp:nvSpPr>
      <dsp:spPr>
        <a:xfrm>
          <a:off x="1228663" y="1657350"/>
          <a:ext cx="819212" cy="659118"/>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专家咨询费</a:t>
          </a:r>
          <a:endParaRPr lang="zh-CN" altLang="en-US" sz="1200" b="1" kern="1200" dirty="0"/>
        </a:p>
      </dsp:txBody>
      <dsp:txXfrm>
        <a:off x="1348634" y="1753876"/>
        <a:ext cx="579270" cy="466066"/>
      </dsp:txXfrm>
    </dsp:sp>
    <dsp:sp modelId="{00C6A176-9825-494C-8FDD-D407F0EF76CB}">
      <dsp:nvSpPr>
        <dsp:cNvPr id="0" name=""/>
        <dsp:cNvSpPr/>
      </dsp:nvSpPr>
      <dsp:spPr>
        <a:xfrm rot="18654545">
          <a:off x="2005164" y="1361565"/>
          <a:ext cx="22738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2012486" y="1405886"/>
        <a:ext cx="184950" cy="84862"/>
      </dsp:txXfrm>
    </dsp:sp>
    <dsp:sp modelId="{9B0B857B-DA14-4DB2-9764-FAEA0033B125}">
      <dsp:nvSpPr>
        <dsp:cNvPr id="0" name=""/>
        <dsp:cNvSpPr/>
      </dsp:nvSpPr>
      <dsp:spPr>
        <a:xfrm>
          <a:off x="2277098" y="75126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812637"/>
        <a:ext cx="353969" cy="296334"/>
      </dsp:txXfrm>
    </dsp:sp>
    <dsp:sp modelId="{FEA59801-9672-4D23-8192-A605C46BE70F}">
      <dsp:nvSpPr>
        <dsp:cNvPr id="0" name=""/>
        <dsp:cNvSpPr/>
      </dsp:nvSpPr>
      <dsp:spPr>
        <a:xfrm rot="20663025">
          <a:off x="3038184" y="712367"/>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746365"/>
        <a:ext cx="207632" cy="84862"/>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449080"/>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93870"/>
        <a:ext cx="348717" cy="216264"/>
      </dsp:txXfrm>
    </dsp:sp>
    <dsp:sp modelId="{CF57B3AA-9D23-4D82-8D72-1A4D072C9CF6}">
      <dsp:nvSpPr>
        <dsp:cNvPr id="0" name=""/>
        <dsp:cNvSpPr/>
      </dsp:nvSpPr>
      <dsp:spPr>
        <a:xfrm rot="911228">
          <a:off x="4321406" y="705023"/>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727752"/>
        <a:ext cx="216973" cy="84862"/>
      </dsp:txXfrm>
    </dsp:sp>
    <dsp:sp modelId="{83195273-D2D4-405D-A258-93AFE8C7BE7A}">
      <dsp:nvSpPr>
        <dsp:cNvPr id="0" name=""/>
        <dsp:cNvSpPr/>
      </dsp:nvSpPr>
      <dsp:spPr>
        <a:xfrm>
          <a:off x="4874569" y="772929"/>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827957"/>
        <a:ext cx="365277" cy="265696"/>
      </dsp:txXfrm>
    </dsp:sp>
    <dsp:sp modelId="{798A8C5B-4663-468B-BDAB-5BC0D323EF4E}">
      <dsp:nvSpPr>
        <dsp:cNvPr id="0" name=""/>
        <dsp:cNvSpPr/>
      </dsp:nvSpPr>
      <dsp:spPr>
        <a:xfrm rot="2945455">
          <a:off x="5429280" y="1389156"/>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401409"/>
        <a:ext cx="229620" cy="84862"/>
      </dsp:txXfrm>
    </dsp:sp>
    <dsp:sp modelId="{B05F7D2C-D848-4E12-98C6-11FDD917CB93}">
      <dsp:nvSpPr>
        <dsp:cNvPr id="0" name=""/>
        <dsp:cNvSpPr/>
      </dsp:nvSpPr>
      <dsp:spPr>
        <a:xfrm>
          <a:off x="5747939" y="1792101"/>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849159"/>
        <a:ext cx="387558" cy="275499"/>
      </dsp:txXfrm>
    </dsp:sp>
    <dsp:sp modelId="{342C44B1-3496-43E6-B7A3-2E7DE47A0EB1}">
      <dsp:nvSpPr>
        <dsp:cNvPr id="0" name=""/>
        <dsp:cNvSpPr/>
      </dsp:nvSpPr>
      <dsp:spPr>
        <a:xfrm rot="4909091">
          <a:off x="5976025" y="2566895"/>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74182"/>
        <a:ext cx="236601" cy="84862"/>
      </dsp:txXfrm>
    </dsp:sp>
    <dsp:sp modelId="{AEC3BFE0-4A84-4A7A-9D2A-077ED9AD905B}">
      <dsp:nvSpPr>
        <dsp:cNvPr id="0" name=""/>
        <dsp:cNvSpPr/>
      </dsp:nvSpPr>
      <dsp:spPr>
        <a:xfrm>
          <a:off x="5964914"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82653"/>
        <a:ext cx="353969" cy="296334"/>
      </dsp:txXfrm>
    </dsp:sp>
    <dsp:sp modelId="{BB722067-4A31-4156-9489-71E129EF8E43}">
      <dsp:nvSpPr>
        <dsp:cNvPr id="0" name=""/>
        <dsp:cNvSpPr/>
      </dsp:nvSpPr>
      <dsp:spPr>
        <a:xfrm rot="6872727">
          <a:off x="5804691" y="3862864"/>
          <a:ext cx="2704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834720" y="3871853"/>
        <a:ext cx="228061" cy="84862"/>
      </dsp:txXfrm>
    </dsp:sp>
    <dsp:sp modelId="{157C4094-4D48-4CA4-8FE3-C846251355F5}">
      <dsp:nvSpPr>
        <dsp:cNvPr id="0" name=""/>
        <dsp:cNvSpPr/>
      </dsp:nvSpPr>
      <dsp:spPr>
        <a:xfrm>
          <a:off x="5406399" y="4350216"/>
          <a:ext cx="489576" cy="431279"/>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差旅费</a:t>
          </a:r>
          <a:r>
            <a:rPr lang="en-US" altLang="zh-CN" sz="800" kern="1200" smtClean="0"/>
            <a:t>  </a:t>
          </a:r>
          <a:endParaRPr lang="zh-CN" altLang="en-US" sz="800" kern="1200" dirty="0"/>
        </a:p>
      </dsp:txBody>
      <dsp:txXfrm>
        <a:off x="5478096" y="4413375"/>
        <a:ext cx="346182" cy="304961"/>
      </dsp:txXfrm>
    </dsp:sp>
    <dsp:sp modelId="{9347F69F-9A85-4B8D-9DE5-233494D2AF22}">
      <dsp:nvSpPr>
        <dsp:cNvPr id="0" name=""/>
        <dsp:cNvSpPr/>
      </dsp:nvSpPr>
      <dsp:spPr>
        <a:xfrm rot="8836364">
          <a:off x="4962074" y="4854540"/>
          <a:ext cx="259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001137" y="4871357"/>
        <a:ext cx="217314" cy="84862"/>
      </dsp:txXfrm>
    </dsp:sp>
    <dsp:sp modelId="{5E517795-696C-4478-8F77-24582CDCDF88}">
      <dsp:nvSpPr>
        <dsp:cNvPr id="0" name=""/>
        <dsp:cNvSpPr/>
      </dsp:nvSpPr>
      <dsp:spPr>
        <a:xfrm>
          <a:off x="4255484" y="5093165"/>
          <a:ext cx="507014" cy="41347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会议费</a:t>
          </a:r>
          <a:endParaRPr lang="zh-CN" altLang="en-US" sz="600" b="0" kern="1200" dirty="0"/>
        </a:p>
      </dsp:txBody>
      <dsp:txXfrm>
        <a:off x="4329734" y="5153716"/>
        <a:ext cx="358514" cy="292368"/>
      </dsp:txXfrm>
    </dsp:sp>
    <dsp:sp modelId="{48C0BD33-5F17-45F5-9058-93C87A9DDC1F}">
      <dsp:nvSpPr>
        <dsp:cNvPr id="0" name=""/>
        <dsp:cNvSpPr/>
      </dsp:nvSpPr>
      <dsp:spPr>
        <a:xfrm rot="10800000">
          <a:off x="3703408" y="5229182"/>
          <a:ext cx="256266"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3745839" y="5257469"/>
        <a:ext cx="213835" cy="84862"/>
      </dsp:txXfrm>
    </dsp:sp>
    <dsp:sp modelId="{23AEF67E-B71E-4BFF-8274-B39880BE8995}">
      <dsp:nvSpPr>
        <dsp:cNvPr id="0" name=""/>
        <dsp:cNvSpPr/>
      </dsp:nvSpPr>
      <dsp:spPr>
        <a:xfrm>
          <a:off x="2921147" y="5105400"/>
          <a:ext cx="460228" cy="38900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国际合作交流费</a:t>
          </a:r>
          <a:endParaRPr lang="zh-CN" altLang="en-US" sz="600" b="0" kern="1200" dirty="0"/>
        </a:p>
      </dsp:txBody>
      <dsp:txXfrm>
        <a:off x="2988546" y="5162368"/>
        <a:ext cx="325430" cy="275064"/>
      </dsp:txXfrm>
    </dsp:sp>
    <dsp:sp modelId="{9851BCFD-6C0F-44EE-A90D-93FA72FAD479}">
      <dsp:nvSpPr>
        <dsp:cNvPr id="0" name=""/>
        <dsp:cNvSpPr/>
      </dsp:nvSpPr>
      <dsp:spPr>
        <a:xfrm rot="12763636">
          <a:off x="2466739" y="4874427"/>
          <a:ext cx="26502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505802" y="4914184"/>
        <a:ext cx="222593" cy="84862"/>
      </dsp:txXfrm>
    </dsp:sp>
    <dsp:sp modelId="{9336A9F3-2A53-40E9-8F9F-8E4C967B12C1}">
      <dsp:nvSpPr>
        <dsp:cNvPr id="0" name=""/>
        <dsp:cNvSpPr/>
      </dsp:nvSpPr>
      <dsp:spPr>
        <a:xfrm>
          <a:off x="1758770" y="4356315"/>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417688"/>
        <a:ext cx="353969" cy="296334"/>
      </dsp:txXfrm>
    </dsp:sp>
    <dsp:sp modelId="{80B8A62C-CA65-4F7F-B3E1-E47A6F8DBF28}">
      <dsp:nvSpPr>
        <dsp:cNvPr id="0" name=""/>
        <dsp:cNvSpPr/>
      </dsp:nvSpPr>
      <dsp:spPr>
        <a:xfrm rot="14727273">
          <a:off x="1596889" y="3890273"/>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937858"/>
        <a:ext cx="229457" cy="84862"/>
      </dsp:txXfrm>
    </dsp:sp>
    <dsp:sp modelId="{AA562BA4-1362-4B11-BE12-AAF95F9B0655}">
      <dsp:nvSpPr>
        <dsp:cNvPr id="0" name=""/>
        <dsp:cNvSpPr/>
      </dsp:nvSpPr>
      <dsp:spPr>
        <a:xfrm>
          <a:off x="1194749"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82653"/>
        <a:ext cx="353969" cy="296334"/>
      </dsp:txXfrm>
    </dsp:sp>
    <dsp:sp modelId="{8F1FDF32-78E0-4ED1-970D-21E8309CEF5A}">
      <dsp:nvSpPr>
        <dsp:cNvPr id="0" name=""/>
        <dsp:cNvSpPr/>
      </dsp:nvSpPr>
      <dsp:spPr>
        <a:xfrm rot="16690909">
          <a:off x="1411599" y="2659942"/>
          <a:ext cx="23946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9795" y="2709229"/>
        <a:ext cx="197037" cy="84862"/>
      </dsp:txXfrm>
    </dsp:sp>
    <dsp:sp modelId="{4C7C445F-E1C6-4F7A-821E-F674A343F87A}">
      <dsp:nvSpPr>
        <dsp:cNvPr id="0" name=""/>
        <dsp:cNvSpPr/>
      </dsp:nvSpPr>
      <dsp:spPr>
        <a:xfrm>
          <a:off x="1228663" y="1657350"/>
          <a:ext cx="819212" cy="659118"/>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专家咨询费</a:t>
          </a:r>
          <a:endParaRPr lang="zh-CN" altLang="en-US" sz="1200" b="1" kern="1200" dirty="0"/>
        </a:p>
      </dsp:txBody>
      <dsp:txXfrm>
        <a:off x="1348634" y="1753876"/>
        <a:ext cx="579270" cy="466066"/>
      </dsp:txXfrm>
    </dsp:sp>
    <dsp:sp modelId="{00C6A176-9825-494C-8FDD-D407F0EF76CB}">
      <dsp:nvSpPr>
        <dsp:cNvPr id="0" name=""/>
        <dsp:cNvSpPr/>
      </dsp:nvSpPr>
      <dsp:spPr>
        <a:xfrm rot="18654545">
          <a:off x="2005164" y="1361565"/>
          <a:ext cx="22738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2012486" y="1405886"/>
        <a:ext cx="184950" cy="84862"/>
      </dsp:txXfrm>
    </dsp:sp>
    <dsp:sp modelId="{9B0B857B-DA14-4DB2-9764-FAEA0033B125}">
      <dsp:nvSpPr>
        <dsp:cNvPr id="0" name=""/>
        <dsp:cNvSpPr/>
      </dsp:nvSpPr>
      <dsp:spPr>
        <a:xfrm>
          <a:off x="2277098" y="75126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812637"/>
        <a:ext cx="353969" cy="296334"/>
      </dsp:txXfrm>
    </dsp:sp>
    <dsp:sp modelId="{FEA59801-9672-4D23-8192-A605C46BE70F}">
      <dsp:nvSpPr>
        <dsp:cNvPr id="0" name=""/>
        <dsp:cNvSpPr/>
      </dsp:nvSpPr>
      <dsp:spPr>
        <a:xfrm rot="20663025">
          <a:off x="3038184" y="712367"/>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746365"/>
        <a:ext cx="207632" cy="84862"/>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449080"/>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93870"/>
        <a:ext cx="348717" cy="216264"/>
      </dsp:txXfrm>
    </dsp:sp>
    <dsp:sp modelId="{CF57B3AA-9D23-4D82-8D72-1A4D072C9CF6}">
      <dsp:nvSpPr>
        <dsp:cNvPr id="0" name=""/>
        <dsp:cNvSpPr/>
      </dsp:nvSpPr>
      <dsp:spPr>
        <a:xfrm rot="911228">
          <a:off x="4321406" y="705023"/>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727752"/>
        <a:ext cx="216973" cy="84862"/>
      </dsp:txXfrm>
    </dsp:sp>
    <dsp:sp modelId="{83195273-D2D4-405D-A258-93AFE8C7BE7A}">
      <dsp:nvSpPr>
        <dsp:cNvPr id="0" name=""/>
        <dsp:cNvSpPr/>
      </dsp:nvSpPr>
      <dsp:spPr>
        <a:xfrm>
          <a:off x="4874569" y="772929"/>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827957"/>
        <a:ext cx="365277" cy="265696"/>
      </dsp:txXfrm>
    </dsp:sp>
    <dsp:sp modelId="{798A8C5B-4663-468B-BDAB-5BC0D323EF4E}">
      <dsp:nvSpPr>
        <dsp:cNvPr id="0" name=""/>
        <dsp:cNvSpPr/>
      </dsp:nvSpPr>
      <dsp:spPr>
        <a:xfrm rot="2945455">
          <a:off x="5429280" y="1389156"/>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401409"/>
        <a:ext cx="229620" cy="84862"/>
      </dsp:txXfrm>
    </dsp:sp>
    <dsp:sp modelId="{B05F7D2C-D848-4E12-98C6-11FDD917CB93}">
      <dsp:nvSpPr>
        <dsp:cNvPr id="0" name=""/>
        <dsp:cNvSpPr/>
      </dsp:nvSpPr>
      <dsp:spPr>
        <a:xfrm>
          <a:off x="5747939" y="1792101"/>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849159"/>
        <a:ext cx="387558" cy="275499"/>
      </dsp:txXfrm>
    </dsp:sp>
    <dsp:sp modelId="{342C44B1-3496-43E6-B7A3-2E7DE47A0EB1}">
      <dsp:nvSpPr>
        <dsp:cNvPr id="0" name=""/>
        <dsp:cNvSpPr/>
      </dsp:nvSpPr>
      <dsp:spPr>
        <a:xfrm rot="4909091">
          <a:off x="5976025" y="2566895"/>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74182"/>
        <a:ext cx="236601" cy="84862"/>
      </dsp:txXfrm>
    </dsp:sp>
    <dsp:sp modelId="{AEC3BFE0-4A84-4A7A-9D2A-077ED9AD905B}">
      <dsp:nvSpPr>
        <dsp:cNvPr id="0" name=""/>
        <dsp:cNvSpPr/>
      </dsp:nvSpPr>
      <dsp:spPr>
        <a:xfrm>
          <a:off x="5964914"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82653"/>
        <a:ext cx="353969" cy="296334"/>
      </dsp:txXfrm>
    </dsp:sp>
    <dsp:sp modelId="{BB722067-4A31-4156-9489-71E129EF8E43}">
      <dsp:nvSpPr>
        <dsp:cNvPr id="0" name=""/>
        <dsp:cNvSpPr/>
      </dsp:nvSpPr>
      <dsp:spPr>
        <a:xfrm rot="6872727">
          <a:off x="5804691" y="3862864"/>
          <a:ext cx="2704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834720" y="3871853"/>
        <a:ext cx="228061" cy="84862"/>
      </dsp:txXfrm>
    </dsp:sp>
    <dsp:sp modelId="{157C4094-4D48-4CA4-8FE3-C846251355F5}">
      <dsp:nvSpPr>
        <dsp:cNvPr id="0" name=""/>
        <dsp:cNvSpPr/>
      </dsp:nvSpPr>
      <dsp:spPr>
        <a:xfrm>
          <a:off x="5406399" y="4350216"/>
          <a:ext cx="489576" cy="431279"/>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差旅费</a:t>
          </a:r>
          <a:r>
            <a:rPr lang="en-US" altLang="zh-CN" sz="800" kern="1200" smtClean="0"/>
            <a:t>  </a:t>
          </a:r>
          <a:endParaRPr lang="zh-CN" altLang="en-US" sz="800" kern="1200" dirty="0"/>
        </a:p>
      </dsp:txBody>
      <dsp:txXfrm>
        <a:off x="5478096" y="4413375"/>
        <a:ext cx="346182" cy="304961"/>
      </dsp:txXfrm>
    </dsp:sp>
    <dsp:sp modelId="{9347F69F-9A85-4B8D-9DE5-233494D2AF22}">
      <dsp:nvSpPr>
        <dsp:cNvPr id="0" name=""/>
        <dsp:cNvSpPr/>
      </dsp:nvSpPr>
      <dsp:spPr>
        <a:xfrm rot="8836364">
          <a:off x="4962074" y="4854540"/>
          <a:ext cx="259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001137" y="4871357"/>
        <a:ext cx="217314" cy="84862"/>
      </dsp:txXfrm>
    </dsp:sp>
    <dsp:sp modelId="{5E517795-696C-4478-8F77-24582CDCDF88}">
      <dsp:nvSpPr>
        <dsp:cNvPr id="0" name=""/>
        <dsp:cNvSpPr/>
      </dsp:nvSpPr>
      <dsp:spPr>
        <a:xfrm>
          <a:off x="4255484" y="5093165"/>
          <a:ext cx="507014" cy="41347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smtClean="0"/>
            <a:t>会议费</a:t>
          </a:r>
          <a:endParaRPr lang="zh-CN" altLang="en-US" sz="600" b="0" kern="1200" dirty="0"/>
        </a:p>
      </dsp:txBody>
      <dsp:txXfrm>
        <a:off x="4329734" y="5153716"/>
        <a:ext cx="358514" cy="292368"/>
      </dsp:txXfrm>
    </dsp:sp>
    <dsp:sp modelId="{48C0BD33-5F17-45F5-9058-93C87A9DDC1F}">
      <dsp:nvSpPr>
        <dsp:cNvPr id="0" name=""/>
        <dsp:cNvSpPr/>
      </dsp:nvSpPr>
      <dsp:spPr>
        <a:xfrm rot="10800000">
          <a:off x="3703408" y="5229182"/>
          <a:ext cx="256266"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3745839" y="5257469"/>
        <a:ext cx="213835" cy="84862"/>
      </dsp:txXfrm>
    </dsp:sp>
    <dsp:sp modelId="{23AEF67E-B71E-4BFF-8274-B39880BE8995}">
      <dsp:nvSpPr>
        <dsp:cNvPr id="0" name=""/>
        <dsp:cNvSpPr/>
      </dsp:nvSpPr>
      <dsp:spPr>
        <a:xfrm>
          <a:off x="2921147" y="5105400"/>
          <a:ext cx="460228" cy="38900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国际合作交流费</a:t>
          </a:r>
          <a:endParaRPr lang="zh-CN" altLang="en-US" sz="600" b="0" kern="1200" dirty="0"/>
        </a:p>
      </dsp:txBody>
      <dsp:txXfrm>
        <a:off x="2988546" y="5162368"/>
        <a:ext cx="325430" cy="275064"/>
      </dsp:txXfrm>
    </dsp:sp>
    <dsp:sp modelId="{9851BCFD-6C0F-44EE-A90D-93FA72FAD479}">
      <dsp:nvSpPr>
        <dsp:cNvPr id="0" name=""/>
        <dsp:cNvSpPr/>
      </dsp:nvSpPr>
      <dsp:spPr>
        <a:xfrm rot="12763636">
          <a:off x="2466739" y="4874427"/>
          <a:ext cx="26502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505802" y="4914184"/>
        <a:ext cx="222593" cy="84862"/>
      </dsp:txXfrm>
    </dsp:sp>
    <dsp:sp modelId="{9336A9F3-2A53-40E9-8F9F-8E4C967B12C1}">
      <dsp:nvSpPr>
        <dsp:cNvPr id="0" name=""/>
        <dsp:cNvSpPr/>
      </dsp:nvSpPr>
      <dsp:spPr>
        <a:xfrm>
          <a:off x="1758770" y="4356315"/>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417688"/>
        <a:ext cx="353969" cy="296334"/>
      </dsp:txXfrm>
    </dsp:sp>
    <dsp:sp modelId="{80B8A62C-CA65-4F7F-B3E1-E47A6F8DBF28}">
      <dsp:nvSpPr>
        <dsp:cNvPr id="0" name=""/>
        <dsp:cNvSpPr/>
      </dsp:nvSpPr>
      <dsp:spPr>
        <a:xfrm rot="14727273">
          <a:off x="1596889" y="3890273"/>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937858"/>
        <a:ext cx="229457" cy="84862"/>
      </dsp:txXfrm>
    </dsp:sp>
    <dsp:sp modelId="{AA562BA4-1362-4B11-BE12-AAF95F9B0655}">
      <dsp:nvSpPr>
        <dsp:cNvPr id="0" name=""/>
        <dsp:cNvSpPr/>
      </dsp:nvSpPr>
      <dsp:spPr>
        <a:xfrm>
          <a:off x="1194749" y="3121280"/>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82653"/>
        <a:ext cx="353969" cy="296334"/>
      </dsp:txXfrm>
    </dsp:sp>
    <dsp:sp modelId="{8F1FDF32-78E0-4ED1-970D-21E8309CEF5A}">
      <dsp:nvSpPr>
        <dsp:cNvPr id="0" name=""/>
        <dsp:cNvSpPr/>
      </dsp:nvSpPr>
      <dsp:spPr>
        <a:xfrm rot="16690909">
          <a:off x="1402248" y="2602064"/>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651351"/>
        <a:ext cx="232383" cy="84862"/>
      </dsp:txXfrm>
    </dsp:sp>
    <dsp:sp modelId="{4C7C445F-E1C6-4F7A-821E-F674A343F87A}">
      <dsp:nvSpPr>
        <dsp:cNvPr id="0" name=""/>
        <dsp:cNvSpPr/>
      </dsp:nvSpPr>
      <dsp:spPr>
        <a:xfrm>
          <a:off x="1387974" y="1777369"/>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838742"/>
        <a:ext cx="353969" cy="296334"/>
      </dsp:txXfrm>
    </dsp:sp>
    <dsp:sp modelId="{00C6A176-9825-494C-8FDD-D407F0EF76CB}">
      <dsp:nvSpPr>
        <dsp:cNvPr id="0" name=""/>
        <dsp:cNvSpPr/>
      </dsp:nvSpPr>
      <dsp:spPr>
        <a:xfrm rot="18654545">
          <a:off x="1913299" y="1472114"/>
          <a:ext cx="21952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20621" y="1516435"/>
        <a:ext cx="177098" cy="84862"/>
      </dsp:txXfrm>
    </dsp:sp>
    <dsp:sp modelId="{9B0B857B-DA14-4DB2-9764-FAEA0033B125}">
      <dsp:nvSpPr>
        <dsp:cNvPr id="0" name=""/>
        <dsp:cNvSpPr/>
      </dsp:nvSpPr>
      <dsp:spPr>
        <a:xfrm>
          <a:off x="2121086" y="590550"/>
          <a:ext cx="812615" cy="740509"/>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zh-CN" altLang="en-US" sz="1400" b="1" kern="1200" dirty="0" smtClean="0"/>
            <a:t>其他费用</a:t>
          </a:r>
          <a:endParaRPr lang="zh-CN" altLang="en-US" sz="1400" b="1" kern="1200" dirty="0"/>
        </a:p>
      </dsp:txBody>
      <dsp:txXfrm>
        <a:off x="2240091" y="698995"/>
        <a:ext cx="574605" cy="523619"/>
      </dsp:txXfrm>
    </dsp:sp>
    <dsp:sp modelId="{FEA59801-9672-4D23-8192-A605C46BE70F}">
      <dsp:nvSpPr>
        <dsp:cNvPr id="0" name=""/>
        <dsp:cNvSpPr/>
      </dsp:nvSpPr>
      <dsp:spPr>
        <a:xfrm rot="20663025">
          <a:off x="3138955" y="690626"/>
          <a:ext cx="204087"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139738" y="724624"/>
        <a:ext cx="161656" cy="848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447677"/>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92467"/>
        <a:ext cx="348717" cy="216264"/>
      </dsp:txXfrm>
    </dsp:sp>
    <dsp:sp modelId="{CF57B3AA-9D23-4D82-8D72-1A4D072C9CF6}">
      <dsp:nvSpPr>
        <dsp:cNvPr id="0" name=""/>
        <dsp:cNvSpPr/>
      </dsp:nvSpPr>
      <dsp:spPr>
        <a:xfrm rot="911228">
          <a:off x="4287348" y="690160"/>
          <a:ext cx="22834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4288089" y="712889"/>
        <a:ext cx="185912" cy="84862"/>
      </dsp:txXfrm>
    </dsp:sp>
    <dsp:sp modelId="{83195273-D2D4-405D-A258-93AFE8C7BE7A}">
      <dsp:nvSpPr>
        <dsp:cNvPr id="0" name=""/>
        <dsp:cNvSpPr/>
      </dsp:nvSpPr>
      <dsp:spPr>
        <a:xfrm>
          <a:off x="4769795" y="665448"/>
          <a:ext cx="726129" cy="587907"/>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材料费</a:t>
          </a:r>
          <a:endParaRPr lang="zh-CN" altLang="en-US" sz="1200" b="1" kern="1200" dirty="0"/>
        </a:p>
      </dsp:txBody>
      <dsp:txXfrm>
        <a:off x="4876134" y="751545"/>
        <a:ext cx="513451" cy="415713"/>
      </dsp:txXfrm>
    </dsp:sp>
    <dsp:sp modelId="{798A8C5B-4663-468B-BDAB-5BC0D323EF4E}">
      <dsp:nvSpPr>
        <dsp:cNvPr id="0" name=""/>
        <dsp:cNvSpPr/>
      </dsp:nvSpPr>
      <dsp:spPr>
        <a:xfrm rot="2945455">
          <a:off x="5480737" y="1428012"/>
          <a:ext cx="2389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488059" y="1440265"/>
        <a:ext cx="196473" cy="84862"/>
      </dsp:txXfrm>
    </dsp:sp>
    <dsp:sp modelId="{B05F7D2C-D848-4E12-98C6-11FDD917CB93}">
      <dsp:nvSpPr>
        <dsp:cNvPr id="0" name=""/>
        <dsp:cNvSpPr/>
      </dsp:nvSpPr>
      <dsp:spPr>
        <a:xfrm>
          <a:off x="5771689" y="1775966"/>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测试化验加工费</a:t>
          </a:r>
          <a:endParaRPr lang="zh-CN" altLang="en-US" sz="600" kern="1200" dirty="0"/>
        </a:p>
      </dsp:txBody>
      <dsp:txXfrm>
        <a:off x="5844999" y="1837339"/>
        <a:ext cx="353969" cy="296334"/>
      </dsp:txXfrm>
    </dsp:sp>
    <dsp:sp modelId="{342C44B1-3496-43E6-B7A3-2E7DE47A0EB1}">
      <dsp:nvSpPr>
        <dsp:cNvPr id="0" name=""/>
        <dsp:cNvSpPr/>
      </dsp:nvSpPr>
      <dsp:spPr>
        <a:xfrm rot="4909091">
          <a:off x="5979188" y="2572826"/>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997384" y="2580113"/>
        <a:ext cx="232383" cy="84862"/>
      </dsp:txXfrm>
    </dsp:sp>
    <dsp:sp modelId="{AEC3BFE0-4A84-4A7A-9D2A-077ED9AD905B}">
      <dsp:nvSpPr>
        <dsp:cNvPr id="0" name=""/>
        <dsp:cNvSpPr/>
      </dsp:nvSpPr>
      <dsp:spPr>
        <a:xfrm>
          <a:off x="5964914" y="311987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81250"/>
        <a:ext cx="353969" cy="296334"/>
      </dsp:txXfrm>
    </dsp:sp>
    <dsp:sp modelId="{BB722067-4A31-4156-9489-71E129EF8E43}">
      <dsp:nvSpPr>
        <dsp:cNvPr id="0" name=""/>
        <dsp:cNvSpPr/>
      </dsp:nvSpPr>
      <dsp:spPr>
        <a:xfrm rot="6872727">
          <a:off x="5803033" y="3863563"/>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5833062" y="3872552"/>
        <a:ext cx="229457" cy="84862"/>
      </dsp:txXfrm>
    </dsp:sp>
    <dsp:sp modelId="{157C4094-4D48-4CA4-8FE3-C846251355F5}">
      <dsp:nvSpPr>
        <dsp:cNvPr id="0" name=""/>
        <dsp:cNvSpPr/>
      </dsp:nvSpPr>
      <dsp:spPr>
        <a:xfrm>
          <a:off x="5400893" y="435491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差旅费</a:t>
          </a:r>
          <a:r>
            <a:rPr lang="en-US" altLang="zh-CN" sz="600" kern="1200" dirty="0" smtClean="0"/>
            <a:t>  </a:t>
          </a:r>
          <a:endParaRPr lang="zh-CN" altLang="en-US" sz="600" kern="1200" dirty="0"/>
        </a:p>
      </dsp:txBody>
      <dsp:txXfrm>
        <a:off x="5474203" y="4416286"/>
        <a:ext cx="353969" cy="296334"/>
      </dsp:txXfrm>
    </dsp:sp>
    <dsp:sp modelId="{9347F69F-9A85-4B8D-9DE5-233494D2AF22}">
      <dsp:nvSpPr>
        <dsp:cNvPr id="0" name=""/>
        <dsp:cNvSpPr/>
      </dsp:nvSpPr>
      <dsp:spPr>
        <a:xfrm rot="8836364">
          <a:off x="4961431" y="4853574"/>
          <a:ext cx="25967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5000494" y="4870391"/>
        <a:ext cx="217239" cy="84862"/>
      </dsp:txXfrm>
    </dsp:sp>
    <dsp:sp modelId="{5E517795-696C-4478-8F77-24582CDCDF88}">
      <dsp:nvSpPr>
        <dsp:cNvPr id="0" name=""/>
        <dsp:cNvSpPr/>
      </dsp:nvSpPr>
      <dsp:spPr>
        <a:xfrm>
          <a:off x="4258697" y="508895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会议费</a:t>
          </a:r>
          <a:endParaRPr lang="zh-CN" altLang="en-US" sz="600" kern="1200" dirty="0"/>
        </a:p>
      </dsp:txBody>
      <dsp:txXfrm>
        <a:off x="4332007" y="5150330"/>
        <a:ext cx="353969" cy="296334"/>
      </dsp:txXfrm>
    </dsp:sp>
    <dsp:sp modelId="{48C0BD33-5F17-45F5-9058-93C87A9DDC1F}">
      <dsp:nvSpPr>
        <dsp:cNvPr id="0" name=""/>
        <dsp:cNvSpPr/>
      </dsp:nvSpPr>
      <dsp:spPr>
        <a:xfrm rot="10800000">
          <a:off x="3717337" y="5227779"/>
          <a:ext cx="2512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3759768" y="5256066"/>
        <a:ext cx="208861" cy="84862"/>
      </dsp:txXfrm>
    </dsp:sp>
    <dsp:sp modelId="{23AEF67E-B71E-4BFF-8274-B39880BE8995}">
      <dsp:nvSpPr>
        <dsp:cNvPr id="0" name=""/>
        <dsp:cNvSpPr/>
      </dsp:nvSpPr>
      <dsp:spPr>
        <a:xfrm>
          <a:off x="2900966" y="508895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国际合作交流费</a:t>
          </a:r>
          <a:endParaRPr lang="zh-CN" altLang="en-US" sz="600" kern="1200" dirty="0"/>
        </a:p>
      </dsp:txBody>
      <dsp:txXfrm>
        <a:off x="2974276" y="5150330"/>
        <a:ext cx="353969" cy="296334"/>
      </dsp:txXfrm>
    </dsp:sp>
    <dsp:sp modelId="{9851BCFD-6C0F-44EE-A90D-93FA72FAD479}">
      <dsp:nvSpPr>
        <dsp:cNvPr id="0" name=""/>
        <dsp:cNvSpPr/>
      </dsp:nvSpPr>
      <dsp:spPr>
        <a:xfrm rot="12763636">
          <a:off x="2461505" y="4867940"/>
          <a:ext cx="25967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2500568" y="4907697"/>
        <a:ext cx="217239" cy="84862"/>
      </dsp:txXfrm>
    </dsp:sp>
    <dsp:sp modelId="{9336A9F3-2A53-40E9-8F9F-8E4C967B12C1}">
      <dsp:nvSpPr>
        <dsp:cNvPr id="0" name=""/>
        <dsp:cNvSpPr/>
      </dsp:nvSpPr>
      <dsp:spPr>
        <a:xfrm>
          <a:off x="1758770" y="435491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416286"/>
        <a:ext cx="353969" cy="296334"/>
      </dsp:txXfrm>
    </dsp:sp>
    <dsp:sp modelId="{80B8A62C-CA65-4F7F-B3E1-E47A6F8DBF28}">
      <dsp:nvSpPr>
        <dsp:cNvPr id="0" name=""/>
        <dsp:cNvSpPr/>
      </dsp:nvSpPr>
      <dsp:spPr>
        <a:xfrm rot="14727273">
          <a:off x="1596889" y="3888871"/>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1626918" y="3936456"/>
        <a:ext cx="229457" cy="84862"/>
      </dsp:txXfrm>
    </dsp:sp>
    <dsp:sp modelId="{AA562BA4-1362-4B11-BE12-AAF95F9B0655}">
      <dsp:nvSpPr>
        <dsp:cNvPr id="0" name=""/>
        <dsp:cNvSpPr/>
      </dsp:nvSpPr>
      <dsp:spPr>
        <a:xfrm>
          <a:off x="1194749" y="311987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81250"/>
        <a:ext cx="353969" cy="296334"/>
      </dsp:txXfrm>
    </dsp:sp>
    <dsp:sp modelId="{8F1FDF32-78E0-4ED1-970D-21E8309CEF5A}">
      <dsp:nvSpPr>
        <dsp:cNvPr id="0" name=""/>
        <dsp:cNvSpPr/>
      </dsp:nvSpPr>
      <dsp:spPr>
        <a:xfrm rot="16690909">
          <a:off x="1402248" y="2600661"/>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1420444" y="2649948"/>
        <a:ext cx="232383" cy="84862"/>
      </dsp:txXfrm>
    </dsp:sp>
    <dsp:sp modelId="{4C7C445F-E1C6-4F7A-821E-F674A343F87A}">
      <dsp:nvSpPr>
        <dsp:cNvPr id="0" name=""/>
        <dsp:cNvSpPr/>
      </dsp:nvSpPr>
      <dsp:spPr>
        <a:xfrm>
          <a:off x="1387974" y="1775966"/>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837339"/>
        <a:ext cx="353969" cy="296334"/>
      </dsp:txXfrm>
    </dsp:sp>
    <dsp:sp modelId="{00C6A176-9825-494C-8FDD-D407F0EF76CB}">
      <dsp:nvSpPr>
        <dsp:cNvPr id="0" name=""/>
        <dsp:cNvSpPr/>
      </dsp:nvSpPr>
      <dsp:spPr>
        <a:xfrm rot="18654545">
          <a:off x="1940674" y="1412039"/>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1947996" y="1456360"/>
        <a:ext cx="224027" cy="84862"/>
      </dsp:txXfrm>
    </dsp:sp>
    <dsp:sp modelId="{9B0B857B-DA14-4DB2-9764-FAEA0033B125}">
      <dsp:nvSpPr>
        <dsp:cNvPr id="0" name=""/>
        <dsp:cNvSpPr/>
      </dsp:nvSpPr>
      <dsp:spPr>
        <a:xfrm>
          <a:off x="2277098" y="749862"/>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811235"/>
        <a:ext cx="353969" cy="296334"/>
      </dsp:txXfrm>
    </dsp:sp>
    <dsp:sp modelId="{FEA59801-9672-4D23-8192-A605C46BE70F}">
      <dsp:nvSpPr>
        <dsp:cNvPr id="0" name=""/>
        <dsp:cNvSpPr/>
      </dsp:nvSpPr>
      <dsp:spPr>
        <a:xfrm rot="20663025">
          <a:off x="3038184" y="710965"/>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3038967" y="744963"/>
        <a:ext cx="207632" cy="8486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447677"/>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92467"/>
        <a:ext cx="348717" cy="216264"/>
      </dsp:txXfrm>
    </dsp:sp>
    <dsp:sp modelId="{CF57B3AA-9D23-4D82-8D72-1A4D072C9CF6}">
      <dsp:nvSpPr>
        <dsp:cNvPr id="0" name=""/>
        <dsp:cNvSpPr/>
      </dsp:nvSpPr>
      <dsp:spPr>
        <a:xfrm rot="911228">
          <a:off x="4321406" y="703621"/>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4322147" y="726350"/>
        <a:ext cx="216973" cy="84862"/>
      </dsp:txXfrm>
    </dsp:sp>
    <dsp:sp modelId="{83195273-D2D4-405D-A258-93AFE8C7BE7A}">
      <dsp:nvSpPr>
        <dsp:cNvPr id="0" name=""/>
        <dsp:cNvSpPr/>
      </dsp:nvSpPr>
      <dsp:spPr>
        <a:xfrm>
          <a:off x="4874569" y="771526"/>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826554"/>
        <a:ext cx="365277" cy="265696"/>
      </dsp:txXfrm>
    </dsp:sp>
    <dsp:sp modelId="{798A8C5B-4663-468B-BDAB-5BC0D323EF4E}">
      <dsp:nvSpPr>
        <dsp:cNvPr id="0" name=""/>
        <dsp:cNvSpPr/>
      </dsp:nvSpPr>
      <dsp:spPr>
        <a:xfrm rot="2945455">
          <a:off x="5407964" y="1342068"/>
          <a:ext cx="23550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415286" y="1354321"/>
        <a:ext cx="193078" cy="84862"/>
      </dsp:txXfrm>
    </dsp:sp>
    <dsp:sp modelId="{B05F7D2C-D848-4E12-98C6-11FDD917CB93}">
      <dsp:nvSpPr>
        <dsp:cNvPr id="0" name=""/>
        <dsp:cNvSpPr/>
      </dsp:nvSpPr>
      <dsp:spPr>
        <a:xfrm>
          <a:off x="5605066" y="1676399"/>
          <a:ext cx="833836" cy="61821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zh-CN" altLang="en-US" sz="1100" b="1" kern="1200" dirty="0" smtClean="0"/>
            <a:t>测试化验加工费</a:t>
          </a:r>
          <a:endParaRPr lang="zh-CN" altLang="en-US" sz="1100" b="1" kern="1200" dirty="0"/>
        </a:p>
      </dsp:txBody>
      <dsp:txXfrm>
        <a:off x="5727178" y="1766934"/>
        <a:ext cx="589612" cy="437144"/>
      </dsp:txXfrm>
    </dsp:sp>
    <dsp:sp modelId="{342C44B1-3496-43E6-B7A3-2E7DE47A0EB1}">
      <dsp:nvSpPr>
        <dsp:cNvPr id="0" name=""/>
        <dsp:cNvSpPr/>
      </dsp:nvSpPr>
      <dsp:spPr>
        <a:xfrm rot="4909091">
          <a:off x="6001253" y="2623980"/>
          <a:ext cx="24539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6019449" y="2631267"/>
        <a:ext cx="202963" cy="84862"/>
      </dsp:txXfrm>
    </dsp:sp>
    <dsp:sp modelId="{AEC3BFE0-4A84-4A7A-9D2A-077ED9AD905B}">
      <dsp:nvSpPr>
        <dsp:cNvPr id="0" name=""/>
        <dsp:cNvSpPr/>
      </dsp:nvSpPr>
      <dsp:spPr>
        <a:xfrm>
          <a:off x="5964914" y="311987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81250"/>
        <a:ext cx="353969" cy="296334"/>
      </dsp:txXfrm>
    </dsp:sp>
    <dsp:sp modelId="{BB722067-4A31-4156-9489-71E129EF8E43}">
      <dsp:nvSpPr>
        <dsp:cNvPr id="0" name=""/>
        <dsp:cNvSpPr/>
      </dsp:nvSpPr>
      <dsp:spPr>
        <a:xfrm rot="6872727">
          <a:off x="5803033" y="3863563"/>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5833062" y="3872552"/>
        <a:ext cx="229457" cy="84862"/>
      </dsp:txXfrm>
    </dsp:sp>
    <dsp:sp modelId="{157C4094-4D48-4CA4-8FE3-C846251355F5}">
      <dsp:nvSpPr>
        <dsp:cNvPr id="0" name=""/>
        <dsp:cNvSpPr/>
      </dsp:nvSpPr>
      <dsp:spPr>
        <a:xfrm>
          <a:off x="5400893" y="435491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差旅费</a:t>
          </a:r>
          <a:r>
            <a:rPr lang="en-US" altLang="zh-CN" sz="600" kern="1200" dirty="0" smtClean="0"/>
            <a:t>  </a:t>
          </a:r>
          <a:endParaRPr lang="zh-CN" altLang="en-US" sz="600" kern="1200" dirty="0"/>
        </a:p>
      </dsp:txBody>
      <dsp:txXfrm>
        <a:off x="5474203" y="4416286"/>
        <a:ext cx="353969" cy="296334"/>
      </dsp:txXfrm>
    </dsp:sp>
    <dsp:sp modelId="{9347F69F-9A85-4B8D-9DE5-233494D2AF22}">
      <dsp:nvSpPr>
        <dsp:cNvPr id="0" name=""/>
        <dsp:cNvSpPr/>
      </dsp:nvSpPr>
      <dsp:spPr>
        <a:xfrm rot="8836364">
          <a:off x="4961431" y="4853574"/>
          <a:ext cx="25967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5000494" y="4870391"/>
        <a:ext cx="217239" cy="84862"/>
      </dsp:txXfrm>
    </dsp:sp>
    <dsp:sp modelId="{5E517795-696C-4478-8F77-24582CDCDF88}">
      <dsp:nvSpPr>
        <dsp:cNvPr id="0" name=""/>
        <dsp:cNvSpPr/>
      </dsp:nvSpPr>
      <dsp:spPr>
        <a:xfrm>
          <a:off x="4258697" y="508895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会议费</a:t>
          </a:r>
          <a:endParaRPr lang="zh-CN" altLang="en-US" sz="600" kern="1200" dirty="0"/>
        </a:p>
      </dsp:txBody>
      <dsp:txXfrm>
        <a:off x="4332007" y="5150330"/>
        <a:ext cx="353969" cy="296334"/>
      </dsp:txXfrm>
    </dsp:sp>
    <dsp:sp modelId="{48C0BD33-5F17-45F5-9058-93C87A9DDC1F}">
      <dsp:nvSpPr>
        <dsp:cNvPr id="0" name=""/>
        <dsp:cNvSpPr/>
      </dsp:nvSpPr>
      <dsp:spPr>
        <a:xfrm rot="10800000">
          <a:off x="3717337" y="5227779"/>
          <a:ext cx="2512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3759768" y="5256066"/>
        <a:ext cx="208861" cy="84862"/>
      </dsp:txXfrm>
    </dsp:sp>
    <dsp:sp modelId="{23AEF67E-B71E-4BFF-8274-B39880BE8995}">
      <dsp:nvSpPr>
        <dsp:cNvPr id="0" name=""/>
        <dsp:cNvSpPr/>
      </dsp:nvSpPr>
      <dsp:spPr>
        <a:xfrm>
          <a:off x="2900966" y="508895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国际合作交流费</a:t>
          </a:r>
          <a:endParaRPr lang="zh-CN" altLang="en-US" sz="600" kern="1200" dirty="0"/>
        </a:p>
      </dsp:txBody>
      <dsp:txXfrm>
        <a:off x="2974276" y="5150330"/>
        <a:ext cx="353969" cy="296334"/>
      </dsp:txXfrm>
    </dsp:sp>
    <dsp:sp modelId="{9851BCFD-6C0F-44EE-A90D-93FA72FAD479}">
      <dsp:nvSpPr>
        <dsp:cNvPr id="0" name=""/>
        <dsp:cNvSpPr/>
      </dsp:nvSpPr>
      <dsp:spPr>
        <a:xfrm rot="12763636">
          <a:off x="2461505" y="4867940"/>
          <a:ext cx="25967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2500568" y="4907697"/>
        <a:ext cx="217239" cy="84862"/>
      </dsp:txXfrm>
    </dsp:sp>
    <dsp:sp modelId="{9336A9F3-2A53-40E9-8F9F-8E4C967B12C1}">
      <dsp:nvSpPr>
        <dsp:cNvPr id="0" name=""/>
        <dsp:cNvSpPr/>
      </dsp:nvSpPr>
      <dsp:spPr>
        <a:xfrm>
          <a:off x="1758770" y="435491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416286"/>
        <a:ext cx="353969" cy="296334"/>
      </dsp:txXfrm>
    </dsp:sp>
    <dsp:sp modelId="{80B8A62C-CA65-4F7F-B3E1-E47A6F8DBF28}">
      <dsp:nvSpPr>
        <dsp:cNvPr id="0" name=""/>
        <dsp:cNvSpPr/>
      </dsp:nvSpPr>
      <dsp:spPr>
        <a:xfrm rot="14727273">
          <a:off x="1596889" y="3888871"/>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1626918" y="3936456"/>
        <a:ext cx="229457" cy="84862"/>
      </dsp:txXfrm>
    </dsp:sp>
    <dsp:sp modelId="{AA562BA4-1362-4B11-BE12-AAF95F9B0655}">
      <dsp:nvSpPr>
        <dsp:cNvPr id="0" name=""/>
        <dsp:cNvSpPr/>
      </dsp:nvSpPr>
      <dsp:spPr>
        <a:xfrm>
          <a:off x="1194749" y="311987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81250"/>
        <a:ext cx="353969" cy="296334"/>
      </dsp:txXfrm>
    </dsp:sp>
    <dsp:sp modelId="{8F1FDF32-78E0-4ED1-970D-21E8309CEF5A}">
      <dsp:nvSpPr>
        <dsp:cNvPr id="0" name=""/>
        <dsp:cNvSpPr/>
      </dsp:nvSpPr>
      <dsp:spPr>
        <a:xfrm rot="16690909">
          <a:off x="1402248" y="2600661"/>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1420444" y="2649948"/>
        <a:ext cx="232383" cy="84862"/>
      </dsp:txXfrm>
    </dsp:sp>
    <dsp:sp modelId="{4C7C445F-E1C6-4F7A-821E-F674A343F87A}">
      <dsp:nvSpPr>
        <dsp:cNvPr id="0" name=""/>
        <dsp:cNvSpPr/>
      </dsp:nvSpPr>
      <dsp:spPr>
        <a:xfrm>
          <a:off x="1387974" y="1775966"/>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837339"/>
        <a:ext cx="353969" cy="296334"/>
      </dsp:txXfrm>
    </dsp:sp>
    <dsp:sp modelId="{00C6A176-9825-494C-8FDD-D407F0EF76CB}">
      <dsp:nvSpPr>
        <dsp:cNvPr id="0" name=""/>
        <dsp:cNvSpPr/>
      </dsp:nvSpPr>
      <dsp:spPr>
        <a:xfrm rot="18654545">
          <a:off x="1940674" y="1412039"/>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1947996" y="1456360"/>
        <a:ext cx="224027" cy="84862"/>
      </dsp:txXfrm>
    </dsp:sp>
    <dsp:sp modelId="{9B0B857B-DA14-4DB2-9764-FAEA0033B125}">
      <dsp:nvSpPr>
        <dsp:cNvPr id="0" name=""/>
        <dsp:cNvSpPr/>
      </dsp:nvSpPr>
      <dsp:spPr>
        <a:xfrm>
          <a:off x="2277098" y="749862"/>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811235"/>
        <a:ext cx="353969" cy="296334"/>
      </dsp:txXfrm>
    </dsp:sp>
    <dsp:sp modelId="{FEA59801-9672-4D23-8192-A605C46BE70F}">
      <dsp:nvSpPr>
        <dsp:cNvPr id="0" name=""/>
        <dsp:cNvSpPr/>
      </dsp:nvSpPr>
      <dsp:spPr>
        <a:xfrm rot="20663025">
          <a:off x="3038184" y="710965"/>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3038967" y="744963"/>
        <a:ext cx="207632" cy="848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443953" y="447677"/>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516174" y="492467"/>
        <a:ext cx="348717" cy="216264"/>
      </dsp:txXfrm>
    </dsp:sp>
    <dsp:sp modelId="{CF57B3AA-9D23-4D82-8D72-1A4D072C9CF6}">
      <dsp:nvSpPr>
        <dsp:cNvPr id="0" name=""/>
        <dsp:cNvSpPr/>
      </dsp:nvSpPr>
      <dsp:spPr>
        <a:xfrm rot="911228">
          <a:off x="4200865" y="703621"/>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4201606" y="726350"/>
        <a:ext cx="216973" cy="84862"/>
      </dsp:txXfrm>
    </dsp:sp>
    <dsp:sp modelId="{83195273-D2D4-405D-A258-93AFE8C7BE7A}">
      <dsp:nvSpPr>
        <dsp:cNvPr id="0" name=""/>
        <dsp:cNvSpPr/>
      </dsp:nvSpPr>
      <dsp:spPr>
        <a:xfrm>
          <a:off x="4754028" y="771526"/>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829679" y="826554"/>
        <a:ext cx="365277" cy="265696"/>
      </dsp:txXfrm>
    </dsp:sp>
    <dsp:sp modelId="{798A8C5B-4663-468B-BDAB-5BC0D323EF4E}">
      <dsp:nvSpPr>
        <dsp:cNvPr id="0" name=""/>
        <dsp:cNvSpPr/>
      </dsp:nvSpPr>
      <dsp:spPr>
        <a:xfrm rot="2945455">
          <a:off x="5308772" y="1387824"/>
          <a:ext cx="27210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316094" y="1400077"/>
        <a:ext cx="229677" cy="84862"/>
      </dsp:txXfrm>
    </dsp:sp>
    <dsp:sp modelId="{B05F7D2C-D848-4E12-98C6-11FDD917CB93}">
      <dsp:nvSpPr>
        <dsp:cNvPr id="0" name=""/>
        <dsp:cNvSpPr/>
      </dsp:nvSpPr>
      <dsp:spPr>
        <a:xfrm>
          <a:off x="5655976" y="1781174"/>
          <a:ext cx="490933" cy="40866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727871" y="1841022"/>
        <a:ext cx="347143" cy="288969"/>
      </dsp:txXfrm>
    </dsp:sp>
    <dsp:sp modelId="{342C44B1-3496-43E6-B7A3-2E7DE47A0EB1}">
      <dsp:nvSpPr>
        <dsp:cNvPr id="0" name=""/>
        <dsp:cNvSpPr/>
      </dsp:nvSpPr>
      <dsp:spPr>
        <a:xfrm rot="4909091">
          <a:off x="5870614" y="2489017"/>
          <a:ext cx="22678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888810" y="2496304"/>
        <a:ext cx="184349" cy="84862"/>
      </dsp:txXfrm>
    </dsp:sp>
    <dsp:sp modelId="{AEC3BFE0-4A84-4A7A-9D2A-077ED9AD905B}">
      <dsp:nvSpPr>
        <dsp:cNvPr id="0" name=""/>
        <dsp:cNvSpPr/>
      </dsp:nvSpPr>
      <dsp:spPr>
        <a:xfrm>
          <a:off x="5603291" y="2951765"/>
          <a:ext cx="982754" cy="755305"/>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燃料动力费</a:t>
          </a:r>
          <a:endParaRPr lang="zh-CN" altLang="en-US" sz="1000" b="1" kern="1200" dirty="0"/>
        </a:p>
      </dsp:txBody>
      <dsp:txXfrm>
        <a:off x="5747212" y="3062377"/>
        <a:ext cx="694912" cy="534081"/>
      </dsp:txXfrm>
    </dsp:sp>
    <dsp:sp modelId="{BB722067-4A31-4156-9489-71E129EF8E43}">
      <dsp:nvSpPr>
        <dsp:cNvPr id="0" name=""/>
        <dsp:cNvSpPr/>
      </dsp:nvSpPr>
      <dsp:spPr>
        <a:xfrm rot="6872727">
          <a:off x="5670599" y="3946281"/>
          <a:ext cx="22012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5700628" y="3955270"/>
        <a:ext cx="177690" cy="84862"/>
      </dsp:txXfrm>
    </dsp:sp>
    <dsp:sp modelId="{157C4094-4D48-4CA4-8FE3-C846251355F5}">
      <dsp:nvSpPr>
        <dsp:cNvPr id="0" name=""/>
        <dsp:cNvSpPr/>
      </dsp:nvSpPr>
      <dsp:spPr>
        <a:xfrm>
          <a:off x="5280352" y="435491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差旅费</a:t>
          </a:r>
          <a:r>
            <a:rPr lang="en-US" altLang="zh-CN" sz="600" kern="1200" dirty="0" smtClean="0"/>
            <a:t>  </a:t>
          </a:r>
          <a:endParaRPr lang="zh-CN" altLang="en-US" sz="600" kern="1200" dirty="0"/>
        </a:p>
      </dsp:txBody>
      <dsp:txXfrm>
        <a:off x="5353662" y="4416286"/>
        <a:ext cx="353969" cy="296334"/>
      </dsp:txXfrm>
    </dsp:sp>
    <dsp:sp modelId="{9347F69F-9A85-4B8D-9DE5-233494D2AF22}">
      <dsp:nvSpPr>
        <dsp:cNvPr id="0" name=""/>
        <dsp:cNvSpPr/>
      </dsp:nvSpPr>
      <dsp:spPr>
        <a:xfrm rot="8836364">
          <a:off x="4840890" y="4853574"/>
          <a:ext cx="25967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4879953" y="4870391"/>
        <a:ext cx="217239" cy="84862"/>
      </dsp:txXfrm>
    </dsp:sp>
    <dsp:sp modelId="{5E517795-696C-4478-8F77-24582CDCDF88}">
      <dsp:nvSpPr>
        <dsp:cNvPr id="0" name=""/>
        <dsp:cNvSpPr/>
      </dsp:nvSpPr>
      <dsp:spPr>
        <a:xfrm>
          <a:off x="4138156" y="508895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会议费</a:t>
          </a:r>
          <a:endParaRPr lang="zh-CN" altLang="en-US" sz="600" kern="1200" dirty="0"/>
        </a:p>
      </dsp:txBody>
      <dsp:txXfrm>
        <a:off x="4211466" y="5150330"/>
        <a:ext cx="353969" cy="296334"/>
      </dsp:txXfrm>
    </dsp:sp>
    <dsp:sp modelId="{48C0BD33-5F17-45F5-9058-93C87A9DDC1F}">
      <dsp:nvSpPr>
        <dsp:cNvPr id="0" name=""/>
        <dsp:cNvSpPr/>
      </dsp:nvSpPr>
      <dsp:spPr>
        <a:xfrm rot="10800000">
          <a:off x="3596796" y="5227779"/>
          <a:ext cx="25129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3639227" y="5256066"/>
        <a:ext cx="208861" cy="84862"/>
      </dsp:txXfrm>
    </dsp:sp>
    <dsp:sp modelId="{23AEF67E-B71E-4BFF-8274-B39880BE8995}">
      <dsp:nvSpPr>
        <dsp:cNvPr id="0" name=""/>
        <dsp:cNvSpPr/>
      </dsp:nvSpPr>
      <dsp:spPr>
        <a:xfrm>
          <a:off x="2780425" y="508895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国际合作交流费</a:t>
          </a:r>
          <a:endParaRPr lang="zh-CN" altLang="en-US" sz="600" kern="1200" dirty="0"/>
        </a:p>
      </dsp:txBody>
      <dsp:txXfrm>
        <a:off x="2853735" y="5150330"/>
        <a:ext cx="353969" cy="296334"/>
      </dsp:txXfrm>
    </dsp:sp>
    <dsp:sp modelId="{9851BCFD-6C0F-44EE-A90D-93FA72FAD479}">
      <dsp:nvSpPr>
        <dsp:cNvPr id="0" name=""/>
        <dsp:cNvSpPr/>
      </dsp:nvSpPr>
      <dsp:spPr>
        <a:xfrm rot="12763636">
          <a:off x="2340963" y="4867940"/>
          <a:ext cx="25967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2380026" y="4907697"/>
        <a:ext cx="217239" cy="84862"/>
      </dsp:txXfrm>
    </dsp:sp>
    <dsp:sp modelId="{9336A9F3-2A53-40E9-8F9F-8E4C967B12C1}">
      <dsp:nvSpPr>
        <dsp:cNvPr id="0" name=""/>
        <dsp:cNvSpPr/>
      </dsp:nvSpPr>
      <dsp:spPr>
        <a:xfrm>
          <a:off x="1638229" y="435491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711539" y="4416286"/>
        <a:ext cx="353969" cy="296334"/>
      </dsp:txXfrm>
    </dsp:sp>
    <dsp:sp modelId="{80B8A62C-CA65-4F7F-B3E1-E47A6F8DBF28}">
      <dsp:nvSpPr>
        <dsp:cNvPr id="0" name=""/>
        <dsp:cNvSpPr/>
      </dsp:nvSpPr>
      <dsp:spPr>
        <a:xfrm rot="14727273">
          <a:off x="1476348" y="3888871"/>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1506377" y="3936456"/>
        <a:ext cx="229457" cy="84862"/>
      </dsp:txXfrm>
    </dsp:sp>
    <dsp:sp modelId="{AA562BA4-1362-4B11-BE12-AAF95F9B0655}">
      <dsp:nvSpPr>
        <dsp:cNvPr id="0" name=""/>
        <dsp:cNvSpPr/>
      </dsp:nvSpPr>
      <dsp:spPr>
        <a:xfrm>
          <a:off x="1074207" y="311987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147517" y="3181250"/>
        <a:ext cx="353969" cy="296334"/>
      </dsp:txXfrm>
    </dsp:sp>
    <dsp:sp modelId="{8F1FDF32-78E0-4ED1-970D-21E8309CEF5A}">
      <dsp:nvSpPr>
        <dsp:cNvPr id="0" name=""/>
        <dsp:cNvSpPr/>
      </dsp:nvSpPr>
      <dsp:spPr>
        <a:xfrm rot="16690909">
          <a:off x="1281707" y="2600661"/>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1299903" y="2649948"/>
        <a:ext cx="232383" cy="84862"/>
      </dsp:txXfrm>
    </dsp:sp>
    <dsp:sp modelId="{4C7C445F-E1C6-4F7A-821E-F674A343F87A}">
      <dsp:nvSpPr>
        <dsp:cNvPr id="0" name=""/>
        <dsp:cNvSpPr/>
      </dsp:nvSpPr>
      <dsp:spPr>
        <a:xfrm>
          <a:off x="1267433" y="1775966"/>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340743" y="1837339"/>
        <a:ext cx="353969" cy="296334"/>
      </dsp:txXfrm>
    </dsp:sp>
    <dsp:sp modelId="{00C6A176-9825-494C-8FDD-D407F0EF76CB}">
      <dsp:nvSpPr>
        <dsp:cNvPr id="0" name=""/>
        <dsp:cNvSpPr/>
      </dsp:nvSpPr>
      <dsp:spPr>
        <a:xfrm rot="18654545">
          <a:off x="1820133" y="1412039"/>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1827455" y="1456360"/>
        <a:ext cx="224027" cy="84862"/>
      </dsp:txXfrm>
    </dsp:sp>
    <dsp:sp modelId="{9B0B857B-DA14-4DB2-9764-FAEA0033B125}">
      <dsp:nvSpPr>
        <dsp:cNvPr id="0" name=""/>
        <dsp:cNvSpPr/>
      </dsp:nvSpPr>
      <dsp:spPr>
        <a:xfrm>
          <a:off x="2156557" y="749862"/>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229867" y="811235"/>
        <a:ext cx="353969" cy="296334"/>
      </dsp:txXfrm>
    </dsp:sp>
    <dsp:sp modelId="{FEA59801-9672-4D23-8192-A605C46BE70F}">
      <dsp:nvSpPr>
        <dsp:cNvPr id="0" name=""/>
        <dsp:cNvSpPr/>
      </dsp:nvSpPr>
      <dsp:spPr>
        <a:xfrm rot="20663025">
          <a:off x="2917643" y="710965"/>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2918426" y="744963"/>
        <a:ext cx="207632" cy="8486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184600">
          <a:off x="5620424" y="3924083"/>
          <a:ext cx="368567"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652165" y="3933950"/>
        <a:ext cx="326136" cy="84862"/>
      </dsp:txXfrm>
    </dsp:sp>
    <dsp:sp modelId="{157C4094-4D48-4CA4-8FE3-C846251355F5}">
      <dsp:nvSpPr>
        <dsp:cNvPr id="0" name=""/>
        <dsp:cNvSpPr/>
      </dsp:nvSpPr>
      <dsp:spPr>
        <a:xfrm rot="18889901">
          <a:off x="4946329" y="4528493"/>
          <a:ext cx="756282" cy="61355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差旅费</a:t>
          </a:r>
          <a:r>
            <a:rPr lang="en-US" altLang="zh-CN" sz="800" kern="1200" dirty="0" smtClean="0"/>
            <a:t>  </a:t>
          </a:r>
          <a:endParaRPr lang="zh-CN" altLang="en-US" sz="800" kern="1200" dirty="0"/>
        </a:p>
      </dsp:txBody>
      <dsp:txXfrm>
        <a:off x="5057084" y="4618346"/>
        <a:ext cx="534772" cy="433848"/>
      </dsp:txXfrm>
    </dsp:sp>
    <dsp:sp modelId="{9347F69F-9A85-4B8D-9DE5-233494D2AF22}">
      <dsp:nvSpPr>
        <dsp:cNvPr id="0" name=""/>
        <dsp:cNvSpPr/>
      </dsp:nvSpPr>
      <dsp:spPr>
        <a:xfrm rot="9491169">
          <a:off x="4985161" y="5561732"/>
          <a:ext cx="69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987169" y="5589632"/>
        <a:ext cx="4862" cy="84862"/>
      </dsp:txXfrm>
    </dsp:sp>
    <dsp:sp modelId="{5E517795-696C-4478-8F77-24582CDCDF88}">
      <dsp:nvSpPr>
        <dsp:cNvPr id="0" name=""/>
        <dsp:cNvSpPr/>
      </dsp:nvSpPr>
      <dsp:spPr>
        <a:xfrm>
          <a:off x="4150707" y="4823769"/>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277965" y="4913803"/>
        <a:ext cx="614459" cy="434725"/>
      </dsp:txXfrm>
    </dsp:sp>
    <dsp:sp modelId="{48C0BD33-5F17-45F5-9058-93C87A9DDC1F}">
      <dsp:nvSpPr>
        <dsp:cNvPr id="0" name=""/>
        <dsp:cNvSpPr/>
      </dsp:nvSpPr>
      <dsp:spPr>
        <a:xfrm rot="10676435">
          <a:off x="4150106" y="5561732"/>
          <a:ext cx="596"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150285" y="5590016"/>
        <a:ext cx="417" cy="84862"/>
      </dsp:txXfrm>
    </dsp:sp>
    <dsp:sp modelId="{23AEF67E-B71E-4BFF-8274-B39880BE8995}">
      <dsp:nvSpPr>
        <dsp:cNvPr id="0" name=""/>
        <dsp:cNvSpPr/>
      </dsp:nvSpPr>
      <dsp:spPr>
        <a:xfrm>
          <a:off x="3346522" y="4845649"/>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464138" y="4938091"/>
        <a:ext cx="567899" cy="446352"/>
      </dsp:txXfrm>
    </dsp:sp>
    <dsp:sp modelId="{9851BCFD-6C0F-44EE-A90D-93FA72FAD479}">
      <dsp:nvSpPr>
        <dsp:cNvPr id="0" name=""/>
        <dsp:cNvSpPr/>
      </dsp:nvSpPr>
      <dsp:spPr>
        <a:xfrm rot="12029410">
          <a:off x="2649125" y="4747000"/>
          <a:ext cx="35923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690214" y="4782713"/>
        <a:ext cx="316803"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C954F-37B9-4616-8073-9C538A00A4CD}">
      <dsp:nvSpPr>
        <dsp:cNvPr id="0" name=""/>
        <dsp:cNvSpPr/>
      </dsp:nvSpPr>
      <dsp:spPr>
        <a:xfrm>
          <a:off x="3564494" y="394638"/>
          <a:ext cx="493159" cy="305844"/>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设备费</a:t>
          </a:r>
          <a:endParaRPr lang="zh-CN" altLang="en-US" sz="600" b="0" kern="1200" dirty="0"/>
        </a:p>
      </dsp:txBody>
      <dsp:txXfrm>
        <a:off x="3636715" y="439428"/>
        <a:ext cx="348717" cy="216264"/>
      </dsp:txXfrm>
    </dsp:sp>
    <dsp:sp modelId="{CF57B3AA-9D23-4D82-8D72-1A4D072C9CF6}">
      <dsp:nvSpPr>
        <dsp:cNvPr id="0" name=""/>
        <dsp:cNvSpPr/>
      </dsp:nvSpPr>
      <dsp:spPr>
        <a:xfrm rot="911228">
          <a:off x="4321406" y="650582"/>
          <a:ext cx="25940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4322147" y="673311"/>
        <a:ext cx="216973" cy="84862"/>
      </dsp:txXfrm>
    </dsp:sp>
    <dsp:sp modelId="{83195273-D2D4-405D-A258-93AFE8C7BE7A}">
      <dsp:nvSpPr>
        <dsp:cNvPr id="0" name=""/>
        <dsp:cNvSpPr/>
      </dsp:nvSpPr>
      <dsp:spPr>
        <a:xfrm>
          <a:off x="4874569" y="718487"/>
          <a:ext cx="516579" cy="375752"/>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材料费</a:t>
          </a:r>
          <a:endParaRPr lang="zh-CN" altLang="en-US" sz="600" b="0" kern="1200" dirty="0"/>
        </a:p>
      </dsp:txBody>
      <dsp:txXfrm>
        <a:off x="4950220" y="773515"/>
        <a:ext cx="365277" cy="265696"/>
      </dsp:txXfrm>
    </dsp:sp>
    <dsp:sp modelId="{798A8C5B-4663-468B-BDAB-5BC0D323EF4E}">
      <dsp:nvSpPr>
        <dsp:cNvPr id="0" name=""/>
        <dsp:cNvSpPr/>
      </dsp:nvSpPr>
      <dsp:spPr>
        <a:xfrm rot="2945455">
          <a:off x="5429280" y="1334714"/>
          <a:ext cx="272051"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436602" y="1346967"/>
        <a:ext cx="229620" cy="84862"/>
      </dsp:txXfrm>
    </dsp:sp>
    <dsp:sp modelId="{B05F7D2C-D848-4E12-98C6-11FDD917CB93}">
      <dsp:nvSpPr>
        <dsp:cNvPr id="0" name=""/>
        <dsp:cNvSpPr/>
      </dsp:nvSpPr>
      <dsp:spPr>
        <a:xfrm>
          <a:off x="5747939" y="1737660"/>
          <a:ext cx="548090" cy="389615"/>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b="0" kern="1200" dirty="0" smtClean="0"/>
            <a:t>测试化验加工费</a:t>
          </a:r>
          <a:endParaRPr lang="zh-CN" altLang="en-US" sz="600" b="0" kern="1200" dirty="0"/>
        </a:p>
      </dsp:txBody>
      <dsp:txXfrm>
        <a:off x="5828205" y="1794718"/>
        <a:ext cx="387558" cy="275499"/>
      </dsp:txXfrm>
    </dsp:sp>
    <dsp:sp modelId="{342C44B1-3496-43E6-B7A3-2E7DE47A0EB1}">
      <dsp:nvSpPr>
        <dsp:cNvPr id="0" name=""/>
        <dsp:cNvSpPr/>
      </dsp:nvSpPr>
      <dsp:spPr>
        <a:xfrm rot="4909091">
          <a:off x="5976025" y="2512454"/>
          <a:ext cx="279032"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5994221" y="2519741"/>
        <a:ext cx="236601" cy="84862"/>
      </dsp:txXfrm>
    </dsp:sp>
    <dsp:sp modelId="{AEC3BFE0-4A84-4A7A-9D2A-077ED9AD905B}">
      <dsp:nvSpPr>
        <dsp:cNvPr id="0" name=""/>
        <dsp:cNvSpPr/>
      </dsp:nvSpPr>
      <dsp:spPr>
        <a:xfrm>
          <a:off x="5964914"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燃料动力费</a:t>
          </a:r>
          <a:endParaRPr lang="zh-CN" altLang="en-US" sz="600" kern="1200" dirty="0"/>
        </a:p>
      </dsp:txBody>
      <dsp:txXfrm>
        <a:off x="6038224" y="3128211"/>
        <a:ext cx="353969" cy="296334"/>
      </dsp:txXfrm>
    </dsp:sp>
    <dsp:sp modelId="{BB722067-4A31-4156-9489-71E129EF8E43}">
      <dsp:nvSpPr>
        <dsp:cNvPr id="0" name=""/>
        <dsp:cNvSpPr/>
      </dsp:nvSpPr>
      <dsp:spPr>
        <a:xfrm rot="7008408">
          <a:off x="5707081" y="3885203"/>
          <a:ext cx="32953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737864" y="3894554"/>
        <a:ext cx="287099" cy="84862"/>
      </dsp:txXfrm>
    </dsp:sp>
    <dsp:sp modelId="{157C4094-4D48-4CA4-8FE3-C846251355F5}">
      <dsp:nvSpPr>
        <dsp:cNvPr id="0" name=""/>
        <dsp:cNvSpPr/>
      </dsp:nvSpPr>
      <dsp:spPr>
        <a:xfrm>
          <a:off x="5089220" y="4449652"/>
          <a:ext cx="756282" cy="613554"/>
        </a:xfrm>
        <a:prstGeom prst="ellipse">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smtClean="0"/>
            <a:t>差旅费</a:t>
          </a:r>
          <a:r>
            <a:rPr lang="en-US" altLang="zh-CN" sz="800" kern="1200" smtClean="0"/>
            <a:t>  </a:t>
          </a:r>
          <a:endParaRPr lang="zh-CN" altLang="en-US" sz="800" kern="1200" dirty="0"/>
        </a:p>
      </dsp:txBody>
      <dsp:txXfrm>
        <a:off x="5199975" y="4539505"/>
        <a:ext cx="534772" cy="433848"/>
      </dsp:txXfrm>
    </dsp:sp>
    <dsp:sp modelId="{9347F69F-9A85-4B8D-9DE5-233494D2AF22}">
      <dsp:nvSpPr>
        <dsp:cNvPr id="0" name=""/>
        <dsp:cNvSpPr/>
      </dsp:nvSpPr>
      <dsp:spPr>
        <a:xfrm rot="9426890">
          <a:off x="5124767" y="5561732"/>
          <a:ext cx="6745"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5126710" y="5589626"/>
        <a:ext cx="4722" cy="84862"/>
      </dsp:txXfrm>
    </dsp:sp>
    <dsp:sp modelId="{5E517795-696C-4478-8F77-24582CDCDF88}">
      <dsp:nvSpPr>
        <dsp:cNvPr id="0" name=""/>
        <dsp:cNvSpPr/>
      </dsp:nvSpPr>
      <dsp:spPr>
        <a:xfrm>
          <a:off x="4303102" y="4757077"/>
          <a:ext cx="868975" cy="614793"/>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zh-CN" altLang="en-US" sz="1200" b="1" kern="1200" dirty="0" smtClean="0"/>
            <a:t>会议费</a:t>
          </a:r>
          <a:endParaRPr lang="zh-CN" altLang="en-US" sz="1200" b="1" kern="1200" dirty="0"/>
        </a:p>
      </dsp:txBody>
      <dsp:txXfrm>
        <a:off x="4430360" y="4847111"/>
        <a:ext cx="614459" cy="434725"/>
      </dsp:txXfrm>
    </dsp:sp>
    <dsp:sp modelId="{48C0BD33-5F17-45F5-9058-93C87A9DDC1F}">
      <dsp:nvSpPr>
        <dsp:cNvPr id="0" name=""/>
        <dsp:cNvSpPr/>
      </dsp:nvSpPr>
      <dsp:spPr>
        <a:xfrm rot="10300194">
          <a:off x="4288603" y="5561732"/>
          <a:ext cx="10639"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4291778" y="5589788"/>
        <a:ext cx="7447" cy="84862"/>
      </dsp:txXfrm>
    </dsp:sp>
    <dsp:sp modelId="{23AEF67E-B71E-4BFF-8274-B39880BE8995}">
      <dsp:nvSpPr>
        <dsp:cNvPr id="0" name=""/>
        <dsp:cNvSpPr/>
      </dsp:nvSpPr>
      <dsp:spPr>
        <a:xfrm>
          <a:off x="3479872" y="4874214"/>
          <a:ext cx="803131" cy="631236"/>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zh-CN" altLang="en-US" sz="1000" b="1" kern="1200" dirty="0" smtClean="0"/>
            <a:t>国际合作交流费</a:t>
          </a:r>
          <a:endParaRPr lang="zh-CN" altLang="en-US" sz="1000" b="1" kern="1200" dirty="0"/>
        </a:p>
      </dsp:txBody>
      <dsp:txXfrm>
        <a:off x="3597488" y="4966656"/>
        <a:ext cx="567899" cy="446352"/>
      </dsp:txXfrm>
    </dsp:sp>
    <dsp:sp modelId="{9851BCFD-6C0F-44EE-A90D-93FA72FAD479}">
      <dsp:nvSpPr>
        <dsp:cNvPr id="0" name=""/>
        <dsp:cNvSpPr/>
      </dsp:nvSpPr>
      <dsp:spPr>
        <a:xfrm rot="11995022">
          <a:off x="2697678" y="4762398"/>
          <a:ext cx="398510"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2738840" y="4797912"/>
        <a:ext cx="356079" cy="84862"/>
      </dsp:txXfrm>
    </dsp:sp>
    <dsp:sp modelId="{9336A9F3-2A53-40E9-8F9F-8E4C967B12C1}">
      <dsp:nvSpPr>
        <dsp:cNvPr id="0" name=""/>
        <dsp:cNvSpPr/>
      </dsp:nvSpPr>
      <dsp:spPr>
        <a:xfrm>
          <a:off x="1758770" y="4301874"/>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出版</a:t>
          </a:r>
          <a:r>
            <a:rPr lang="en-US" altLang="zh-CN" sz="600" kern="1200" dirty="0" smtClean="0"/>
            <a:t>/</a:t>
          </a:r>
          <a:r>
            <a:rPr lang="zh-CN" altLang="en-US" sz="600" kern="1200" dirty="0" smtClean="0"/>
            <a:t>文献</a:t>
          </a:r>
          <a:r>
            <a:rPr lang="en-US" altLang="zh-CN" sz="600" kern="1200" dirty="0" smtClean="0"/>
            <a:t>/</a:t>
          </a:r>
          <a:r>
            <a:rPr lang="zh-CN" altLang="en-US" sz="600" kern="1200" dirty="0" smtClean="0"/>
            <a:t>信息传播</a:t>
          </a:r>
          <a:r>
            <a:rPr lang="en-US" altLang="zh-CN" sz="600" kern="1200" dirty="0" smtClean="0"/>
            <a:t>/</a:t>
          </a:r>
          <a:r>
            <a:rPr lang="zh-CN" altLang="en-US" sz="600" kern="1200" dirty="0" smtClean="0"/>
            <a:t>知识产权事务费</a:t>
          </a:r>
          <a:endParaRPr lang="zh-CN" altLang="en-US" sz="600" kern="1200" dirty="0"/>
        </a:p>
      </dsp:txBody>
      <dsp:txXfrm>
        <a:off x="1832080" y="4363247"/>
        <a:ext cx="353969" cy="296334"/>
      </dsp:txXfrm>
    </dsp:sp>
    <dsp:sp modelId="{80B8A62C-CA65-4F7F-B3E1-E47A6F8DBF28}">
      <dsp:nvSpPr>
        <dsp:cNvPr id="0" name=""/>
        <dsp:cNvSpPr/>
      </dsp:nvSpPr>
      <dsp:spPr>
        <a:xfrm rot="14727273">
          <a:off x="1596889" y="3835832"/>
          <a:ext cx="27188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rot="10800000">
        <a:off x="1626918" y="3883417"/>
        <a:ext cx="229457" cy="84862"/>
      </dsp:txXfrm>
    </dsp:sp>
    <dsp:sp modelId="{AA562BA4-1362-4B11-BE12-AAF95F9B0655}">
      <dsp:nvSpPr>
        <dsp:cNvPr id="0" name=""/>
        <dsp:cNvSpPr/>
      </dsp:nvSpPr>
      <dsp:spPr>
        <a:xfrm>
          <a:off x="1194749" y="3066838"/>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劳务费</a:t>
          </a:r>
          <a:endParaRPr lang="zh-CN" altLang="en-US" sz="600" kern="1200" dirty="0"/>
        </a:p>
      </dsp:txBody>
      <dsp:txXfrm>
        <a:off x="1268059" y="3128211"/>
        <a:ext cx="353969" cy="296334"/>
      </dsp:txXfrm>
    </dsp:sp>
    <dsp:sp modelId="{8F1FDF32-78E0-4ED1-970D-21E8309CEF5A}">
      <dsp:nvSpPr>
        <dsp:cNvPr id="0" name=""/>
        <dsp:cNvSpPr/>
      </dsp:nvSpPr>
      <dsp:spPr>
        <a:xfrm rot="16690909">
          <a:off x="1402248" y="2547622"/>
          <a:ext cx="274814"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420444" y="2596909"/>
        <a:ext cx="232383" cy="84862"/>
      </dsp:txXfrm>
    </dsp:sp>
    <dsp:sp modelId="{4C7C445F-E1C6-4F7A-821E-F674A343F87A}">
      <dsp:nvSpPr>
        <dsp:cNvPr id="0" name=""/>
        <dsp:cNvSpPr/>
      </dsp:nvSpPr>
      <dsp:spPr>
        <a:xfrm>
          <a:off x="1387974" y="1722927"/>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专家咨询费</a:t>
          </a:r>
          <a:endParaRPr lang="zh-CN" altLang="en-US" sz="600" kern="1200" dirty="0"/>
        </a:p>
      </dsp:txBody>
      <dsp:txXfrm>
        <a:off x="1461284" y="1784300"/>
        <a:ext cx="353969" cy="296334"/>
      </dsp:txXfrm>
    </dsp:sp>
    <dsp:sp modelId="{00C6A176-9825-494C-8FDD-D407F0EF76CB}">
      <dsp:nvSpPr>
        <dsp:cNvPr id="0" name=""/>
        <dsp:cNvSpPr/>
      </dsp:nvSpPr>
      <dsp:spPr>
        <a:xfrm rot="18654545">
          <a:off x="1940674" y="1359000"/>
          <a:ext cx="266458"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947996" y="1403321"/>
        <a:ext cx="224027" cy="84862"/>
      </dsp:txXfrm>
    </dsp:sp>
    <dsp:sp modelId="{9B0B857B-DA14-4DB2-9764-FAEA0033B125}">
      <dsp:nvSpPr>
        <dsp:cNvPr id="0" name=""/>
        <dsp:cNvSpPr/>
      </dsp:nvSpPr>
      <dsp:spPr>
        <a:xfrm>
          <a:off x="2277098" y="696823"/>
          <a:ext cx="500589" cy="419080"/>
        </a:xfrm>
        <a:prstGeom prst="ellipse">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zh-CN" altLang="en-US" sz="600" kern="1200" dirty="0" smtClean="0"/>
            <a:t>其他费用</a:t>
          </a:r>
          <a:endParaRPr lang="zh-CN" altLang="en-US" sz="600" kern="1200" dirty="0"/>
        </a:p>
      </dsp:txBody>
      <dsp:txXfrm>
        <a:off x="2350408" y="758196"/>
        <a:ext cx="353969" cy="296334"/>
      </dsp:txXfrm>
    </dsp:sp>
    <dsp:sp modelId="{FEA59801-9672-4D23-8192-A605C46BE70F}">
      <dsp:nvSpPr>
        <dsp:cNvPr id="0" name=""/>
        <dsp:cNvSpPr/>
      </dsp:nvSpPr>
      <dsp:spPr>
        <a:xfrm rot="20663025">
          <a:off x="3038184" y="657926"/>
          <a:ext cx="250063" cy="141436"/>
        </a:xfrm>
        <a:prstGeom prst="rightArrow">
          <a:avLst>
            <a:gd name="adj1" fmla="val 60000"/>
            <a:gd name="adj2" fmla="val 50000"/>
          </a:avLst>
        </a:prstGeom>
        <a:gradFill rotWithShape="0">
          <a:gsLst>
            <a:gs pos="0">
              <a:schemeClr val="dk2">
                <a:tint val="60000"/>
                <a:hueOff val="0"/>
                <a:satOff val="0"/>
                <a:lumOff val="0"/>
                <a:alphaOff val="0"/>
                <a:lumMod val="110000"/>
                <a:satMod val="105000"/>
                <a:tint val="67000"/>
              </a:schemeClr>
            </a:gs>
            <a:gs pos="50000">
              <a:schemeClr val="dk2">
                <a:tint val="60000"/>
                <a:hueOff val="0"/>
                <a:satOff val="0"/>
                <a:lumOff val="0"/>
                <a:alphaOff val="0"/>
                <a:lumMod val="105000"/>
                <a:satMod val="103000"/>
                <a:tint val="73000"/>
              </a:schemeClr>
            </a:gs>
            <a:gs pos="100000">
              <a:schemeClr val="dk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3038967" y="691924"/>
        <a:ext cx="207632" cy="8486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751172B-60C1-4FF3-990A-E56845854972}" type="datetimeFigureOut">
              <a:rPr lang="zh-CN" altLang="en-US" smtClean="0"/>
              <a:t>2017-11-21</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66B753B-B1E1-436F-8AE6-3287E73A4000}" type="slidenum">
              <a:rPr lang="zh-CN" altLang="en-US" smtClean="0"/>
              <a:t>‹#›</a:t>
            </a:fld>
            <a:endParaRPr lang="zh-CN" altLang="en-US"/>
          </a:p>
        </p:txBody>
      </p:sp>
    </p:spTree>
    <p:extLst>
      <p:ext uri="{BB962C8B-B14F-4D97-AF65-F5344CB8AC3E}">
        <p14:creationId xmlns:p14="http://schemas.microsoft.com/office/powerpoint/2010/main" val="470328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14FDF3-F44E-489A-AD46-6B6DD34E0E71}" type="datetimeFigureOut">
              <a:rPr lang="zh-CN" altLang="en-US" smtClean="0"/>
              <a:t>2017-11-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D78EB6-F37D-4D71-B381-F01EAA472D46}" type="slidenum">
              <a:rPr lang="zh-CN" altLang="en-US" smtClean="0"/>
              <a:t>‹#›</a:t>
            </a:fld>
            <a:endParaRPr lang="zh-CN" altLang="en-US"/>
          </a:p>
        </p:txBody>
      </p:sp>
    </p:spTree>
    <p:extLst>
      <p:ext uri="{BB962C8B-B14F-4D97-AF65-F5344CB8AC3E}">
        <p14:creationId xmlns:p14="http://schemas.microsoft.com/office/powerpoint/2010/main" val="263521159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1</a:t>
            </a:fld>
            <a:endParaRPr lang="zh-CN" altLang="en-US"/>
          </a:p>
        </p:txBody>
      </p:sp>
    </p:spTree>
    <p:extLst>
      <p:ext uri="{BB962C8B-B14F-4D97-AF65-F5344CB8AC3E}">
        <p14:creationId xmlns:p14="http://schemas.microsoft.com/office/powerpoint/2010/main" val="14910577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10</a:t>
            </a:fld>
            <a:endParaRPr lang="zh-CN" altLang="en-US"/>
          </a:p>
        </p:txBody>
      </p:sp>
    </p:spTree>
    <p:extLst>
      <p:ext uri="{BB962C8B-B14F-4D97-AF65-F5344CB8AC3E}">
        <p14:creationId xmlns:p14="http://schemas.microsoft.com/office/powerpoint/2010/main" val="3629568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11</a:t>
            </a:fld>
            <a:endParaRPr lang="zh-CN" altLang="en-US"/>
          </a:p>
        </p:txBody>
      </p:sp>
    </p:spTree>
    <p:extLst>
      <p:ext uri="{BB962C8B-B14F-4D97-AF65-F5344CB8AC3E}">
        <p14:creationId xmlns:p14="http://schemas.microsoft.com/office/powerpoint/2010/main" val="2675432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12</a:t>
            </a:fld>
            <a:endParaRPr lang="zh-CN" altLang="en-US"/>
          </a:p>
        </p:txBody>
      </p:sp>
    </p:spTree>
    <p:extLst>
      <p:ext uri="{BB962C8B-B14F-4D97-AF65-F5344CB8AC3E}">
        <p14:creationId xmlns:p14="http://schemas.microsoft.com/office/powerpoint/2010/main" val="26754320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13</a:t>
            </a:fld>
            <a:endParaRPr lang="zh-CN" altLang="en-US"/>
          </a:p>
        </p:txBody>
      </p:sp>
    </p:spTree>
    <p:extLst>
      <p:ext uri="{BB962C8B-B14F-4D97-AF65-F5344CB8AC3E}">
        <p14:creationId xmlns:p14="http://schemas.microsoft.com/office/powerpoint/2010/main" val="26754320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14</a:t>
            </a:fld>
            <a:endParaRPr lang="zh-CN" altLang="en-US"/>
          </a:p>
        </p:txBody>
      </p:sp>
    </p:spTree>
    <p:extLst>
      <p:ext uri="{BB962C8B-B14F-4D97-AF65-F5344CB8AC3E}">
        <p14:creationId xmlns:p14="http://schemas.microsoft.com/office/powerpoint/2010/main" val="2675432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15</a:t>
            </a:fld>
            <a:endParaRPr lang="zh-CN" altLang="en-US"/>
          </a:p>
        </p:txBody>
      </p:sp>
    </p:spTree>
    <p:extLst>
      <p:ext uri="{BB962C8B-B14F-4D97-AF65-F5344CB8AC3E}">
        <p14:creationId xmlns:p14="http://schemas.microsoft.com/office/powerpoint/2010/main" val="26754320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16</a:t>
            </a:fld>
            <a:endParaRPr lang="zh-CN" altLang="en-US"/>
          </a:p>
        </p:txBody>
      </p:sp>
    </p:spTree>
    <p:extLst>
      <p:ext uri="{BB962C8B-B14F-4D97-AF65-F5344CB8AC3E}">
        <p14:creationId xmlns:p14="http://schemas.microsoft.com/office/powerpoint/2010/main" val="26754320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17</a:t>
            </a:fld>
            <a:endParaRPr lang="zh-CN" altLang="en-US"/>
          </a:p>
        </p:txBody>
      </p:sp>
    </p:spTree>
    <p:extLst>
      <p:ext uri="{BB962C8B-B14F-4D97-AF65-F5344CB8AC3E}">
        <p14:creationId xmlns:p14="http://schemas.microsoft.com/office/powerpoint/2010/main" val="2675432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18</a:t>
            </a:fld>
            <a:endParaRPr lang="zh-CN" altLang="en-US"/>
          </a:p>
        </p:txBody>
      </p:sp>
    </p:spTree>
    <p:extLst>
      <p:ext uri="{BB962C8B-B14F-4D97-AF65-F5344CB8AC3E}">
        <p14:creationId xmlns:p14="http://schemas.microsoft.com/office/powerpoint/2010/main" val="36295682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19</a:t>
            </a:fld>
            <a:endParaRPr lang="zh-CN" altLang="en-US"/>
          </a:p>
        </p:txBody>
      </p:sp>
    </p:spTree>
    <p:extLst>
      <p:ext uri="{BB962C8B-B14F-4D97-AF65-F5344CB8AC3E}">
        <p14:creationId xmlns:p14="http://schemas.microsoft.com/office/powerpoint/2010/main" val="2675432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2</a:t>
            </a:fld>
            <a:endParaRPr lang="zh-CN" altLang="en-US"/>
          </a:p>
        </p:txBody>
      </p:sp>
    </p:spTree>
    <p:extLst>
      <p:ext uri="{BB962C8B-B14F-4D97-AF65-F5344CB8AC3E}">
        <p14:creationId xmlns:p14="http://schemas.microsoft.com/office/powerpoint/2010/main" val="36295682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48</a:t>
            </a:fld>
            <a:endParaRPr lang="zh-CN" altLang="en-US"/>
          </a:p>
        </p:txBody>
      </p:sp>
    </p:spTree>
    <p:extLst>
      <p:ext uri="{BB962C8B-B14F-4D97-AF65-F5344CB8AC3E}">
        <p14:creationId xmlns:p14="http://schemas.microsoft.com/office/powerpoint/2010/main" val="13835761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51</a:t>
            </a:fld>
            <a:endParaRPr lang="zh-CN" altLang="en-US"/>
          </a:p>
        </p:txBody>
      </p:sp>
    </p:spTree>
    <p:extLst>
      <p:ext uri="{BB962C8B-B14F-4D97-AF65-F5344CB8AC3E}">
        <p14:creationId xmlns:p14="http://schemas.microsoft.com/office/powerpoint/2010/main" val="36295682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52</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53</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54</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55</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56</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57</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58</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59</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3</a:t>
            </a:fld>
            <a:endParaRPr lang="zh-CN" altLang="en-US"/>
          </a:p>
        </p:txBody>
      </p:sp>
    </p:spTree>
    <p:extLst>
      <p:ext uri="{BB962C8B-B14F-4D97-AF65-F5344CB8AC3E}">
        <p14:creationId xmlns:p14="http://schemas.microsoft.com/office/powerpoint/2010/main" val="36295682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0</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1</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2</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3</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4</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5</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6</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7</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8</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9</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4</a:t>
            </a:fld>
            <a:endParaRPr lang="zh-CN" altLang="en-US"/>
          </a:p>
        </p:txBody>
      </p:sp>
    </p:spTree>
    <p:extLst>
      <p:ext uri="{BB962C8B-B14F-4D97-AF65-F5344CB8AC3E}">
        <p14:creationId xmlns:p14="http://schemas.microsoft.com/office/powerpoint/2010/main" val="26943103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0</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1</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2</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3</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4</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5</a:t>
            </a:fld>
            <a:endParaRPr lang="zh-CN" altLang="en-US"/>
          </a:p>
        </p:txBody>
      </p:sp>
    </p:spTree>
    <p:extLst>
      <p:ext uri="{BB962C8B-B14F-4D97-AF65-F5344CB8AC3E}">
        <p14:creationId xmlns:p14="http://schemas.microsoft.com/office/powerpoint/2010/main" val="27144676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6</a:t>
            </a:fld>
            <a:endParaRPr lang="zh-CN" altLang="en-US"/>
          </a:p>
        </p:txBody>
      </p:sp>
    </p:spTree>
    <p:extLst>
      <p:ext uri="{BB962C8B-B14F-4D97-AF65-F5344CB8AC3E}">
        <p14:creationId xmlns:p14="http://schemas.microsoft.com/office/powerpoint/2010/main" val="27446176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7</a:t>
            </a:fld>
            <a:endParaRPr lang="zh-CN" altLang="en-US"/>
          </a:p>
        </p:txBody>
      </p:sp>
    </p:spTree>
    <p:extLst>
      <p:ext uri="{BB962C8B-B14F-4D97-AF65-F5344CB8AC3E}">
        <p14:creationId xmlns:p14="http://schemas.microsoft.com/office/powerpoint/2010/main" val="27446176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8</a:t>
            </a:fld>
            <a:endParaRPr lang="zh-CN" altLang="en-US"/>
          </a:p>
        </p:txBody>
      </p:sp>
    </p:spTree>
    <p:extLst>
      <p:ext uri="{BB962C8B-B14F-4D97-AF65-F5344CB8AC3E}">
        <p14:creationId xmlns:p14="http://schemas.microsoft.com/office/powerpoint/2010/main" val="27446176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79</a:t>
            </a:fld>
            <a:endParaRPr lang="zh-CN" altLang="en-US"/>
          </a:p>
        </p:txBody>
      </p:sp>
    </p:spTree>
    <p:extLst>
      <p:ext uri="{BB962C8B-B14F-4D97-AF65-F5344CB8AC3E}">
        <p14:creationId xmlns:p14="http://schemas.microsoft.com/office/powerpoint/2010/main" val="2744617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5</a:t>
            </a:fld>
            <a:endParaRPr lang="zh-CN" altLang="en-US"/>
          </a:p>
        </p:txBody>
      </p:sp>
    </p:spTree>
    <p:extLst>
      <p:ext uri="{BB962C8B-B14F-4D97-AF65-F5344CB8AC3E}">
        <p14:creationId xmlns:p14="http://schemas.microsoft.com/office/powerpoint/2010/main" val="26943103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80</a:t>
            </a:fld>
            <a:endParaRPr lang="zh-CN" altLang="en-US"/>
          </a:p>
        </p:txBody>
      </p:sp>
    </p:spTree>
    <p:extLst>
      <p:ext uri="{BB962C8B-B14F-4D97-AF65-F5344CB8AC3E}">
        <p14:creationId xmlns:p14="http://schemas.microsoft.com/office/powerpoint/2010/main" val="128936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6</a:t>
            </a:fld>
            <a:endParaRPr lang="zh-CN" altLang="en-US"/>
          </a:p>
        </p:txBody>
      </p:sp>
    </p:spTree>
    <p:extLst>
      <p:ext uri="{BB962C8B-B14F-4D97-AF65-F5344CB8AC3E}">
        <p14:creationId xmlns:p14="http://schemas.microsoft.com/office/powerpoint/2010/main" val="26943103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7</a:t>
            </a:fld>
            <a:endParaRPr lang="zh-CN" altLang="en-US"/>
          </a:p>
        </p:txBody>
      </p:sp>
    </p:spTree>
    <p:extLst>
      <p:ext uri="{BB962C8B-B14F-4D97-AF65-F5344CB8AC3E}">
        <p14:creationId xmlns:p14="http://schemas.microsoft.com/office/powerpoint/2010/main" val="26943103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8</a:t>
            </a:fld>
            <a:endParaRPr lang="zh-CN" altLang="en-US"/>
          </a:p>
        </p:txBody>
      </p:sp>
    </p:spTree>
    <p:extLst>
      <p:ext uri="{BB962C8B-B14F-4D97-AF65-F5344CB8AC3E}">
        <p14:creationId xmlns:p14="http://schemas.microsoft.com/office/powerpoint/2010/main" val="2694310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FD78EB6-F37D-4D71-B381-F01EAA472D46}" type="slidenum">
              <a:rPr lang="zh-CN" altLang="en-US" smtClean="0"/>
              <a:t>9</a:t>
            </a:fld>
            <a:endParaRPr lang="zh-CN" altLang="en-US"/>
          </a:p>
        </p:txBody>
      </p:sp>
    </p:spTree>
    <p:extLst>
      <p:ext uri="{BB962C8B-B14F-4D97-AF65-F5344CB8AC3E}">
        <p14:creationId xmlns:p14="http://schemas.microsoft.com/office/powerpoint/2010/main" val="26943103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7705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1369219"/>
            <a:ext cx="7886700" cy="3263504"/>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20EEFCB7-D3F7-4ECF-9D4E-F94F18A6E71E}" type="datetimeFigureOut">
              <a:rPr lang="zh-CN" altLang="en-US" smtClean="0"/>
              <a:t>2017-11-21</a:t>
            </a:fld>
            <a:endParaRPr lang="zh-CN" alt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39CB687A-AF98-4C55-87F6-B1481A4F168C}" type="slidenum">
              <a:rPr lang="zh-CN" altLang="en-US" smtClean="0"/>
              <a:t>‹#›</a:t>
            </a:fld>
            <a:endParaRPr lang="zh-CN" altLang="en-US"/>
          </a:p>
        </p:txBody>
      </p:sp>
    </p:spTree>
    <p:extLst>
      <p:ext uri="{BB962C8B-B14F-4D97-AF65-F5344CB8AC3E}">
        <p14:creationId xmlns:p14="http://schemas.microsoft.com/office/powerpoint/2010/main" val="379738635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a:prstGeom prst="rect">
            <a:avLst/>
          </a:prstGeo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20EEFCB7-D3F7-4ECF-9D4E-F94F18A6E71E}" type="datetimeFigureOut">
              <a:rPr lang="zh-CN" altLang="en-US" smtClean="0"/>
              <a:t>2017-11-21</a:t>
            </a:fld>
            <a:endParaRPr lang="zh-CN" alt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39CB687A-AF98-4C55-87F6-B1481A4F168C}" type="slidenum">
              <a:rPr lang="zh-CN" altLang="en-US" smtClean="0"/>
              <a:t>‹#›</a:t>
            </a:fld>
            <a:endParaRPr lang="zh-CN" altLang="en-US"/>
          </a:p>
        </p:txBody>
      </p:sp>
    </p:spTree>
    <p:extLst>
      <p:ext uri="{BB962C8B-B14F-4D97-AF65-F5344CB8AC3E}">
        <p14:creationId xmlns:p14="http://schemas.microsoft.com/office/powerpoint/2010/main" val="412863144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54200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087759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369219"/>
            <a:ext cx="3886200" cy="3263504"/>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20EEFCB7-D3F7-4ECF-9D4E-F94F18A6E71E}" type="datetimeFigureOut">
              <a:rPr lang="zh-CN" altLang="en-US" smtClean="0"/>
              <a:t>2017-11-21</a:t>
            </a:fld>
            <a:endParaRPr lang="zh-CN" altLang="en-US"/>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39CB687A-AF98-4C55-87F6-B1481A4F168C}" type="slidenum">
              <a:rPr lang="zh-CN" altLang="en-US" smtClean="0"/>
              <a:t>‹#›</a:t>
            </a:fld>
            <a:endParaRPr lang="zh-CN" altLang="en-US"/>
          </a:p>
        </p:txBody>
      </p:sp>
    </p:spTree>
    <p:extLst>
      <p:ext uri="{BB962C8B-B14F-4D97-AF65-F5344CB8AC3E}">
        <p14:creationId xmlns:p14="http://schemas.microsoft.com/office/powerpoint/2010/main" val="91230834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a:prstGeom prst="rect">
            <a:avLst/>
          </a:prstGeo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260872"/>
            <a:ext cx="3868340"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p:cNvSpPr>
            <a:spLocks noGrp="1"/>
          </p:cNvSpPr>
          <p:nvPr>
            <p:ph sz="half" idx="2"/>
          </p:nvPr>
        </p:nvSpPr>
        <p:spPr>
          <a:xfrm>
            <a:off x="629842" y="1878806"/>
            <a:ext cx="3868340" cy="2763441"/>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260872"/>
            <a:ext cx="3887391"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Content Placeholder 5"/>
          <p:cNvSpPr>
            <a:spLocks noGrp="1"/>
          </p:cNvSpPr>
          <p:nvPr>
            <p:ph sz="quarter" idx="4"/>
          </p:nvPr>
        </p:nvSpPr>
        <p:spPr>
          <a:xfrm>
            <a:off x="4629150" y="1878806"/>
            <a:ext cx="3887391" cy="2763441"/>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a:xfrm>
            <a:off x="628650" y="4767263"/>
            <a:ext cx="2057400" cy="273844"/>
          </a:xfrm>
          <a:prstGeom prst="rect">
            <a:avLst/>
          </a:prstGeom>
        </p:spPr>
        <p:txBody>
          <a:bodyPr/>
          <a:lstStyle/>
          <a:p>
            <a:fld id="{20EEFCB7-D3F7-4ECF-9D4E-F94F18A6E71E}" type="datetimeFigureOut">
              <a:rPr lang="zh-CN" altLang="en-US" smtClean="0"/>
              <a:t>2017-11-21</a:t>
            </a:fld>
            <a:endParaRPr lang="zh-CN" altLang="en-US"/>
          </a:p>
        </p:txBody>
      </p:sp>
      <p:sp>
        <p:nvSpPr>
          <p:cNvPr id="8" name="Footer Placeholder 7"/>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9" name="Slide Number Placeholder 8"/>
          <p:cNvSpPr>
            <a:spLocks noGrp="1"/>
          </p:cNvSpPr>
          <p:nvPr>
            <p:ph type="sldNum" sz="quarter" idx="12"/>
          </p:nvPr>
        </p:nvSpPr>
        <p:spPr>
          <a:xfrm>
            <a:off x="6457950" y="4767263"/>
            <a:ext cx="2057400" cy="273844"/>
          </a:xfrm>
          <a:prstGeom prst="rect">
            <a:avLst/>
          </a:prstGeom>
        </p:spPr>
        <p:txBody>
          <a:bodyPr/>
          <a:lstStyle/>
          <a:p>
            <a:fld id="{39CB687A-AF98-4C55-87F6-B1481A4F168C}" type="slidenum">
              <a:rPr lang="zh-CN" altLang="en-US" smtClean="0"/>
              <a:t>‹#›</a:t>
            </a:fld>
            <a:endParaRPr lang="zh-CN" altLang="en-US"/>
          </a:p>
        </p:txBody>
      </p:sp>
    </p:spTree>
    <p:extLst>
      <p:ext uri="{BB962C8B-B14F-4D97-AF65-F5344CB8AC3E}">
        <p14:creationId xmlns:p14="http://schemas.microsoft.com/office/powerpoint/2010/main" val="154210136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a:xfrm>
            <a:off x="628650" y="4767263"/>
            <a:ext cx="2057400" cy="273844"/>
          </a:xfrm>
          <a:prstGeom prst="rect">
            <a:avLst/>
          </a:prstGeom>
        </p:spPr>
        <p:txBody>
          <a:bodyPr/>
          <a:lstStyle/>
          <a:p>
            <a:fld id="{20EEFCB7-D3F7-4ECF-9D4E-F94F18A6E71E}" type="datetimeFigureOut">
              <a:rPr lang="zh-CN" altLang="en-US" smtClean="0"/>
              <a:t>2017-11-21</a:t>
            </a:fld>
            <a:endParaRPr lang="zh-CN" altLang="en-US"/>
          </a:p>
        </p:txBody>
      </p:sp>
      <p:sp>
        <p:nvSpPr>
          <p:cNvPr id="4" name="Footer Placeholder 3"/>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fld id="{39CB687A-AF98-4C55-87F6-B1481A4F168C}" type="slidenum">
              <a:rPr lang="zh-CN" altLang="en-US" smtClean="0"/>
              <a:t>‹#›</a:t>
            </a:fld>
            <a:endParaRPr lang="zh-CN" altLang="en-US"/>
          </a:p>
        </p:txBody>
      </p:sp>
    </p:spTree>
    <p:extLst>
      <p:ext uri="{BB962C8B-B14F-4D97-AF65-F5344CB8AC3E}">
        <p14:creationId xmlns:p14="http://schemas.microsoft.com/office/powerpoint/2010/main" val="372636129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3844"/>
          </a:xfrm>
          <a:prstGeom prst="rect">
            <a:avLst/>
          </a:prstGeom>
        </p:spPr>
        <p:txBody>
          <a:bodyPr/>
          <a:lstStyle/>
          <a:p>
            <a:fld id="{20EEFCB7-D3F7-4ECF-9D4E-F94F18A6E71E}" type="datetimeFigureOut">
              <a:rPr lang="zh-CN" altLang="en-US" smtClean="0"/>
              <a:t>2017-11-21</a:t>
            </a:fld>
            <a:endParaRPr lang="zh-CN" alt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39CB687A-AF98-4C55-87F6-B1481A4F168C}" type="slidenum">
              <a:rPr lang="zh-CN" altLang="en-US" smtClean="0"/>
              <a:t>‹#›</a:t>
            </a:fld>
            <a:endParaRPr lang="zh-CN" altLang="en-US"/>
          </a:p>
        </p:txBody>
      </p:sp>
    </p:spTree>
    <p:extLst>
      <p:ext uri="{BB962C8B-B14F-4D97-AF65-F5344CB8AC3E}">
        <p14:creationId xmlns:p14="http://schemas.microsoft.com/office/powerpoint/2010/main" val="408315096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20EEFCB7-D3F7-4ECF-9D4E-F94F18A6E71E}" type="datetimeFigureOut">
              <a:rPr lang="zh-CN" altLang="en-US" smtClean="0"/>
              <a:t>2017-11-21</a:t>
            </a:fld>
            <a:endParaRPr lang="zh-CN" altLang="en-US"/>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39CB687A-AF98-4C55-87F6-B1481A4F168C}" type="slidenum">
              <a:rPr lang="zh-CN" altLang="en-US" smtClean="0"/>
              <a:t>‹#›</a:t>
            </a:fld>
            <a:endParaRPr lang="zh-CN" altLang="en-US"/>
          </a:p>
        </p:txBody>
      </p:sp>
    </p:spTree>
    <p:extLst>
      <p:ext uri="{BB962C8B-B14F-4D97-AF65-F5344CB8AC3E}">
        <p14:creationId xmlns:p14="http://schemas.microsoft.com/office/powerpoint/2010/main" val="255259478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a:prstGeom prst="rect">
            <a:avLst/>
          </a:prstGeo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20EEFCB7-D3F7-4ECF-9D4E-F94F18A6E71E}" type="datetimeFigureOut">
              <a:rPr lang="zh-CN" altLang="en-US" smtClean="0"/>
              <a:t>2017-11-21</a:t>
            </a:fld>
            <a:endParaRPr lang="zh-CN" altLang="en-US"/>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39CB687A-AF98-4C55-87F6-B1481A4F168C}" type="slidenum">
              <a:rPr lang="zh-CN" altLang="en-US" smtClean="0"/>
              <a:t>‹#›</a:t>
            </a:fld>
            <a:endParaRPr lang="zh-CN" altLang="en-US"/>
          </a:p>
        </p:txBody>
      </p:sp>
    </p:spTree>
    <p:extLst>
      <p:ext uri="{BB962C8B-B14F-4D97-AF65-F5344CB8AC3E}">
        <p14:creationId xmlns:p14="http://schemas.microsoft.com/office/powerpoint/2010/main" val="5853504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组合 7"/>
          <p:cNvGrpSpPr>
            <a:grpSpLocks/>
          </p:cNvGrpSpPr>
          <p:nvPr userDrawn="1"/>
        </p:nvGrpSpPr>
        <p:grpSpPr bwMode="auto">
          <a:xfrm>
            <a:off x="0" y="0"/>
            <a:ext cx="9145190" cy="5131594"/>
            <a:chOff x="0" y="1"/>
            <a:chExt cx="9144000" cy="5143500"/>
          </a:xfrm>
        </p:grpSpPr>
        <p:sp>
          <p:nvSpPr>
            <p:cNvPr id="9" name="Freeform 254"/>
            <p:cNvSpPr>
              <a:spLocks/>
            </p:cNvSpPr>
            <p:nvPr/>
          </p:nvSpPr>
          <p:spPr bwMode="auto">
            <a:xfrm>
              <a:off x="7475935" y="1"/>
              <a:ext cx="1031081" cy="717226"/>
            </a:xfrm>
            <a:custGeom>
              <a:avLst/>
              <a:gdLst>
                <a:gd name="T0" fmla="*/ 3249 w 3249"/>
                <a:gd name="T1" fmla="*/ 2063 h 2253"/>
                <a:gd name="T2" fmla="*/ 2632 w 3249"/>
                <a:gd name="T3" fmla="*/ 0 h 2253"/>
                <a:gd name="T4" fmla="*/ 522 w 3249"/>
                <a:gd name="T5" fmla="*/ 0 h 2253"/>
                <a:gd name="T6" fmla="*/ 0 w 3249"/>
                <a:gd name="T7" fmla="*/ 2253 h 2253"/>
                <a:gd name="T8" fmla="*/ 3249 w 3249"/>
                <a:gd name="T9" fmla="*/ 2063 h 2253"/>
              </a:gdLst>
              <a:ahLst/>
              <a:cxnLst>
                <a:cxn ang="0">
                  <a:pos x="T0" y="T1"/>
                </a:cxn>
                <a:cxn ang="0">
                  <a:pos x="T2" y="T3"/>
                </a:cxn>
                <a:cxn ang="0">
                  <a:pos x="T4" y="T5"/>
                </a:cxn>
                <a:cxn ang="0">
                  <a:pos x="T6" y="T7"/>
                </a:cxn>
                <a:cxn ang="0">
                  <a:pos x="T8" y="T9"/>
                </a:cxn>
              </a:cxnLst>
              <a:rect l="0" t="0" r="r" b="b"/>
              <a:pathLst>
                <a:path w="3249" h="2253">
                  <a:moveTo>
                    <a:pt x="3249" y="2063"/>
                  </a:moveTo>
                  <a:lnTo>
                    <a:pt x="2632" y="0"/>
                  </a:lnTo>
                  <a:lnTo>
                    <a:pt x="522" y="0"/>
                  </a:lnTo>
                  <a:lnTo>
                    <a:pt x="0" y="2253"/>
                  </a:lnTo>
                  <a:lnTo>
                    <a:pt x="3249" y="2063"/>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0" name="Freeform 255"/>
            <p:cNvSpPr>
              <a:spLocks/>
            </p:cNvSpPr>
            <p:nvPr/>
          </p:nvSpPr>
          <p:spPr bwMode="auto">
            <a:xfrm>
              <a:off x="8311754" y="1"/>
              <a:ext cx="828675" cy="656363"/>
            </a:xfrm>
            <a:custGeom>
              <a:avLst/>
              <a:gdLst>
                <a:gd name="T0" fmla="*/ 0 w 2609"/>
                <a:gd name="T1" fmla="*/ 0 h 2063"/>
                <a:gd name="T2" fmla="*/ 617 w 2609"/>
                <a:gd name="T3" fmla="*/ 2063 h 2063"/>
                <a:gd name="T4" fmla="*/ 2609 w 2609"/>
                <a:gd name="T5" fmla="*/ 0 h 2063"/>
                <a:gd name="T6" fmla="*/ 0 w 2609"/>
                <a:gd name="T7" fmla="*/ 0 h 2063"/>
              </a:gdLst>
              <a:ahLst/>
              <a:cxnLst>
                <a:cxn ang="0">
                  <a:pos x="T0" y="T1"/>
                </a:cxn>
                <a:cxn ang="0">
                  <a:pos x="T2" y="T3"/>
                </a:cxn>
                <a:cxn ang="0">
                  <a:pos x="T4" y="T5"/>
                </a:cxn>
                <a:cxn ang="0">
                  <a:pos x="T6" y="T7"/>
                </a:cxn>
              </a:cxnLst>
              <a:rect l="0" t="0" r="r" b="b"/>
              <a:pathLst>
                <a:path w="2609" h="2063">
                  <a:moveTo>
                    <a:pt x="0" y="0"/>
                  </a:moveTo>
                  <a:lnTo>
                    <a:pt x="617" y="2063"/>
                  </a:lnTo>
                  <a:lnTo>
                    <a:pt x="2609" y="0"/>
                  </a:lnTo>
                  <a:lnTo>
                    <a:pt x="0" y="0"/>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1" name="Freeform 256"/>
            <p:cNvSpPr>
              <a:spLocks/>
            </p:cNvSpPr>
            <p:nvPr/>
          </p:nvSpPr>
          <p:spPr bwMode="auto">
            <a:xfrm>
              <a:off x="8507016" y="1"/>
              <a:ext cx="633413" cy="1507249"/>
            </a:xfrm>
            <a:custGeom>
              <a:avLst/>
              <a:gdLst>
                <a:gd name="T0" fmla="*/ 1992 w 1992"/>
                <a:gd name="T1" fmla="*/ 3393 h 4737"/>
                <a:gd name="T2" fmla="*/ 1992 w 1992"/>
                <a:gd name="T3" fmla="*/ 0 h 4737"/>
                <a:gd name="T4" fmla="*/ 0 w 1992"/>
                <a:gd name="T5" fmla="*/ 2063 h 4737"/>
                <a:gd name="T6" fmla="*/ 3 w 1992"/>
                <a:gd name="T7" fmla="*/ 4737 h 4737"/>
                <a:gd name="T8" fmla="*/ 1992 w 1992"/>
                <a:gd name="T9" fmla="*/ 3393 h 4737"/>
              </a:gdLst>
              <a:ahLst/>
              <a:cxnLst>
                <a:cxn ang="0">
                  <a:pos x="T0" y="T1"/>
                </a:cxn>
                <a:cxn ang="0">
                  <a:pos x="T2" y="T3"/>
                </a:cxn>
                <a:cxn ang="0">
                  <a:pos x="T4" y="T5"/>
                </a:cxn>
                <a:cxn ang="0">
                  <a:pos x="T6" y="T7"/>
                </a:cxn>
                <a:cxn ang="0">
                  <a:pos x="T8" y="T9"/>
                </a:cxn>
              </a:cxnLst>
              <a:rect l="0" t="0" r="r" b="b"/>
              <a:pathLst>
                <a:path w="1992" h="4737">
                  <a:moveTo>
                    <a:pt x="1992" y="3393"/>
                  </a:moveTo>
                  <a:lnTo>
                    <a:pt x="1992" y="0"/>
                  </a:lnTo>
                  <a:lnTo>
                    <a:pt x="0" y="2063"/>
                  </a:lnTo>
                  <a:lnTo>
                    <a:pt x="3" y="4737"/>
                  </a:lnTo>
                  <a:lnTo>
                    <a:pt x="1992" y="3393"/>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2" name="Freeform 257"/>
            <p:cNvSpPr>
              <a:spLocks/>
            </p:cNvSpPr>
            <p:nvPr/>
          </p:nvSpPr>
          <p:spPr bwMode="auto">
            <a:xfrm>
              <a:off x="7211616" y="717227"/>
              <a:ext cx="1296590" cy="1194580"/>
            </a:xfrm>
            <a:custGeom>
              <a:avLst/>
              <a:gdLst>
                <a:gd name="T0" fmla="*/ 826 w 4078"/>
                <a:gd name="T1" fmla="*/ 0 h 3763"/>
                <a:gd name="T2" fmla="*/ 0 w 4078"/>
                <a:gd name="T3" fmla="*/ 3567 h 3763"/>
                <a:gd name="T4" fmla="*/ 2752 w 4078"/>
                <a:gd name="T5" fmla="*/ 3763 h 3763"/>
                <a:gd name="T6" fmla="*/ 4078 w 4078"/>
                <a:gd name="T7" fmla="*/ 2484 h 3763"/>
                <a:gd name="T8" fmla="*/ 826 w 4078"/>
                <a:gd name="T9" fmla="*/ 0 h 3763"/>
              </a:gdLst>
              <a:ahLst/>
              <a:cxnLst>
                <a:cxn ang="0">
                  <a:pos x="T0" y="T1"/>
                </a:cxn>
                <a:cxn ang="0">
                  <a:pos x="T2" y="T3"/>
                </a:cxn>
                <a:cxn ang="0">
                  <a:pos x="T4" y="T5"/>
                </a:cxn>
                <a:cxn ang="0">
                  <a:pos x="T6" y="T7"/>
                </a:cxn>
                <a:cxn ang="0">
                  <a:pos x="T8" y="T9"/>
                </a:cxn>
              </a:cxnLst>
              <a:rect l="0" t="0" r="r" b="b"/>
              <a:pathLst>
                <a:path w="4078" h="3763">
                  <a:moveTo>
                    <a:pt x="826" y="0"/>
                  </a:moveTo>
                  <a:lnTo>
                    <a:pt x="0" y="3567"/>
                  </a:lnTo>
                  <a:lnTo>
                    <a:pt x="2752" y="3763"/>
                  </a:lnTo>
                  <a:lnTo>
                    <a:pt x="4078" y="2484"/>
                  </a:lnTo>
                  <a:lnTo>
                    <a:pt x="826" y="0"/>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3" name="Freeform 258"/>
            <p:cNvSpPr>
              <a:spLocks/>
            </p:cNvSpPr>
            <p:nvPr/>
          </p:nvSpPr>
          <p:spPr bwMode="auto">
            <a:xfrm>
              <a:off x="6455569" y="1"/>
              <a:ext cx="1184672" cy="822244"/>
            </a:xfrm>
            <a:custGeom>
              <a:avLst/>
              <a:gdLst>
                <a:gd name="T0" fmla="*/ 3209 w 3731"/>
                <a:gd name="T1" fmla="*/ 2253 h 2586"/>
                <a:gd name="T2" fmla="*/ 3731 w 3731"/>
                <a:gd name="T3" fmla="*/ 0 h 2586"/>
                <a:gd name="T4" fmla="*/ 1147 w 3731"/>
                <a:gd name="T5" fmla="*/ 0 h 2586"/>
                <a:gd name="T6" fmla="*/ 0 w 3731"/>
                <a:gd name="T7" fmla="*/ 2586 h 2586"/>
                <a:gd name="T8" fmla="*/ 3209 w 3731"/>
                <a:gd name="T9" fmla="*/ 2253 h 2586"/>
              </a:gdLst>
              <a:ahLst/>
              <a:cxnLst>
                <a:cxn ang="0">
                  <a:pos x="T0" y="T1"/>
                </a:cxn>
                <a:cxn ang="0">
                  <a:pos x="T2" y="T3"/>
                </a:cxn>
                <a:cxn ang="0">
                  <a:pos x="T4" y="T5"/>
                </a:cxn>
                <a:cxn ang="0">
                  <a:pos x="T6" y="T7"/>
                </a:cxn>
                <a:cxn ang="0">
                  <a:pos x="T8" y="T9"/>
                </a:cxn>
              </a:cxnLst>
              <a:rect l="0" t="0" r="r" b="b"/>
              <a:pathLst>
                <a:path w="3731" h="2586">
                  <a:moveTo>
                    <a:pt x="3209" y="2253"/>
                  </a:moveTo>
                  <a:lnTo>
                    <a:pt x="3731" y="0"/>
                  </a:lnTo>
                  <a:lnTo>
                    <a:pt x="1147" y="0"/>
                  </a:lnTo>
                  <a:lnTo>
                    <a:pt x="0" y="2586"/>
                  </a:lnTo>
                  <a:lnTo>
                    <a:pt x="3209" y="2253"/>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4" name="Freeform 259"/>
            <p:cNvSpPr>
              <a:spLocks/>
            </p:cNvSpPr>
            <p:nvPr/>
          </p:nvSpPr>
          <p:spPr bwMode="auto">
            <a:xfrm>
              <a:off x="7211616" y="1849752"/>
              <a:ext cx="967978" cy="1227996"/>
            </a:xfrm>
            <a:custGeom>
              <a:avLst/>
              <a:gdLst>
                <a:gd name="T0" fmla="*/ 2752 w 3044"/>
                <a:gd name="T1" fmla="*/ 196 h 3859"/>
                <a:gd name="T2" fmla="*/ 0 w 3044"/>
                <a:gd name="T3" fmla="*/ 0 h 3859"/>
                <a:gd name="T4" fmla="*/ 1358 w 3044"/>
                <a:gd name="T5" fmla="*/ 3859 h 3859"/>
                <a:gd name="T6" fmla="*/ 3044 w 3044"/>
                <a:gd name="T7" fmla="*/ 2347 h 3859"/>
                <a:gd name="T8" fmla="*/ 2752 w 3044"/>
                <a:gd name="T9" fmla="*/ 196 h 3859"/>
              </a:gdLst>
              <a:ahLst/>
              <a:cxnLst>
                <a:cxn ang="0">
                  <a:pos x="T0" y="T1"/>
                </a:cxn>
                <a:cxn ang="0">
                  <a:pos x="T2" y="T3"/>
                </a:cxn>
                <a:cxn ang="0">
                  <a:pos x="T4" y="T5"/>
                </a:cxn>
                <a:cxn ang="0">
                  <a:pos x="T6" y="T7"/>
                </a:cxn>
                <a:cxn ang="0">
                  <a:pos x="T8" y="T9"/>
                </a:cxn>
              </a:cxnLst>
              <a:rect l="0" t="0" r="r" b="b"/>
              <a:pathLst>
                <a:path w="3044" h="3859">
                  <a:moveTo>
                    <a:pt x="2752" y="196"/>
                  </a:moveTo>
                  <a:lnTo>
                    <a:pt x="0" y="0"/>
                  </a:lnTo>
                  <a:lnTo>
                    <a:pt x="1358" y="3859"/>
                  </a:lnTo>
                  <a:lnTo>
                    <a:pt x="3044" y="2347"/>
                  </a:lnTo>
                  <a:lnTo>
                    <a:pt x="2752" y="196"/>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5" name="Freeform 260"/>
            <p:cNvSpPr>
              <a:spLocks/>
            </p:cNvSpPr>
            <p:nvPr/>
          </p:nvSpPr>
          <p:spPr bwMode="auto">
            <a:xfrm>
              <a:off x="8086725" y="1507250"/>
              <a:ext cx="1053704" cy="1089562"/>
            </a:xfrm>
            <a:custGeom>
              <a:avLst/>
              <a:gdLst>
                <a:gd name="T0" fmla="*/ 292 w 3315"/>
                <a:gd name="T1" fmla="*/ 3430 h 3430"/>
                <a:gd name="T2" fmla="*/ 3315 w 3315"/>
                <a:gd name="T3" fmla="*/ 3285 h 3430"/>
                <a:gd name="T4" fmla="*/ 1326 w 3315"/>
                <a:gd name="T5" fmla="*/ 0 h 3430"/>
                <a:gd name="T6" fmla="*/ 0 w 3315"/>
                <a:gd name="T7" fmla="*/ 1279 h 3430"/>
                <a:gd name="T8" fmla="*/ 292 w 3315"/>
                <a:gd name="T9" fmla="*/ 3430 h 3430"/>
              </a:gdLst>
              <a:ahLst/>
              <a:cxnLst>
                <a:cxn ang="0">
                  <a:pos x="T0" y="T1"/>
                </a:cxn>
                <a:cxn ang="0">
                  <a:pos x="T2" y="T3"/>
                </a:cxn>
                <a:cxn ang="0">
                  <a:pos x="T4" y="T5"/>
                </a:cxn>
                <a:cxn ang="0">
                  <a:pos x="T6" y="T7"/>
                </a:cxn>
                <a:cxn ang="0">
                  <a:pos x="T8" y="T9"/>
                </a:cxn>
              </a:cxnLst>
              <a:rect l="0" t="0" r="r" b="b"/>
              <a:pathLst>
                <a:path w="3315" h="3430">
                  <a:moveTo>
                    <a:pt x="292" y="3430"/>
                  </a:moveTo>
                  <a:lnTo>
                    <a:pt x="3315" y="3285"/>
                  </a:lnTo>
                  <a:lnTo>
                    <a:pt x="1326" y="0"/>
                  </a:lnTo>
                  <a:lnTo>
                    <a:pt x="0" y="1279"/>
                  </a:lnTo>
                  <a:lnTo>
                    <a:pt x="292" y="3430"/>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6" name="Freeform 261"/>
            <p:cNvSpPr>
              <a:spLocks/>
            </p:cNvSpPr>
            <p:nvPr/>
          </p:nvSpPr>
          <p:spPr bwMode="auto">
            <a:xfrm>
              <a:off x="8179594" y="2551463"/>
              <a:ext cx="960835" cy="799570"/>
            </a:xfrm>
            <a:custGeom>
              <a:avLst/>
              <a:gdLst>
                <a:gd name="T0" fmla="*/ 3023 w 3023"/>
                <a:gd name="T1" fmla="*/ 0 h 2517"/>
                <a:gd name="T2" fmla="*/ 0 w 3023"/>
                <a:gd name="T3" fmla="*/ 145 h 2517"/>
                <a:gd name="T4" fmla="*/ 1432 w 3023"/>
                <a:gd name="T5" fmla="*/ 2517 h 2517"/>
                <a:gd name="T6" fmla="*/ 3023 w 3023"/>
                <a:gd name="T7" fmla="*/ 0 h 2517"/>
              </a:gdLst>
              <a:ahLst/>
              <a:cxnLst>
                <a:cxn ang="0">
                  <a:pos x="T0" y="T1"/>
                </a:cxn>
                <a:cxn ang="0">
                  <a:pos x="T2" y="T3"/>
                </a:cxn>
                <a:cxn ang="0">
                  <a:pos x="T4" y="T5"/>
                </a:cxn>
                <a:cxn ang="0">
                  <a:pos x="T6" y="T7"/>
                </a:cxn>
              </a:cxnLst>
              <a:rect l="0" t="0" r="r" b="b"/>
              <a:pathLst>
                <a:path w="3023" h="2517">
                  <a:moveTo>
                    <a:pt x="3023" y="0"/>
                  </a:moveTo>
                  <a:lnTo>
                    <a:pt x="0" y="145"/>
                  </a:lnTo>
                  <a:lnTo>
                    <a:pt x="1432" y="2517"/>
                  </a:lnTo>
                  <a:lnTo>
                    <a:pt x="3023" y="0"/>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7" name="Freeform 262"/>
            <p:cNvSpPr>
              <a:spLocks/>
            </p:cNvSpPr>
            <p:nvPr/>
          </p:nvSpPr>
          <p:spPr bwMode="auto">
            <a:xfrm>
              <a:off x="8508206" y="1078823"/>
              <a:ext cx="632222" cy="1472640"/>
            </a:xfrm>
            <a:custGeom>
              <a:avLst/>
              <a:gdLst>
                <a:gd name="T0" fmla="*/ 0 w 1989"/>
                <a:gd name="T1" fmla="*/ 1344 h 4629"/>
                <a:gd name="T2" fmla="*/ 1989 w 1989"/>
                <a:gd name="T3" fmla="*/ 4629 h 4629"/>
                <a:gd name="T4" fmla="*/ 1989 w 1989"/>
                <a:gd name="T5" fmla="*/ 0 h 4629"/>
                <a:gd name="T6" fmla="*/ 0 w 1989"/>
                <a:gd name="T7" fmla="*/ 1344 h 4629"/>
              </a:gdLst>
              <a:ahLst/>
              <a:cxnLst>
                <a:cxn ang="0">
                  <a:pos x="T0" y="T1"/>
                </a:cxn>
                <a:cxn ang="0">
                  <a:pos x="T2" y="T3"/>
                </a:cxn>
                <a:cxn ang="0">
                  <a:pos x="T4" y="T5"/>
                </a:cxn>
                <a:cxn ang="0">
                  <a:pos x="T6" y="T7"/>
                </a:cxn>
              </a:cxnLst>
              <a:rect l="0" t="0" r="r" b="b"/>
              <a:pathLst>
                <a:path w="1989" h="4629">
                  <a:moveTo>
                    <a:pt x="0" y="1344"/>
                  </a:moveTo>
                  <a:lnTo>
                    <a:pt x="1989" y="4629"/>
                  </a:lnTo>
                  <a:lnTo>
                    <a:pt x="1989" y="0"/>
                  </a:lnTo>
                  <a:lnTo>
                    <a:pt x="0" y="1344"/>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8" name="Freeform 263"/>
            <p:cNvSpPr>
              <a:spLocks/>
            </p:cNvSpPr>
            <p:nvPr/>
          </p:nvSpPr>
          <p:spPr bwMode="auto">
            <a:xfrm>
              <a:off x="7475935" y="656364"/>
              <a:ext cx="1032272" cy="850886"/>
            </a:xfrm>
            <a:custGeom>
              <a:avLst/>
              <a:gdLst>
                <a:gd name="T0" fmla="*/ 3252 w 3252"/>
                <a:gd name="T1" fmla="*/ 2674 h 2674"/>
                <a:gd name="T2" fmla="*/ 3249 w 3252"/>
                <a:gd name="T3" fmla="*/ 0 h 2674"/>
                <a:gd name="T4" fmla="*/ 0 w 3252"/>
                <a:gd name="T5" fmla="*/ 190 h 2674"/>
                <a:gd name="T6" fmla="*/ 3252 w 3252"/>
                <a:gd name="T7" fmla="*/ 2674 h 2674"/>
              </a:gdLst>
              <a:ahLst/>
              <a:cxnLst>
                <a:cxn ang="0">
                  <a:pos x="T0" y="T1"/>
                </a:cxn>
                <a:cxn ang="0">
                  <a:pos x="T2" y="T3"/>
                </a:cxn>
                <a:cxn ang="0">
                  <a:pos x="T4" y="T5"/>
                </a:cxn>
                <a:cxn ang="0">
                  <a:pos x="T6" y="T7"/>
                </a:cxn>
              </a:cxnLst>
              <a:rect l="0" t="0" r="r" b="b"/>
              <a:pathLst>
                <a:path w="3252" h="2674">
                  <a:moveTo>
                    <a:pt x="3252" y="2674"/>
                  </a:moveTo>
                  <a:lnTo>
                    <a:pt x="3249" y="0"/>
                  </a:lnTo>
                  <a:lnTo>
                    <a:pt x="0" y="190"/>
                  </a:lnTo>
                  <a:lnTo>
                    <a:pt x="3252" y="2674"/>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19" name="Freeform 264"/>
            <p:cNvSpPr>
              <a:spLocks/>
            </p:cNvSpPr>
            <p:nvPr/>
          </p:nvSpPr>
          <p:spPr bwMode="auto">
            <a:xfrm>
              <a:off x="6455569" y="717227"/>
              <a:ext cx="1020366" cy="1132524"/>
            </a:xfrm>
            <a:custGeom>
              <a:avLst/>
              <a:gdLst>
                <a:gd name="T0" fmla="*/ 2383 w 3209"/>
                <a:gd name="T1" fmla="*/ 3567 h 3567"/>
                <a:gd name="T2" fmla="*/ 3209 w 3209"/>
                <a:gd name="T3" fmla="*/ 0 h 3567"/>
                <a:gd name="T4" fmla="*/ 0 w 3209"/>
                <a:gd name="T5" fmla="*/ 333 h 3567"/>
                <a:gd name="T6" fmla="*/ 2383 w 3209"/>
                <a:gd name="T7" fmla="*/ 3567 h 3567"/>
              </a:gdLst>
              <a:ahLst/>
              <a:cxnLst>
                <a:cxn ang="0">
                  <a:pos x="T0" y="T1"/>
                </a:cxn>
                <a:cxn ang="0">
                  <a:pos x="T2" y="T3"/>
                </a:cxn>
                <a:cxn ang="0">
                  <a:pos x="T4" y="T5"/>
                </a:cxn>
                <a:cxn ang="0">
                  <a:pos x="T6" y="T7"/>
                </a:cxn>
              </a:cxnLst>
              <a:rect l="0" t="0" r="r" b="b"/>
              <a:pathLst>
                <a:path w="3209" h="3567">
                  <a:moveTo>
                    <a:pt x="2383" y="3567"/>
                  </a:moveTo>
                  <a:lnTo>
                    <a:pt x="3209" y="0"/>
                  </a:lnTo>
                  <a:lnTo>
                    <a:pt x="0" y="333"/>
                  </a:lnTo>
                  <a:lnTo>
                    <a:pt x="2383" y="3567"/>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0" name="Freeform 265"/>
            <p:cNvSpPr>
              <a:spLocks/>
            </p:cNvSpPr>
            <p:nvPr/>
          </p:nvSpPr>
          <p:spPr bwMode="auto">
            <a:xfrm>
              <a:off x="5669756" y="1"/>
              <a:ext cx="1148954" cy="822244"/>
            </a:xfrm>
            <a:custGeom>
              <a:avLst/>
              <a:gdLst>
                <a:gd name="T0" fmla="*/ 3615 w 3615"/>
                <a:gd name="T1" fmla="*/ 0 h 2586"/>
                <a:gd name="T2" fmla="*/ 1481 w 3615"/>
                <a:gd name="T3" fmla="*/ 0 h 2586"/>
                <a:gd name="T4" fmla="*/ 0 w 3615"/>
                <a:gd name="T5" fmla="*/ 1292 h 2586"/>
                <a:gd name="T6" fmla="*/ 1 w 3615"/>
                <a:gd name="T7" fmla="*/ 1292 h 2586"/>
                <a:gd name="T8" fmla="*/ 2468 w 3615"/>
                <a:gd name="T9" fmla="*/ 2586 h 2586"/>
                <a:gd name="T10" fmla="*/ 3615 w 3615"/>
                <a:gd name="T11" fmla="*/ 0 h 2586"/>
              </a:gdLst>
              <a:ahLst/>
              <a:cxnLst>
                <a:cxn ang="0">
                  <a:pos x="T0" y="T1"/>
                </a:cxn>
                <a:cxn ang="0">
                  <a:pos x="T2" y="T3"/>
                </a:cxn>
                <a:cxn ang="0">
                  <a:pos x="T4" y="T5"/>
                </a:cxn>
                <a:cxn ang="0">
                  <a:pos x="T6" y="T7"/>
                </a:cxn>
                <a:cxn ang="0">
                  <a:pos x="T8" y="T9"/>
                </a:cxn>
                <a:cxn ang="0">
                  <a:pos x="T10" y="T11"/>
                </a:cxn>
              </a:cxnLst>
              <a:rect l="0" t="0" r="r" b="b"/>
              <a:pathLst>
                <a:path w="3615" h="2586">
                  <a:moveTo>
                    <a:pt x="3615" y="0"/>
                  </a:moveTo>
                  <a:lnTo>
                    <a:pt x="1481" y="0"/>
                  </a:lnTo>
                  <a:lnTo>
                    <a:pt x="0" y="1292"/>
                  </a:lnTo>
                  <a:lnTo>
                    <a:pt x="1" y="1292"/>
                  </a:lnTo>
                  <a:lnTo>
                    <a:pt x="2468" y="2586"/>
                  </a:lnTo>
                  <a:lnTo>
                    <a:pt x="3615" y="0"/>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1" name="Freeform 266"/>
            <p:cNvSpPr>
              <a:spLocks/>
            </p:cNvSpPr>
            <p:nvPr/>
          </p:nvSpPr>
          <p:spPr bwMode="auto">
            <a:xfrm>
              <a:off x="5669756" y="411720"/>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FFFFFF"/>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2" name="Freeform 267"/>
            <p:cNvSpPr>
              <a:spLocks/>
            </p:cNvSpPr>
            <p:nvPr/>
          </p:nvSpPr>
          <p:spPr bwMode="auto">
            <a:xfrm>
              <a:off x="5669756" y="411720"/>
              <a:ext cx="1541860" cy="1438032"/>
            </a:xfrm>
            <a:custGeom>
              <a:avLst/>
              <a:gdLst>
                <a:gd name="T0" fmla="*/ 1 w 4851"/>
                <a:gd name="T1" fmla="*/ 0 h 4528"/>
                <a:gd name="T2" fmla="*/ 0 w 4851"/>
                <a:gd name="T3" fmla="*/ 0 h 4528"/>
                <a:gd name="T4" fmla="*/ 528 w 4851"/>
                <a:gd name="T5" fmla="*/ 2862 h 4528"/>
                <a:gd name="T6" fmla="*/ 4851 w 4851"/>
                <a:gd name="T7" fmla="*/ 4528 h 4528"/>
                <a:gd name="T8" fmla="*/ 2468 w 4851"/>
                <a:gd name="T9" fmla="*/ 1294 h 4528"/>
                <a:gd name="T10" fmla="*/ 1 w 4851"/>
                <a:gd name="T11" fmla="*/ 0 h 4528"/>
              </a:gdLst>
              <a:ahLst/>
              <a:cxnLst>
                <a:cxn ang="0">
                  <a:pos x="T0" y="T1"/>
                </a:cxn>
                <a:cxn ang="0">
                  <a:pos x="T2" y="T3"/>
                </a:cxn>
                <a:cxn ang="0">
                  <a:pos x="T4" y="T5"/>
                </a:cxn>
                <a:cxn ang="0">
                  <a:pos x="T6" y="T7"/>
                </a:cxn>
                <a:cxn ang="0">
                  <a:pos x="T8" y="T9"/>
                </a:cxn>
                <a:cxn ang="0">
                  <a:pos x="T10" y="T11"/>
                </a:cxn>
              </a:cxnLst>
              <a:rect l="0" t="0" r="r" b="b"/>
              <a:pathLst>
                <a:path w="4851" h="4528">
                  <a:moveTo>
                    <a:pt x="1" y="0"/>
                  </a:moveTo>
                  <a:lnTo>
                    <a:pt x="0" y="0"/>
                  </a:lnTo>
                  <a:lnTo>
                    <a:pt x="528" y="2862"/>
                  </a:lnTo>
                  <a:lnTo>
                    <a:pt x="4851" y="4528"/>
                  </a:lnTo>
                  <a:lnTo>
                    <a:pt x="2468" y="1294"/>
                  </a:lnTo>
                  <a:lnTo>
                    <a:pt x="1" y="0"/>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3" name="Freeform 268"/>
            <p:cNvSpPr>
              <a:spLocks/>
            </p:cNvSpPr>
            <p:nvPr/>
          </p:nvSpPr>
          <p:spPr bwMode="auto">
            <a:xfrm>
              <a:off x="4914900" y="411720"/>
              <a:ext cx="923925" cy="1380749"/>
            </a:xfrm>
            <a:custGeom>
              <a:avLst/>
              <a:gdLst>
                <a:gd name="T0" fmla="*/ 2377 w 2905"/>
                <a:gd name="T1" fmla="*/ 0 h 4348"/>
                <a:gd name="T2" fmla="*/ 0 w 2905"/>
                <a:gd name="T3" fmla="*/ 1378 h 4348"/>
                <a:gd name="T4" fmla="*/ 577 w 2905"/>
                <a:gd name="T5" fmla="*/ 4348 h 4348"/>
                <a:gd name="T6" fmla="*/ 2905 w 2905"/>
                <a:gd name="T7" fmla="*/ 2862 h 4348"/>
                <a:gd name="T8" fmla="*/ 2377 w 2905"/>
                <a:gd name="T9" fmla="*/ 0 h 4348"/>
              </a:gdLst>
              <a:ahLst/>
              <a:cxnLst>
                <a:cxn ang="0">
                  <a:pos x="T0" y="T1"/>
                </a:cxn>
                <a:cxn ang="0">
                  <a:pos x="T2" y="T3"/>
                </a:cxn>
                <a:cxn ang="0">
                  <a:pos x="T4" y="T5"/>
                </a:cxn>
                <a:cxn ang="0">
                  <a:pos x="T6" y="T7"/>
                </a:cxn>
                <a:cxn ang="0">
                  <a:pos x="T8" y="T9"/>
                </a:cxn>
              </a:cxnLst>
              <a:rect l="0" t="0" r="r" b="b"/>
              <a:pathLst>
                <a:path w="2905" h="4348">
                  <a:moveTo>
                    <a:pt x="2377" y="0"/>
                  </a:moveTo>
                  <a:lnTo>
                    <a:pt x="0" y="1378"/>
                  </a:lnTo>
                  <a:lnTo>
                    <a:pt x="577" y="4348"/>
                  </a:lnTo>
                  <a:lnTo>
                    <a:pt x="2905" y="2862"/>
                  </a:lnTo>
                  <a:lnTo>
                    <a:pt x="2377" y="0"/>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4" name="Freeform 269"/>
            <p:cNvSpPr>
              <a:spLocks/>
            </p:cNvSpPr>
            <p:nvPr/>
          </p:nvSpPr>
          <p:spPr bwMode="auto">
            <a:xfrm>
              <a:off x="5230416" y="1"/>
              <a:ext cx="909638" cy="411719"/>
            </a:xfrm>
            <a:custGeom>
              <a:avLst/>
              <a:gdLst>
                <a:gd name="T0" fmla="*/ 0 w 2865"/>
                <a:gd name="T1" fmla="*/ 0 h 1292"/>
                <a:gd name="T2" fmla="*/ 1384 w 2865"/>
                <a:gd name="T3" fmla="*/ 1292 h 1292"/>
                <a:gd name="T4" fmla="*/ 2865 w 2865"/>
                <a:gd name="T5" fmla="*/ 0 h 1292"/>
                <a:gd name="T6" fmla="*/ 0 w 2865"/>
                <a:gd name="T7" fmla="*/ 0 h 1292"/>
              </a:gdLst>
              <a:ahLst/>
              <a:cxnLst>
                <a:cxn ang="0">
                  <a:pos x="T0" y="T1"/>
                </a:cxn>
                <a:cxn ang="0">
                  <a:pos x="T2" y="T3"/>
                </a:cxn>
                <a:cxn ang="0">
                  <a:pos x="T4" y="T5"/>
                </a:cxn>
                <a:cxn ang="0">
                  <a:pos x="T6" y="T7"/>
                </a:cxn>
              </a:cxnLst>
              <a:rect l="0" t="0" r="r" b="b"/>
              <a:pathLst>
                <a:path w="2865" h="1292">
                  <a:moveTo>
                    <a:pt x="0" y="0"/>
                  </a:moveTo>
                  <a:lnTo>
                    <a:pt x="1384" y="1292"/>
                  </a:lnTo>
                  <a:lnTo>
                    <a:pt x="2865" y="0"/>
                  </a:lnTo>
                  <a:lnTo>
                    <a:pt x="0" y="0"/>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5" name="Freeform 270"/>
            <p:cNvSpPr>
              <a:spLocks/>
            </p:cNvSpPr>
            <p:nvPr/>
          </p:nvSpPr>
          <p:spPr bwMode="auto">
            <a:xfrm>
              <a:off x="4067175" y="1"/>
              <a:ext cx="1602581" cy="848499"/>
            </a:xfrm>
            <a:custGeom>
              <a:avLst/>
              <a:gdLst>
                <a:gd name="T0" fmla="*/ 5044 w 5044"/>
                <a:gd name="T1" fmla="*/ 1292 h 2670"/>
                <a:gd name="T2" fmla="*/ 3660 w 5044"/>
                <a:gd name="T3" fmla="*/ 0 h 2670"/>
                <a:gd name="T4" fmla="*/ 796 w 5044"/>
                <a:gd name="T5" fmla="*/ 0 h 2670"/>
                <a:gd name="T6" fmla="*/ 0 w 5044"/>
                <a:gd name="T7" fmla="*/ 1691 h 2670"/>
                <a:gd name="T8" fmla="*/ 2666 w 5044"/>
                <a:gd name="T9" fmla="*/ 2670 h 2670"/>
                <a:gd name="T10" fmla="*/ 2667 w 5044"/>
                <a:gd name="T11" fmla="*/ 2670 h 2670"/>
                <a:gd name="T12" fmla="*/ 5044 w 5044"/>
                <a:gd name="T13" fmla="*/ 1292 h 2670"/>
              </a:gdLst>
              <a:ahLst/>
              <a:cxnLst>
                <a:cxn ang="0">
                  <a:pos x="T0" y="T1"/>
                </a:cxn>
                <a:cxn ang="0">
                  <a:pos x="T2" y="T3"/>
                </a:cxn>
                <a:cxn ang="0">
                  <a:pos x="T4" y="T5"/>
                </a:cxn>
                <a:cxn ang="0">
                  <a:pos x="T6" y="T7"/>
                </a:cxn>
                <a:cxn ang="0">
                  <a:pos x="T8" y="T9"/>
                </a:cxn>
                <a:cxn ang="0">
                  <a:pos x="T10" y="T11"/>
                </a:cxn>
                <a:cxn ang="0">
                  <a:pos x="T12" y="T13"/>
                </a:cxn>
              </a:cxnLst>
              <a:rect l="0" t="0" r="r" b="b"/>
              <a:pathLst>
                <a:path w="5044" h="2670">
                  <a:moveTo>
                    <a:pt x="5044" y="1292"/>
                  </a:moveTo>
                  <a:lnTo>
                    <a:pt x="3660" y="0"/>
                  </a:lnTo>
                  <a:lnTo>
                    <a:pt x="796" y="0"/>
                  </a:lnTo>
                  <a:lnTo>
                    <a:pt x="0" y="1691"/>
                  </a:lnTo>
                  <a:lnTo>
                    <a:pt x="2666" y="2670"/>
                  </a:lnTo>
                  <a:lnTo>
                    <a:pt x="2667" y="2670"/>
                  </a:lnTo>
                  <a:lnTo>
                    <a:pt x="5044" y="1292"/>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6" name="Freeform 271"/>
            <p:cNvSpPr>
              <a:spLocks/>
            </p:cNvSpPr>
            <p:nvPr/>
          </p:nvSpPr>
          <p:spPr bwMode="auto">
            <a:xfrm>
              <a:off x="4139804" y="848500"/>
              <a:ext cx="958453" cy="943969"/>
            </a:xfrm>
            <a:custGeom>
              <a:avLst/>
              <a:gdLst>
                <a:gd name="T0" fmla="*/ 2437 w 3014"/>
                <a:gd name="T1" fmla="*/ 0 h 2970"/>
                <a:gd name="T2" fmla="*/ 2436 w 3014"/>
                <a:gd name="T3" fmla="*/ 0 h 2970"/>
                <a:gd name="T4" fmla="*/ 0 w 3014"/>
                <a:gd name="T5" fmla="*/ 1359 h 2970"/>
                <a:gd name="T6" fmla="*/ 3014 w 3014"/>
                <a:gd name="T7" fmla="*/ 2970 h 2970"/>
                <a:gd name="T8" fmla="*/ 2437 w 3014"/>
                <a:gd name="T9" fmla="*/ 0 h 2970"/>
              </a:gdLst>
              <a:ahLst/>
              <a:cxnLst>
                <a:cxn ang="0">
                  <a:pos x="T0" y="T1"/>
                </a:cxn>
                <a:cxn ang="0">
                  <a:pos x="T2" y="T3"/>
                </a:cxn>
                <a:cxn ang="0">
                  <a:pos x="T4" y="T5"/>
                </a:cxn>
                <a:cxn ang="0">
                  <a:pos x="T6" y="T7"/>
                </a:cxn>
                <a:cxn ang="0">
                  <a:pos x="T8" y="T9"/>
                </a:cxn>
              </a:cxnLst>
              <a:rect l="0" t="0" r="r" b="b"/>
              <a:pathLst>
                <a:path w="3014" h="2970">
                  <a:moveTo>
                    <a:pt x="2437" y="0"/>
                  </a:moveTo>
                  <a:lnTo>
                    <a:pt x="2436" y="0"/>
                  </a:lnTo>
                  <a:lnTo>
                    <a:pt x="0" y="1359"/>
                  </a:lnTo>
                  <a:lnTo>
                    <a:pt x="3014" y="2970"/>
                  </a:lnTo>
                  <a:lnTo>
                    <a:pt x="2437" y="0"/>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7" name="Freeform 272"/>
            <p:cNvSpPr>
              <a:spLocks/>
            </p:cNvSpPr>
            <p:nvPr/>
          </p:nvSpPr>
          <p:spPr bwMode="auto">
            <a:xfrm>
              <a:off x="5544741" y="1321081"/>
              <a:ext cx="984647" cy="1164746"/>
            </a:xfrm>
            <a:custGeom>
              <a:avLst/>
              <a:gdLst>
                <a:gd name="T0" fmla="*/ 0 w 3101"/>
                <a:gd name="T1" fmla="*/ 3203 h 3663"/>
                <a:gd name="T2" fmla="*/ 3101 w 3101"/>
                <a:gd name="T3" fmla="*/ 3663 h 3663"/>
                <a:gd name="T4" fmla="*/ 926 w 3101"/>
                <a:gd name="T5" fmla="*/ 0 h 3663"/>
                <a:gd name="T6" fmla="*/ 0 w 3101"/>
                <a:gd name="T7" fmla="*/ 3203 h 3663"/>
              </a:gdLst>
              <a:ahLst/>
              <a:cxnLst>
                <a:cxn ang="0">
                  <a:pos x="T0" y="T1"/>
                </a:cxn>
                <a:cxn ang="0">
                  <a:pos x="T2" y="T3"/>
                </a:cxn>
                <a:cxn ang="0">
                  <a:pos x="T4" y="T5"/>
                </a:cxn>
                <a:cxn ang="0">
                  <a:pos x="T6" y="T7"/>
                </a:cxn>
              </a:cxnLst>
              <a:rect l="0" t="0" r="r" b="b"/>
              <a:pathLst>
                <a:path w="3101" h="3663">
                  <a:moveTo>
                    <a:pt x="0" y="3203"/>
                  </a:moveTo>
                  <a:lnTo>
                    <a:pt x="3101" y="3663"/>
                  </a:lnTo>
                  <a:lnTo>
                    <a:pt x="926" y="0"/>
                  </a:lnTo>
                  <a:lnTo>
                    <a:pt x="0" y="3203"/>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8" name="Freeform 273"/>
            <p:cNvSpPr>
              <a:spLocks/>
            </p:cNvSpPr>
            <p:nvPr/>
          </p:nvSpPr>
          <p:spPr bwMode="auto">
            <a:xfrm>
              <a:off x="5544741" y="2340234"/>
              <a:ext cx="984647" cy="855658"/>
            </a:xfrm>
            <a:custGeom>
              <a:avLst/>
              <a:gdLst>
                <a:gd name="T0" fmla="*/ 3101 w 3101"/>
                <a:gd name="T1" fmla="*/ 460 h 2698"/>
                <a:gd name="T2" fmla="*/ 0 w 3101"/>
                <a:gd name="T3" fmla="*/ 0 h 2698"/>
                <a:gd name="T4" fmla="*/ 1739 w 3101"/>
                <a:gd name="T5" fmla="*/ 2698 h 2698"/>
                <a:gd name="T6" fmla="*/ 3101 w 3101"/>
                <a:gd name="T7" fmla="*/ 460 h 2698"/>
              </a:gdLst>
              <a:ahLst/>
              <a:cxnLst>
                <a:cxn ang="0">
                  <a:pos x="T0" y="T1"/>
                </a:cxn>
                <a:cxn ang="0">
                  <a:pos x="T2" y="T3"/>
                </a:cxn>
                <a:cxn ang="0">
                  <a:pos x="T4" y="T5"/>
                </a:cxn>
                <a:cxn ang="0">
                  <a:pos x="T6" y="T7"/>
                </a:cxn>
              </a:cxnLst>
              <a:rect l="0" t="0" r="r" b="b"/>
              <a:pathLst>
                <a:path w="3101" h="2698">
                  <a:moveTo>
                    <a:pt x="3101" y="460"/>
                  </a:moveTo>
                  <a:lnTo>
                    <a:pt x="0" y="0"/>
                  </a:lnTo>
                  <a:lnTo>
                    <a:pt x="1739" y="2698"/>
                  </a:lnTo>
                  <a:lnTo>
                    <a:pt x="3101" y="460"/>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29" name="Freeform 274"/>
            <p:cNvSpPr>
              <a:spLocks/>
            </p:cNvSpPr>
            <p:nvPr/>
          </p:nvSpPr>
          <p:spPr bwMode="auto">
            <a:xfrm>
              <a:off x="4399360" y="1321081"/>
              <a:ext cx="1439465" cy="1365235"/>
            </a:xfrm>
            <a:custGeom>
              <a:avLst/>
              <a:gdLst>
                <a:gd name="T0" fmla="*/ 3603 w 4529"/>
                <a:gd name="T1" fmla="*/ 3203 h 4295"/>
                <a:gd name="T2" fmla="*/ 4529 w 4529"/>
                <a:gd name="T3" fmla="*/ 0 h 4295"/>
                <a:gd name="T4" fmla="*/ 2201 w 4529"/>
                <a:gd name="T5" fmla="*/ 1486 h 4295"/>
                <a:gd name="T6" fmla="*/ 0 w 4529"/>
                <a:gd name="T7" fmla="*/ 4295 h 4295"/>
                <a:gd name="T8" fmla="*/ 3603 w 4529"/>
                <a:gd name="T9" fmla="*/ 3203 h 4295"/>
              </a:gdLst>
              <a:ahLst/>
              <a:cxnLst>
                <a:cxn ang="0">
                  <a:pos x="T0" y="T1"/>
                </a:cxn>
                <a:cxn ang="0">
                  <a:pos x="T2" y="T3"/>
                </a:cxn>
                <a:cxn ang="0">
                  <a:pos x="T4" y="T5"/>
                </a:cxn>
                <a:cxn ang="0">
                  <a:pos x="T6" y="T7"/>
                </a:cxn>
                <a:cxn ang="0">
                  <a:pos x="T8" y="T9"/>
                </a:cxn>
              </a:cxnLst>
              <a:rect l="0" t="0" r="r" b="b"/>
              <a:pathLst>
                <a:path w="4529" h="4295">
                  <a:moveTo>
                    <a:pt x="3603" y="3203"/>
                  </a:moveTo>
                  <a:lnTo>
                    <a:pt x="4529" y="0"/>
                  </a:lnTo>
                  <a:lnTo>
                    <a:pt x="2201" y="1486"/>
                  </a:lnTo>
                  <a:lnTo>
                    <a:pt x="0" y="4295"/>
                  </a:lnTo>
                  <a:lnTo>
                    <a:pt x="3603" y="3203"/>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0" name="Freeform 275"/>
            <p:cNvSpPr>
              <a:spLocks/>
            </p:cNvSpPr>
            <p:nvPr/>
          </p:nvSpPr>
          <p:spPr bwMode="auto">
            <a:xfrm>
              <a:off x="5838825" y="1321081"/>
              <a:ext cx="1372791" cy="1164746"/>
            </a:xfrm>
            <a:custGeom>
              <a:avLst/>
              <a:gdLst>
                <a:gd name="T0" fmla="*/ 0 w 4323"/>
                <a:gd name="T1" fmla="*/ 0 h 3663"/>
                <a:gd name="T2" fmla="*/ 2175 w 4323"/>
                <a:gd name="T3" fmla="*/ 3663 h 3663"/>
                <a:gd name="T4" fmla="*/ 4323 w 4323"/>
                <a:gd name="T5" fmla="*/ 1666 h 3663"/>
                <a:gd name="T6" fmla="*/ 0 w 4323"/>
                <a:gd name="T7" fmla="*/ 0 h 3663"/>
              </a:gdLst>
              <a:ahLst/>
              <a:cxnLst>
                <a:cxn ang="0">
                  <a:pos x="T0" y="T1"/>
                </a:cxn>
                <a:cxn ang="0">
                  <a:pos x="T2" y="T3"/>
                </a:cxn>
                <a:cxn ang="0">
                  <a:pos x="T4" y="T5"/>
                </a:cxn>
                <a:cxn ang="0">
                  <a:pos x="T6" y="T7"/>
                </a:cxn>
              </a:cxnLst>
              <a:rect l="0" t="0" r="r" b="b"/>
              <a:pathLst>
                <a:path w="4323" h="3663">
                  <a:moveTo>
                    <a:pt x="0" y="0"/>
                  </a:moveTo>
                  <a:lnTo>
                    <a:pt x="2175" y="3663"/>
                  </a:lnTo>
                  <a:lnTo>
                    <a:pt x="4323" y="1666"/>
                  </a:lnTo>
                  <a:lnTo>
                    <a:pt x="0" y="0"/>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1" name="Freeform 276"/>
            <p:cNvSpPr>
              <a:spLocks/>
            </p:cNvSpPr>
            <p:nvPr/>
          </p:nvSpPr>
          <p:spPr bwMode="auto">
            <a:xfrm>
              <a:off x="6096000" y="3195893"/>
              <a:ext cx="821531" cy="883107"/>
            </a:xfrm>
            <a:custGeom>
              <a:avLst/>
              <a:gdLst>
                <a:gd name="T0" fmla="*/ 209 w 2585"/>
                <a:gd name="T1" fmla="*/ 2775 h 2775"/>
                <a:gd name="T2" fmla="*/ 2585 w 2585"/>
                <a:gd name="T3" fmla="*/ 1429 h 2775"/>
                <a:gd name="T4" fmla="*/ 0 w 2585"/>
                <a:gd name="T5" fmla="*/ 0 h 2775"/>
                <a:gd name="T6" fmla="*/ 209 w 2585"/>
                <a:gd name="T7" fmla="*/ 2775 h 2775"/>
              </a:gdLst>
              <a:ahLst/>
              <a:cxnLst>
                <a:cxn ang="0">
                  <a:pos x="T0" y="T1"/>
                </a:cxn>
                <a:cxn ang="0">
                  <a:pos x="T2" y="T3"/>
                </a:cxn>
                <a:cxn ang="0">
                  <a:pos x="T4" y="T5"/>
                </a:cxn>
                <a:cxn ang="0">
                  <a:pos x="T6" y="T7"/>
                </a:cxn>
              </a:cxnLst>
              <a:rect l="0" t="0" r="r" b="b"/>
              <a:pathLst>
                <a:path w="2585" h="2775">
                  <a:moveTo>
                    <a:pt x="209" y="2775"/>
                  </a:moveTo>
                  <a:lnTo>
                    <a:pt x="2585" y="1429"/>
                  </a:lnTo>
                  <a:lnTo>
                    <a:pt x="0" y="0"/>
                  </a:lnTo>
                  <a:lnTo>
                    <a:pt x="209" y="2775"/>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2" name="Freeform 277"/>
            <p:cNvSpPr>
              <a:spLocks/>
            </p:cNvSpPr>
            <p:nvPr/>
          </p:nvSpPr>
          <p:spPr bwMode="auto">
            <a:xfrm>
              <a:off x="6162675" y="3650574"/>
              <a:ext cx="810816" cy="1492927"/>
            </a:xfrm>
            <a:custGeom>
              <a:avLst/>
              <a:gdLst>
                <a:gd name="T0" fmla="*/ 2376 w 2547"/>
                <a:gd name="T1" fmla="*/ 0 h 4694"/>
                <a:gd name="T2" fmla="*/ 0 w 2547"/>
                <a:gd name="T3" fmla="*/ 1346 h 4694"/>
                <a:gd name="T4" fmla="*/ 560 w 2547"/>
                <a:gd name="T5" fmla="*/ 4694 h 4694"/>
                <a:gd name="T6" fmla="*/ 2547 w 2547"/>
                <a:gd name="T7" fmla="*/ 2266 h 4694"/>
                <a:gd name="T8" fmla="*/ 2376 w 2547"/>
                <a:gd name="T9" fmla="*/ 0 h 4694"/>
              </a:gdLst>
              <a:ahLst/>
              <a:cxnLst>
                <a:cxn ang="0">
                  <a:pos x="T0" y="T1"/>
                </a:cxn>
                <a:cxn ang="0">
                  <a:pos x="T2" y="T3"/>
                </a:cxn>
                <a:cxn ang="0">
                  <a:pos x="T4" y="T5"/>
                </a:cxn>
                <a:cxn ang="0">
                  <a:pos x="T6" y="T7"/>
                </a:cxn>
                <a:cxn ang="0">
                  <a:pos x="T8" y="T9"/>
                </a:cxn>
              </a:cxnLst>
              <a:rect l="0" t="0" r="r" b="b"/>
              <a:pathLst>
                <a:path w="2547" h="4694">
                  <a:moveTo>
                    <a:pt x="2376" y="0"/>
                  </a:moveTo>
                  <a:lnTo>
                    <a:pt x="0" y="1346"/>
                  </a:lnTo>
                  <a:lnTo>
                    <a:pt x="560" y="4694"/>
                  </a:lnTo>
                  <a:lnTo>
                    <a:pt x="2547" y="2266"/>
                  </a:lnTo>
                  <a:lnTo>
                    <a:pt x="2376" y="0"/>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3" name="Freeform 278"/>
            <p:cNvSpPr>
              <a:spLocks/>
            </p:cNvSpPr>
            <p:nvPr/>
          </p:nvSpPr>
          <p:spPr bwMode="auto">
            <a:xfrm>
              <a:off x="5080397" y="3195893"/>
              <a:ext cx="1082278" cy="1076435"/>
            </a:xfrm>
            <a:custGeom>
              <a:avLst/>
              <a:gdLst>
                <a:gd name="T0" fmla="*/ 3406 w 3406"/>
                <a:gd name="T1" fmla="*/ 2775 h 3382"/>
                <a:gd name="T2" fmla="*/ 3197 w 3406"/>
                <a:gd name="T3" fmla="*/ 0 h 3382"/>
                <a:gd name="T4" fmla="*/ 0 w 3406"/>
                <a:gd name="T5" fmla="*/ 3382 h 3382"/>
                <a:gd name="T6" fmla="*/ 3406 w 3406"/>
                <a:gd name="T7" fmla="*/ 2775 h 3382"/>
              </a:gdLst>
              <a:ahLst/>
              <a:cxnLst>
                <a:cxn ang="0">
                  <a:pos x="T0" y="T1"/>
                </a:cxn>
                <a:cxn ang="0">
                  <a:pos x="T2" y="T3"/>
                </a:cxn>
                <a:cxn ang="0">
                  <a:pos x="T4" y="T5"/>
                </a:cxn>
                <a:cxn ang="0">
                  <a:pos x="T6" y="T7"/>
                </a:cxn>
              </a:cxnLst>
              <a:rect l="0" t="0" r="r" b="b"/>
              <a:pathLst>
                <a:path w="3406" h="3382">
                  <a:moveTo>
                    <a:pt x="3406" y="2775"/>
                  </a:moveTo>
                  <a:lnTo>
                    <a:pt x="3197" y="0"/>
                  </a:lnTo>
                  <a:lnTo>
                    <a:pt x="0" y="3382"/>
                  </a:lnTo>
                  <a:lnTo>
                    <a:pt x="3406" y="2775"/>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4" name="Freeform 279"/>
            <p:cNvSpPr>
              <a:spLocks/>
            </p:cNvSpPr>
            <p:nvPr/>
          </p:nvSpPr>
          <p:spPr bwMode="auto">
            <a:xfrm>
              <a:off x="6096000" y="2485827"/>
              <a:ext cx="1547813" cy="1164746"/>
            </a:xfrm>
            <a:custGeom>
              <a:avLst/>
              <a:gdLst>
                <a:gd name="T0" fmla="*/ 0 w 4868"/>
                <a:gd name="T1" fmla="*/ 2238 h 3667"/>
                <a:gd name="T2" fmla="*/ 2585 w 4868"/>
                <a:gd name="T3" fmla="*/ 3667 h 3667"/>
                <a:gd name="T4" fmla="*/ 4868 w 4868"/>
                <a:gd name="T5" fmla="*/ 1862 h 3667"/>
                <a:gd name="T6" fmla="*/ 1362 w 4868"/>
                <a:gd name="T7" fmla="*/ 0 h 3667"/>
                <a:gd name="T8" fmla="*/ 0 w 4868"/>
                <a:gd name="T9" fmla="*/ 2238 h 3667"/>
              </a:gdLst>
              <a:ahLst/>
              <a:cxnLst>
                <a:cxn ang="0">
                  <a:pos x="T0" y="T1"/>
                </a:cxn>
                <a:cxn ang="0">
                  <a:pos x="T2" y="T3"/>
                </a:cxn>
                <a:cxn ang="0">
                  <a:pos x="T4" y="T5"/>
                </a:cxn>
                <a:cxn ang="0">
                  <a:pos x="T6" y="T7"/>
                </a:cxn>
                <a:cxn ang="0">
                  <a:pos x="T8" y="T9"/>
                </a:cxn>
              </a:cxnLst>
              <a:rect l="0" t="0" r="r" b="b"/>
              <a:pathLst>
                <a:path w="4868" h="3667">
                  <a:moveTo>
                    <a:pt x="0" y="2238"/>
                  </a:moveTo>
                  <a:lnTo>
                    <a:pt x="2585" y="3667"/>
                  </a:lnTo>
                  <a:lnTo>
                    <a:pt x="4868" y="1862"/>
                  </a:lnTo>
                  <a:lnTo>
                    <a:pt x="1362" y="0"/>
                  </a:lnTo>
                  <a:lnTo>
                    <a:pt x="0" y="2238"/>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5" name="Freeform 280"/>
            <p:cNvSpPr>
              <a:spLocks/>
            </p:cNvSpPr>
            <p:nvPr/>
          </p:nvSpPr>
          <p:spPr bwMode="auto">
            <a:xfrm>
              <a:off x="4933950" y="4272328"/>
              <a:ext cx="1407319" cy="871173"/>
            </a:xfrm>
            <a:custGeom>
              <a:avLst/>
              <a:gdLst>
                <a:gd name="T0" fmla="*/ 460 w 4426"/>
                <a:gd name="T1" fmla="*/ 0 h 2741"/>
                <a:gd name="T2" fmla="*/ 0 w 4426"/>
                <a:gd name="T3" fmla="*/ 2741 h 2741"/>
                <a:gd name="T4" fmla="*/ 4426 w 4426"/>
                <a:gd name="T5" fmla="*/ 2741 h 2741"/>
                <a:gd name="T6" fmla="*/ 460 w 4426"/>
                <a:gd name="T7" fmla="*/ 0 h 2741"/>
              </a:gdLst>
              <a:ahLst/>
              <a:cxnLst>
                <a:cxn ang="0">
                  <a:pos x="T0" y="T1"/>
                </a:cxn>
                <a:cxn ang="0">
                  <a:pos x="T2" y="T3"/>
                </a:cxn>
                <a:cxn ang="0">
                  <a:pos x="T4" y="T5"/>
                </a:cxn>
                <a:cxn ang="0">
                  <a:pos x="T6" y="T7"/>
                </a:cxn>
              </a:cxnLst>
              <a:rect l="0" t="0" r="r" b="b"/>
              <a:pathLst>
                <a:path w="4426" h="2741">
                  <a:moveTo>
                    <a:pt x="460" y="0"/>
                  </a:moveTo>
                  <a:lnTo>
                    <a:pt x="0" y="2741"/>
                  </a:lnTo>
                  <a:lnTo>
                    <a:pt x="4426" y="2741"/>
                  </a:lnTo>
                  <a:lnTo>
                    <a:pt x="460" y="0"/>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6" name="Freeform 281"/>
            <p:cNvSpPr>
              <a:spLocks/>
            </p:cNvSpPr>
            <p:nvPr/>
          </p:nvSpPr>
          <p:spPr bwMode="auto">
            <a:xfrm>
              <a:off x="4140994" y="4272328"/>
              <a:ext cx="939404" cy="871173"/>
            </a:xfrm>
            <a:custGeom>
              <a:avLst/>
              <a:gdLst>
                <a:gd name="T0" fmla="*/ 2494 w 2954"/>
                <a:gd name="T1" fmla="*/ 2741 h 2741"/>
                <a:gd name="T2" fmla="*/ 2954 w 2954"/>
                <a:gd name="T3" fmla="*/ 0 h 2741"/>
                <a:gd name="T4" fmla="*/ 0 w 2954"/>
                <a:gd name="T5" fmla="*/ 2741 h 2741"/>
                <a:gd name="T6" fmla="*/ 2494 w 2954"/>
                <a:gd name="T7" fmla="*/ 2741 h 2741"/>
              </a:gdLst>
              <a:ahLst/>
              <a:cxnLst>
                <a:cxn ang="0">
                  <a:pos x="T0" y="T1"/>
                </a:cxn>
                <a:cxn ang="0">
                  <a:pos x="T2" y="T3"/>
                </a:cxn>
                <a:cxn ang="0">
                  <a:pos x="T4" y="T5"/>
                </a:cxn>
                <a:cxn ang="0">
                  <a:pos x="T6" y="T7"/>
                </a:cxn>
              </a:cxnLst>
              <a:rect l="0" t="0" r="r" b="b"/>
              <a:pathLst>
                <a:path w="2954" h="2741">
                  <a:moveTo>
                    <a:pt x="2494" y="2741"/>
                  </a:moveTo>
                  <a:lnTo>
                    <a:pt x="2954" y="0"/>
                  </a:lnTo>
                  <a:lnTo>
                    <a:pt x="0" y="2741"/>
                  </a:lnTo>
                  <a:lnTo>
                    <a:pt x="2494" y="2741"/>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7" name="Freeform 282"/>
            <p:cNvSpPr>
              <a:spLocks/>
            </p:cNvSpPr>
            <p:nvPr/>
          </p:nvSpPr>
          <p:spPr bwMode="auto">
            <a:xfrm>
              <a:off x="5080397" y="4078999"/>
              <a:ext cx="1260872" cy="1064502"/>
            </a:xfrm>
            <a:custGeom>
              <a:avLst/>
              <a:gdLst>
                <a:gd name="T0" fmla="*/ 3406 w 3966"/>
                <a:gd name="T1" fmla="*/ 0 h 3348"/>
                <a:gd name="T2" fmla="*/ 0 w 3966"/>
                <a:gd name="T3" fmla="*/ 607 h 3348"/>
                <a:gd name="T4" fmla="*/ 3966 w 3966"/>
                <a:gd name="T5" fmla="*/ 3348 h 3348"/>
                <a:gd name="T6" fmla="*/ 3406 w 3966"/>
                <a:gd name="T7" fmla="*/ 0 h 3348"/>
              </a:gdLst>
              <a:ahLst/>
              <a:cxnLst>
                <a:cxn ang="0">
                  <a:pos x="T0" y="T1"/>
                </a:cxn>
                <a:cxn ang="0">
                  <a:pos x="T2" y="T3"/>
                </a:cxn>
                <a:cxn ang="0">
                  <a:pos x="T4" y="T5"/>
                </a:cxn>
                <a:cxn ang="0">
                  <a:pos x="T6" y="T7"/>
                </a:cxn>
              </a:cxnLst>
              <a:rect l="0" t="0" r="r" b="b"/>
              <a:pathLst>
                <a:path w="3966" h="3348">
                  <a:moveTo>
                    <a:pt x="3406" y="0"/>
                  </a:moveTo>
                  <a:lnTo>
                    <a:pt x="0" y="607"/>
                  </a:lnTo>
                  <a:lnTo>
                    <a:pt x="3966" y="3348"/>
                  </a:lnTo>
                  <a:lnTo>
                    <a:pt x="3406" y="0"/>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8" name="Freeform 283"/>
            <p:cNvSpPr>
              <a:spLocks/>
            </p:cNvSpPr>
            <p:nvPr/>
          </p:nvSpPr>
          <p:spPr bwMode="auto">
            <a:xfrm>
              <a:off x="4427935" y="3195893"/>
              <a:ext cx="1668065" cy="1076435"/>
            </a:xfrm>
            <a:custGeom>
              <a:avLst/>
              <a:gdLst>
                <a:gd name="T0" fmla="*/ 2057 w 5254"/>
                <a:gd name="T1" fmla="*/ 3382 h 3382"/>
                <a:gd name="T2" fmla="*/ 5254 w 5254"/>
                <a:gd name="T3" fmla="*/ 0 h 3382"/>
                <a:gd name="T4" fmla="*/ 0 w 5254"/>
                <a:gd name="T5" fmla="*/ 491 h 3382"/>
                <a:gd name="T6" fmla="*/ 2057 w 5254"/>
                <a:gd name="T7" fmla="*/ 3382 h 3382"/>
              </a:gdLst>
              <a:ahLst/>
              <a:cxnLst>
                <a:cxn ang="0">
                  <a:pos x="T0" y="T1"/>
                </a:cxn>
                <a:cxn ang="0">
                  <a:pos x="T2" y="T3"/>
                </a:cxn>
                <a:cxn ang="0">
                  <a:pos x="T4" y="T5"/>
                </a:cxn>
                <a:cxn ang="0">
                  <a:pos x="T6" y="T7"/>
                </a:cxn>
              </a:cxnLst>
              <a:rect l="0" t="0" r="r" b="b"/>
              <a:pathLst>
                <a:path w="5254" h="3382">
                  <a:moveTo>
                    <a:pt x="2057" y="3382"/>
                  </a:moveTo>
                  <a:lnTo>
                    <a:pt x="5254" y="0"/>
                  </a:lnTo>
                  <a:lnTo>
                    <a:pt x="0" y="491"/>
                  </a:lnTo>
                  <a:lnTo>
                    <a:pt x="2057" y="3382"/>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39" name="Freeform 284"/>
            <p:cNvSpPr>
              <a:spLocks/>
            </p:cNvSpPr>
            <p:nvPr/>
          </p:nvSpPr>
          <p:spPr bwMode="auto">
            <a:xfrm>
              <a:off x="6917531" y="3077748"/>
              <a:ext cx="726281" cy="695745"/>
            </a:xfrm>
            <a:custGeom>
              <a:avLst/>
              <a:gdLst>
                <a:gd name="T0" fmla="*/ 2203 w 2283"/>
                <a:gd name="T1" fmla="*/ 2189 h 2189"/>
                <a:gd name="T2" fmla="*/ 2283 w 2283"/>
                <a:gd name="T3" fmla="*/ 0 h 2189"/>
                <a:gd name="T4" fmla="*/ 0 w 2283"/>
                <a:gd name="T5" fmla="*/ 1805 h 2189"/>
                <a:gd name="T6" fmla="*/ 2203 w 2283"/>
                <a:gd name="T7" fmla="*/ 2189 h 2189"/>
              </a:gdLst>
              <a:ahLst/>
              <a:cxnLst>
                <a:cxn ang="0">
                  <a:pos x="T0" y="T1"/>
                </a:cxn>
                <a:cxn ang="0">
                  <a:pos x="T2" y="T3"/>
                </a:cxn>
                <a:cxn ang="0">
                  <a:pos x="T4" y="T5"/>
                </a:cxn>
                <a:cxn ang="0">
                  <a:pos x="T6" y="T7"/>
                </a:cxn>
              </a:cxnLst>
              <a:rect l="0" t="0" r="r" b="b"/>
              <a:pathLst>
                <a:path w="2283" h="2189">
                  <a:moveTo>
                    <a:pt x="2203" y="2189"/>
                  </a:moveTo>
                  <a:lnTo>
                    <a:pt x="2283" y="0"/>
                  </a:lnTo>
                  <a:lnTo>
                    <a:pt x="0" y="1805"/>
                  </a:lnTo>
                  <a:lnTo>
                    <a:pt x="2203" y="2189"/>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0" name="Freeform 285"/>
            <p:cNvSpPr>
              <a:spLocks/>
            </p:cNvSpPr>
            <p:nvPr/>
          </p:nvSpPr>
          <p:spPr bwMode="auto">
            <a:xfrm>
              <a:off x="7618810" y="3773492"/>
              <a:ext cx="1521619" cy="840145"/>
            </a:xfrm>
            <a:custGeom>
              <a:avLst/>
              <a:gdLst>
                <a:gd name="T0" fmla="*/ 0 w 4789"/>
                <a:gd name="T1" fmla="*/ 0 h 2646"/>
                <a:gd name="T2" fmla="*/ 878 w 4789"/>
                <a:gd name="T3" fmla="*/ 2646 h 2646"/>
                <a:gd name="T4" fmla="*/ 4789 w 4789"/>
                <a:gd name="T5" fmla="*/ 1815 h 2646"/>
                <a:gd name="T6" fmla="*/ 0 w 4789"/>
                <a:gd name="T7" fmla="*/ 0 h 2646"/>
              </a:gdLst>
              <a:ahLst/>
              <a:cxnLst>
                <a:cxn ang="0">
                  <a:pos x="T0" y="T1"/>
                </a:cxn>
                <a:cxn ang="0">
                  <a:pos x="T2" y="T3"/>
                </a:cxn>
                <a:cxn ang="0">
                  <a:pos x="T4" y="T5"/>
                </a:cxn>
                <a:cxn ang="0">
                  <a:pos x="T6" y="T7"/>
                </a:cxn>
              </a:cxnLst>
              <a:rect l="0" t="0" r="r" b="b"/>
              <a:pathLst>
                <a:path w="4789" h="2646">
                  <a:moveTo>
                    <a:pt x="0" y="0"/>
                  </a:moveTo>
                  <a:lnTo>
                    <a:pt x="878" y="2646"/>
                  </a:lnTo>
                  <a:lnTo>
                    <a:pt x="4789" y="1815"/>
                  </a:lnTo>
                  <a:lnTo>
                    <a:pt x="0" y="0"/>
                  </a:lnTo>
                  <a:close/>
                </a:path>
              </a:pathLst>
            </a:custGeom>
            <a:solidFill>
              <a:sysClr val="window" lastClr="FFFFFF">
                <a:lumMod val="6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1" name="Freeform 286"/>
            <p:cNvSpPr>
              <a:spLocks/>
            </p:cNvSpPr>
            <p:nvPr/>
          </p:nvSpPr>
          <p:spPr bwMode="auto">
            <a:xfrm>
              <a:off x="7618810" y="2596812"/>
              <a:ext cx="1016794" cy="1176680"/>
            </a:xfrm>
            <a:custGeom>
              <a:avLst/>
              <a:gdLst>
                <a:gd name="T0" fmla="*/ 80 w 3198"/>
                <a:gd name="T1" fmla="*/ 1512 h 3701"/>
                <a:gd name="T2" fmla="*/ 0 w 3198"/>
                <a:gd name="T3" fmla="*/ 3701 h 3701"/>
                <a:gd name="T4" fmla="*/ 3198 w 3198"/>
                <a:gd name="T5" fmla="*/ 2372 h 3701"/>
                <a:gd name="T6" fmla="*/ 1766 w 3198"/>
                <a:gd name="T7" fmla="*/ 0 h 3701"/>
                <a:gd name="T8" fmla="*/ 80 w 3198"/>
                <a:gd name="T9" fmla="*/ 1512 h 3701"/>
              </a:gdLst>
              <a:ahLst/>
              <a:cxnLst>
                <a:cxn ang="0">
                  <a:pos x="T0" y="T1"/>
                </a:cxn>
                <a:cxn ang="0">
                  <a:pos x="T2" y="T3"/>
                </a:cxn>
                <a:cxn ang="0">
                  <a:pos x="T4" y="T5"/>
                </a:cxn>
                <a:cxn ang="0">
                  <a:pos x="T6" y="T7"/>
                </a:cxn>
                <a:cxn ang="0">
                  <a:pos x="T8" y="T9"/>
                </a:cxn>
              </a:cxnLst>
              <a:rect l="0" t="0" r="r" b="b"/>
              <a:pathLst>
                <a:path w="3198" h="3701">
                  <a:moveTo>
                    <a:pt x="80" y="1512"/>
                  </a:moveTo>
                  <a:lnTo>
                    <a:pt x="0" y="3701"/>
                  </a:lnTo>
                  <a:lnTo>
                    <a:pt x="3198" y="2372"/>
                  </a:lnTo>
                  <a:lnTo>
                    <a:pt x="1766" y="0"/>
                  </a:lnTo>
                  <a:lnTo>
                    <a:pt x="80" y="1512"/>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2" name="Freeform 287"/>
            <p:cNvSpPr>
              <a:spLocks/>
            </p:cNvSpPr>
            <p:nvPr/>
          </p:nvSpPr>
          <p:spPr bwMode="auto">
            <a:xfrm>
              <a:off x="6973491" y="4371380"/>
              <a:ext cx="925115" cy="772121"/>
            </a:xfrm>
            <a:custGeom>
              <a:avLst/>
              <a:gdLst>
                <a:gd name="T0" fmla="*/ 2910 w 2910"/>
                <a:gd name="T1" fmla="*/ 764 h 2428"/>
                <a:gd name="T2" fmla="*/ 0 w 2910"/>
                <a:gd name="T3" fmla="*/ 0 h 2428"/>
                <a:gd name="T4" fmla="*/ 484 w 2910"/>
                <a:gd name="T5" fmla="*/ 2428 h 2428"/>
                <a:gd name="T6" fmla="*/ 2416 w 2910"/>
                <a:gd name="T7" fmla="*/ 2428 h 2428"/>
                <a:gd name="T8" fmla="*/ 2910 w 2910"/>
                <a:gd name="T9" fmla="*/ 764 h 2428"/>
              </a:gdLst>
              <a:ahLst/>
              <a:cxnLst>
                <a:cxn ang="0">
                  <a:pos x="T0" y="T1"/>
                </a:cxn>
                <a:cxn ang="0">
                  <a:pos x="T2" y="T3"/>
                </a:cxn>
                <a:cxn ang="0">
                  <a:pos x="T4" y="T5"/>
                </a:cxn>
                <a:cxn ang="0">
                  <a:pos x="T6" y="T7"/>
                </a:cxn>
                <a:cxn ang="0">
                  <a:pos x="T8" y="T9"/>
                </a:cxn>
              </a:cxnLst>
              <a:rect l="0" t="0" r="r" b="b"/>
              <a:pathLst>
                <a:path w="2910" h="2428">
                  <a:moveTo>
                    <a:pt x="2910" y="764"/>
                  </a:moveTo>
                  <a:lnTo>
                    <a:pt x="0" y="0"/>
                  </a:lnTo>
                  <a:lnTo>
                    <a:pt x="484" y="2428"/>
                  </a:lnTo>
                  <a:lnTo>
                    <a:pt x="2416" y="2428"/>
                  </a:lnTo>
                  <a:lnTo>
                    <a:pt x="2910" y="764"/>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3" name="Freeform 288"/>
            <p:cNvSpPr>
              <a:spLocks/>
            </p:cNvSpPr>
            <p:nvPr/>
          </p:nvSpPr>
          <p:spPr bwMode="auto">
            <a:xfrm>
              <a:off x="6917531" y="3650574"/>
              <a:ext cx="981075" cy="963063"/>
            </a:xfrm>
            <a:custGeom>
              <a:avLst/>
              <a:gdLst>
                <a:gd name="T0" fmla="*/ 171 w 3081"/>
                <a:gd name="T1" fmla="*/ 2266 h 3030"/>
                <a:gd name="T2" fmla="*/ 3081 w 3081"/>
                <a:gd name="T3" fmla="*/ 3030 h 3030"/>
                <a:gd name="T4" fmla="*/ 2203 w 3081"/>
                <a:gd name="T5" fmla="*/ 384 h 3030"/>
                <a:gd name="T6" fmla="*/ 0 w 3081"/>
                <a:gd name="T7" fmla="*/ 0 h 3030"/>
                <a:gd name="T8" fmla="*/ 171 w 3081"/>
                <a:gd name="T9" fmla="*/ 2266 h 3030"/>
              </a:gdLst>
              <a:ahLst/>
              <a:cxnLst>
                <a:cxn ang="0">
                  <a:pos x="T0" y="T1"/>
                </a:cxn>
                <a:cxn ang="0">
                  <a:pos x="T2" y="T3"/>
                </a:cxn>
                <a:cxn ang="0">
                  <a:pos x="T4" y="T5"/>
                </a:cxn>
                <a:cxn ang="0">
                  <a:pos x="T6" y="T7"/>
                </a:cxn>
                <a:cxn ang="0">
                  <a:pos x="T8" y="T9"/>
                </a:cxn>
              </a:cxnLst>
              <a:rect l="0" t="0" r="r" b="b"/>
              <a:pathLst>
                <a:path w="3081" h="3030">
                  <a:moveTo>
                    <a:pt x="171" y="2266"/>
                  </a:moveTo>
                  <a:lnTo>
                    <a:pt x="3081" y="3030"/>
                  </a:lnTo>
                  <a:lnTo>
                    <a:pt x="2203" y="384"/>
                  </a:lnTo>
                  <a:lnTo>
                    <a:pt x="0" y="0"/>
                  </a:lnTo>
                  <a:lnTo>
                    <a:pt x="171" y="2266"/>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4" name="Freeform 289"/>
            <p:cNvSpPr>
              <a:spLocks/>
            </p:cNvSpPr>
            <p:nvPr/>
          </p:nvSpPr>
          <p:spPr bwMode="auto">
            <a:xfrm>
              <a:off x="7740254" y="4349899"/>
              <a:ext cx="1400175" cy="793602"/>
            </a:xfrm>
            <a:custGeom>
              <a:avLst/>
              <a:gdLst>
                <a:gd name="T0" fmla="*/ 494 w 4405"/>
                <a:gd name="T1" fmla="*/ 831 h 2495"/>
                <a:gd name="T2" fmla="*/ 0 w 4405"/>
                <a:gd name="T3" fmla="*/ 2495 h 2495"/>
                <a:gd name="T4" fmla="*/ 2202 w 4405"/>
                <a:gd name="T5" fmla="*/ 2495 h 2495"/>
                <a:gd name="T6" fmla="*/ 4405 w 4405"/>
                <a:gd name="T7" fmla="*/ 0 h 2495"/>
                <a:gd name="T8" fmla="*/ 494 w 4405"/>
                <a:gd name="T9" fmla="*/ 831 h 2495"/>
              </a:gdLst>
              <a:ahLst/>
              <a:cxnLst>
                <a:cxn ang="0">
                  <a:pos x="T0" y="T1"/>
                </a:cxn>
                <a:cxn ang="0">
                  <a:pos x="T2" y="T3"/>
                </a:cxn>
                <a:cxn ang="0">
                  <a:pos x="T4" y="T5"/>
                </a:cxn>
                <a:cxn ang="0">
                  <a:pos x="T6" y="T7"/>
                </a:cxn>
                <a:cxn ang="0">
                  <a:pos x="T8" y="T9"/>
                </a:cxn>
              </a:cxnLst>
              <a:rect l="0" t="0" r="r" b="b"/>
              <a:pathLst>
                <a:path w="4405" h="2495">
                  <a:moveTo>
                    <a:pt x="494" y="831"/>
                  </a:moveTo>
                  <a:lnTo>
                    <a:pt x="0" y="2495"/>
                  </a:lnTo>
                  <a:lnTo>
                    <a:pt x="2202" y="2495"/>
                  </a:lnTo>
                  <a:lnTo>
                    <a:pt x="4405" y="0"/>
                  </a:lnTo>
                  <a:lnTo>
                    <a:pt x="494" y="831"/>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5" name="Freeform 290"/>
            <p:cNvSpPr>
              <a:spLocks/>
            </p:cNvSpPr>
            <p:nvPr/>
          </p:nvSpPr>
          <p:spPr bwMode="auto">
            <a:xfrm>
              <a:off x="6341269" y="4371380"/>
              <a:ext cx="784622" cy="772121"/>
            </a:xfrm>
            <a:custGeom>
              <a:avLst/>
              <a:gdLst>
                <a:gd name="T0" fmla="*/ 2471 w 2471"/>
                <a:gd name="T1" fmla="*/ 2428 h 2428"/>
                <a:gd name="T2" fmla="*/ 1987 w 2471"/>
                <a:gd name="T3" fmla="*/ 0 h 2428"/>
                <a:gd name="T4" fmla="*/ 0 w 2471"/>
                <a:gd name="T5" fmla="*/ 2428 h 2428"/>
                <a:gd name="T6" fmla="*/ 2471 w 2471"/>
                <a:gd name="T7" fmla="*/ 2428 h 2428"/>
              </a:gdLst>
              <a:ahLst/>
              <a:cxnLst>
                <a:cxn ang="0">
                  <a:pos x="T0" y="T1"/>
                </a:cxn>
                <a:cxn ang="0">
                  <a:pos x="T2" y="T3"/>
                </a:cxn>
                <a:cxn ang="0">
                  <a:pos x="T4" y="T5"/>
                </a:cxn>
                <a:cxn ang="0">
                  <a:pos x="T6" y="T7"/>
                </a:cxn>
              </a:cxnLst>
              <a:rect l="0" t="0" r="r" b="b"/>
              <a:pathLst>
                <a:path w="2471" h="2428">
                  <a:moveTo>
                    <a:pt x="2471" y="2428"/>
                  </a:moveTo>
                  <a:lnTo>
                    <a:pt x="1987" y="0"/>
                  </a:lnTo>
                  <a:lnTo>
                    <a:pt x="0" y="2428"/>
                  </a:lnTo>
                  <a:lnTo>
                    <a:pt x="2471" y="2428"/>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6" name="Freeform 291"/>
            <p:cNvSpPr>
              <a:spLocks/>
            </p:cNvSpPr>
            <p:nvPr/>
          </p:nvSpPr>
          <p:spPr bwMode="auto">
            <a:xfrm>
              <a:off x="8440341" y="4349899"/>
              <a:ext cx="700088" cy="793602"/>
            </a:xfrm>
            <a:custGeom>
              <a:avLst/>
              <a:gdLst>
                <a:gd name="T0" fmla="*/ 2203 w 2203"/>
                <a:gd name="T1" fmla="*/ 2495 h 2495"/>
                <a:gd name="T2" fmla="*/ 2203 w 2203"/>
                <a:gd name="T3" fmla="*/ 0 h 2495"/>
                <a:gd name="T4" fmla="*/ 0 w 2203"/>
                <a:gd name="T5" fmla="*/ 2495 h 2495"/>
                <a:gd name="T6" fmla="*/ 2203 w 2203"/>
                <a:gd name="T7" fmla="*/ 2495 h 2495"/>
              </a:gdLst>
              <a:ahLst/>
              <a:cxnLst>
                <a:cxn ang="0">
                  <a:pos x="T0" y="T1"/>
                </a:cxn>
                <a:cxn ang="0">
                  <a:pos x="T2" y="T3"/>
                </a:cxn>
                <a:cxn ang="0">
                  <a:pos x="T4" y="T5"/>
                </a:cxn>
                <a:cxn ang="0">
                  <a:pos x="T6" y="T7"/>
                </a:cxn>
              </a:cxnLst>
              <a:rect l="0" t="0" r="r" b="b"/>
              <a:pathLst>
                <a:path w="2203" h="2495">
                  <a:moveTo>
                    <a:pt x="2203" y="2495"/>
                  </a:moveTo>
                  <a:lnTo>
                    <a:pt x="2203" y="0"/>
                  </a:lnTo>
                  <a:lnTo>
                    <a:pt x="0" y="2495"/>
                  </a:lnTo>
                  <a:lnTo>
                    <a:pt x="2203" y="2495"/>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7" name="Freeform 292"/>
            <p:cNvSpPr>
              <a:spLocks/>
            </p:cNvSpPr>
            <p:nvPr/>
          </p:nvSpPr>
          <p:spPr bwMode="auto">
            <a:xfrm>
              <a:off x="7618810" y="3351033"/>
              <a:ext cx="1521619" cy="998866"/>
            </a:xfrm>
            <a:custGeom>
              <a:avLst/>
              <a:gdLst>
                <a:gd name="T0" fmla="*/ 0 w 4789"/>
                <a:gd name="T1" fmla="*/ 1329 h 3144"/>
                <a:gd name="T2" fmla="*/ 4789 w 4789"/>
                <a:gd name="T3" fmla="*/ 3144 h 3144"/>
                <a:gd name="T4" fmla="*/ 3198 w 4789"/>
                <a:gd name="T5" fmla="*/ 0 h 3144"/>
                <a:gd name="T6" fmla="*/ 0 w 4789"/>
                <a:gd name="T7" fmla="*/ 1329 h 3144"/>
              </a:gdLst>
              <a:ahLst/>
              <a:cxnLst>
                <a:cxn ang="0">
                  <a:pos x="T0" y="T1"/>
                </a:cxn>
                <a:cxn ang="0">
                  <a:pos x="T2" y="T3"/>
                </a:cxn>
                <a:cxn ang="0">
                  <a:pos x="T4" y="T5"/>
                </a:cxn>
                <a:cxn ang="0">
                  <a:pos x="T6" y="T7"/>
                </a:cxn>
              </a:cxnLst>
              <a:rect l="0" t="0" r="r" b="b"/>
              <a:pathLst>
                <a:path w="4789" h="3144">
                  <a:moveTo>
                    <a:pt x="0" y="1329"/>
                  </a:moveTo>
                  <a:lnTo>
                    <a:pt x="4789" y="3144"/>
                  </a:lnTo>
                  <a:lnTo>
                    <a:pt x="3198" y="0"/>
                  </a:lnTo>
                  <a:lnTo>
                    <a:pt x="0" y="1329"/>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8" name="Freeform 293"/>
            <p:cNvSpPr>
              <a:spLocks/>
            </p:cNvSpPr>
            <p:nvPr/>
          </p:nvSpPr>
          <p:spPr bwMode="auto">
            <a:xfrm>
              <a:off x="8622506" y="2551463"/>
              <a:ext cx="521494" cy="1798435"/>
            </a:xfrm>
            <a:custGeom>
              <a:avLst/>
              <a:gdLst>
                <a:gd name="T0" fmla="*/ 0 w 1591"/>
                <a:gd name="T1" fmla="*/ 2517 h 5661"/>
                <a:gd name="T2" fmla="*/ 1591 w 1591"/>
                <a:gd name="T3" fmla="*/ 5661 h 5661"/>
                <a:gd name="T4" fmla="*/ 1591 w 1591"/>
                <a:gd name="T5" fmla="*/ 0 h 5661"/>
                <a:gd name="T6" fmla="*/ 0 w 1591"/>
                <a:gd name="T7" fmla="*/ 2517 h 5661"/>
              </a:gdLst>
              <a:ahLst/>
              <a:cxnLst>
                <a:cxn ang="0">
                  <a:pos x="T0" y="T1"/>
                </a:cxn>
                <a:cxn ang="0">
                  <a:pos x="T2" y="T3"/>
                </a:cxn>
                <a:cxn ang="0">
                  <a:pos x="T4" y="T5"/>
                </a:cxn>
                <a:cxn ang="0">
                  <a:pos x="T6" y="T7"/>
                </a:cxn>
              </a:cxnLst>
              <a:rect l="0" t="0" r="r" b="b"/>
              <a:pathLst>
                <a:path w="1591" h="5661">
                  <a:moveTo>
                    <a:pt x="0" y="2517"/>
                  </a:moveTo>
                  <a:lnTo>
                    <a:pt x="1591" y="5661"/>
                  </a:lnTo>
                  <a:lnTo>
                    <a:pt x="1591" y="0"/>
                  </a:lnTo>
                  <a:lnTo>
                    <a:pt x="0" y="2517"/>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49" name="Freeform 294"/>
            <p:cNvSpPr>
              <a:spLocks/>
            </p:cNvSpPr>
            <p:nvPr/>
          </p:nvSpPr>
          <p:spPr bwMode="auto">
            <a:xfrm>
              <a:off x="4399360" y="2340234"/>
              <a:ext cx="1696640" cy="855658"/>
            </a:xfrm>
            <a:custGeom>
              <a:avLst/>
              <a:gdLst>
                <a:gd name="T0" fmla="*/ 5342 w 5342"/>
                <a:gd name="T1" fmla="*/ 2698 h 2698"/>
                <a:gd name="T2" fmla="*/ 3603 w 5342"/>
                <a:gd name="T3" fmla="*/ 0 h 2698"/>
                <a:gd name="T4" fmla="*/ 0 w 5342"/>
                <a:gd name="T5" fmla="*/ 1092 h 2698"/>
                <a:gd name="T6" fmla="*/ 5342 w 5342"/>
                <a:gd name="T7" fmla="*/ 2698 h 2698"/>
              </a:gdLst>
              <a:ahLst/>
              <a:cxnLst>
                <a:cxn ang="0">
                  <a:pos x="T0" y="T1"/>
                </a:cxn>
                <a:cxn ang="0">
                  <a:pos x="T2" y="T3"/>
                </a:cxn>
                <a:cxn ang="0">
                  <a:pos x="T4" y="T5"/>
                </a:cxn>
                <a:cxn ang="0">
                  <a:pos x="T6" y="T7"/>
                </a:cxn>
              </a:cxnLst>
              <a:rect l="0" t="0" r="r" b="b"/>
              <a:pathLst>
                <a:path w="5342" h="2698">
                  <a:moveTo>
                    <a:pt x="5342" y="2698"/>
                  </a:moveTo>
                  <a:lnTo>
                    <a:pt x="3603" y="0"/>
                  </a:lnTo>
                  <a:lnTo>
                    <a:pt x="0" y="1092"/>
                  </a:lnTo>
                  <a:lnTo>
                    <a:pt x="5342" y="2698"/>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0" name="Freeform 295"/>
            <p:cNvSpPr>
              <a:spLocks/>
            </p:cNvSpPr>
            <p:nvPr/>
          </p:nvSpPr>
          <p:spPr bwMode="auto">
            <a:xfrm>
              <a:off x="6529388" y="1849752"/>
              <a:ext cx="1114425" cy="1227996"/>
            </a:xfrm>
            <a:custGeom>
              <a:avLst/>
              <a:gdLst>
                <a:gd name="T0" fmla="*/ 0 w 3506"/>
                <a:gd name="T1" fmla="*/ 1997 h 3859"/>
                <a:gd name="T2" fmla="*/ 3506 w 3506"/>
                <a:gd name="T3" fmla="*/ 3859 h 3859"/>
                <a:gd name="T4" fmla="*/ 2148 w 3506"/>
                <a:gd name="T5" fmla="*/ 0 h 3859"/>
                <a:gd name="T6" fmla="*/ 0 w 3506"/>
                <a:gd name="T7" fmla="*/ 1997 h 3859"/>
              </a:gdLst>
              <a:ahLst/>
              <a:cxnLst>
                <a:cxn ang="0">
                  <a:pos x="T0" y="T1"/>
                </a:cxn>
                <a:cxn ang="0">
                  <a:pos x="T2" y="T3"/>
                </a:cxn>
                <a:cxn ang="0">
                  <a:pos x="T4" y="T5"/>
                </a:cxn>
                <a:cxn ang="0">
                  <a:pos x="T6" y="T7"/>
                </a:cxn>
              </a:cxnLst>
              <a:rect l="0" t="0" r="r" b="b"/>
              <a:pathLst>
                <a:path w="3506" h="3859">
                  <a:moveTo>
                    <a:pt x="0" y="1997"/>
                  </a:moveTo>
                  <a:lnTo>
                    <a:pt x="3506" y="3859"/>
                  </a:lnTo>
                  <a:lnTo>
                    <a:pt x="2148" y="0"/>
                  </a:lnTo>
                  <a:lnTo>
                    <a:pt x="0" y="1997"/>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1" name="Freeform 296"/>
            <p:cNvSpPr>
              <a:spLocks/>
            </p:cNvSpPr>
            <p:nvPr/>
          </p:nvSpPr>
          <p:spPr bwMode="auto">
            <a:xfrm>
              <a:off x="3070622" y="1"/>
              <a:ext cx="1250156" cy="537024"/>
            </a:xfrm>
            <a:custGeom>
              <a:avLst/>
              <a:gdLst>
                <a:gd name="T0" fmla="*/ 3136 w 3932"/>
                <a:gd name="T1" fmla="*/ 1691 h 1691"/>
                <a:gd name="T2" fmla="*/ 3932 w 3932"/>
                <a:gd name="T3" fmla="*/ 0 h 1691"/>
                <a:gd name="T4" fmla="*/ 0 w 3932"/>
                <a:gd name="T5" fmla="*/ 0 h 1691"/>
                <a:gd name="T6" fmla="*/ 3136 w 3932"/>
                <a:gd name="T7" fmla="*/ 1691 h 1691"/>
              </a:gdLst>
              <a:ahLst/>
              <a:cxnLst>
                <a:cxn ang="0">
                  <a:pos x="T0" y="T1"/>
                </a:cxn>
                <a:cxn ang="0">
                  <a:pos x="T2" y="T3"/>
                </a:cxn>
                <a:cxn ang="0">
                  <a:pos x="T4" y="T5"/>
                </a:cxn>
                <a:cxn ang="0">
                  <a:pos x="T6" y="T7"/>
                </a:cxn>
              </a:cxnLst>
              <a:rect l="0" t="0" r="r" b="b"/>
              <a:pathLst>
                <a:path w="3932" h="1691">
                  <a:moveTo>
                    <a:pt x="3136" y="1691"/>
                  </a:moveTo>
                  <a:lnTo>
                    <a:pt x="3932" y="0"/>
                  </a:lnTo>
                  <a:lnTo>
                    <a:pt x="0" y="0"/>
                  </a:lnTo>
                  <a:lnTo>
                    <a:pt x="3136" y="1691"/>
                  </a:lnTo>
                  <a:close/>
                </a:path>
              </a:pathLst>
            </a:custGeom>
            <a:solidFill>
              <a:srgbClr val="E7E6E6"/>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2" name="Freeform 297"/>
            <p:cNvSpPr>
              <a:spLocks/>
            </p:cNvSpPr>
            <p:nvPr/>
          </p:nvSpPr>
          <p:spPr bwMode="auto">
            <a:xfrm>
              <a:off x="1821656" y="1"/>
              <a:ext cx="1268016" cy="985738"/>
            </a:xfrm>
            <a:custGeom>
              <a:avLst/>
              <a:gdLst>
                <a:gd name="T0" fmla="*/ 3987 w 3988"/>
                <a:gd name="T1" fmla="*/ 3100 h 3100"/>
                <a:gd name="T2" fmla="*/ 3988 w 3988"/>
                <a:gd name="T3" fmla="*/ 3099 h 3100"/>
                <a:gd name="T4" fmla="*/ 3931 w 3988"/>
                <a:gd name="T5" fmla="*/ 0 h 3100"/>
                <a:gd name="T6" fmla="*/ 0 w 3988"/>
                <a:gd name="T7" fmla="*/ 0 h 3100"/>
                <a:gd name="T8" fmla="*/ 966 w 3988"/>
                <a:gd name="T9" fmla="*/ 989 h 3100"/>
                <a:gd name="T10" fmla="*/ 3987 w 3988"/>
                <a:gd name="T11" fmla="*/ 3100 h 3100"/>
              </a:gdLst>
              <a:ahLst/>
              <a:cxnLst>
                <a:cxn ang="0">
                  <a:pos x="T0" y="T1"/>
                </a:cxn>
                <a:cxn ang="0">
                  <a:pos x="T2" y="T3"/>
                </a:cxn>
                <a:cxn ang="0">
                  <a:pos x="T4" y="T5"/>
                </a:cxn>
                <a:cxn ang="0">
                  <a:pos x="T6" y="T7"/>
                </a:cxn>
                <a:cxn ang="0">
                  <a:pos x="T8" y="T9"/>
                </a:cxn>
                <a:cxn ang="0">
                  <a:pos x="T10" y="T11"/>
                </a:cxn>
              </a:cxnLst>
              <a:rect l="0" t="0" r="r" b="b"/>
              <a:pathLst>
                <a:path w="3988" h="3100">
                  <a:moveTo>
                    <a:pt x="3987" y="3100"/>
                  </a:moveTo>
                  <a:lnTo>
                    <a:pt x="3988" y="3099"/>
                  </a:lnTo>
                  <a:lnTo>
                    <a:pt x="3931" y="0"/>
                  </a:lnTo>
                  <a:lnTo>
                    <a:pt x="0" y="0"/>
                  </a:lnTo>
                  <a:lnTo>
                    <a:pt x="966" y="989"/>
                  </a:lnTo>
                  <a:lnTo>
                    <a:pt x="3987" y="3100"/>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3" name="Freeform 298"/>
            <p:cNvSpPr>
              <a:spLocks/>
            </p:cNvSpPr>
            <p:nvPr/>
          </p:nvSpPr>
          <p:spPr bwMode="auto">
            <a:xfrm>
              <a:off x="3087291" y="985739"/>
              <a:ext cx="1052513" cy="1058535"/>
            </a:xfrm>
            <a:custGeom>
              <a:avLst/>
              <a:gdLst>
                <a:gd name="T0" fmla="*/ 1 w 3310"/>
                <a:gd name="T1" fmla="*/ 0 h 3331"/>
                <a:gd name="T2" fmla="*/ 0 w 3310"/>
                <a:gd name="T3" fmla="*/ 1 h 3331"/>
                <a:gd name="T4" fmla="*/ 1114 w 3310"/>
                <a:gd name="T5" fmla="*/ 3331 h 3331"/>
                <a:gd name="T6" fmla="*/ 3310 w 3310"/>
                <a:gd name="T7" fmla="*/ 930 h 3331"/>
                <a:gd name="T8" fmla="*/ 1 w 3310"/>
                <a:gd name="T9" fmla="*/ 0 h 3331"/>
              </a:gdLst>
              <a:ahLst/>
              <a:cxnLst>
                <a:cxn ang="0">
                  <a:pos x="T0" y="T1"/>
                </a:cxn>
                <a:cxn ang="0">
                  <a:pos x="T2" y="T3"/>
                </a:cxn>
                <a:cxn ang="0">
                  <a:pos x="T4" y="T5"/>
                </a:cxn>
                <a:cxn ang="0">
                  <a:pos x="T6" y="T7"/>
                </a:cxn>
                <a:cxn ang="0">
                  <a:pos x="T8" y="T9"/>
                </a:cxn>
              </a:cxnLst>
              <a:rect l="0" t="0" r="r" b="b"/>
              <a:pathLst>
                <a:path w="3310" h="3331">
                  <a:moveTo>
                    <a:pt x="1" y="0"/>
                  </a:moveTo>
                  <a:lnTo>
                    <a:pt x="0" y="1"/>
                  </a:lnTo>
                  <a:lnTo>
                    <a:pt x="1114" y="3331"/>
                  </a:lnTo>
                  <a:lnTo>
                    <a:pt x="3310" y="930"/>
                  </a:lnTo>
                  <a:lnTo>
                    <a:pt x="1" y="0"/>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4" name="Freeform 299"/>
            <p:cNvSpPr>
              <a:spLocks/>
            </p:cNvSpPr>
            <p:nvPr/>
          </p:nvSpPr>
          <p:spPr bwMode="auto">
            <a:xfrm>
              <a:off x="1625204" y="315055"/>
              <a:ext cx="1462088" cy="1325854"/>
            </a:xfrm>
            <a:custGeom>
              <a:avLst/>
              <a:gdLst>
                <a:gd name="T0" fmla="*/ 2901 w 4603"/>
                <a:gd name="T1" fmla="*/ 2846 h 4171"/>
                <a:gd name="T2" fmla="*/ 4603 w 4603"/>
                <a:gd name="T3" fmla="*/ 2111 h 4171"/>
                <a:gd name="T4" fmla="*/ 1582 w 4603"/>
                <a:gd name="T5" fmla="*/ 0 h 4171"/>
                <a:gd name="T6" fmla="*/ 0 w 4603"/>
                <a:gd name="T7" fmla="*/ 1381 h 4171"/>
                <a:gd name="T8" fmla="*/ 1336 w 4603"/>
                <a:gd name="T9" fmla="*/ 4171 h 4171"/>
                <a:gd name="T10" fmla="*/ 2901 w 4603"/>
                <a:gd name="T11" fmla="*/ 2846 h 4171"/>
              </a:gdLst>
              <a:ahLst/>
              <a:cxnLst>
                <a:cxn ang="0">
                  <a:pos x="T0" y="T1"/>
                </a:cxn>
                <a:cxn ang="0">
                  <a:pos x="T2" y="T3"/>
                </a:cxn>
                <a:cxn ang="0">
                  <a:pos x="T4" y="T5"/>
                </a:cxn>
                <a:cxn ang="0">
                  <a:pos x="T6" y="T7"/>
                </a:cxn>
                <a:cxn ang="0">
                  <a:pos x="T8" y="T9"/>
                </a:cxn>
                <a:cxn ang="0">
                  <a:pos x="T10" y="T11"/>
                </a:cxn>
              </a:cxnLst>
              <a:rect l="0" t="0" r="r" b="b"/>
              <a:pathLst>
                <a:path w="4603" h="4171">
                  <a:moveTo>
                    <a:pt x="2901" y="2846"/>
                  </a:moveTo>
                  <a:lnTo>
                    <a:pt x="4603" y="2111"/>
                  </a:lnTo>
                  <a:lnTo>
                    <a:pt x="1582" y="0"/>
                  </a:lnTo>
                  <a:lnTo>
                    <a:pt x="0" y="1381"/>
                  </a:lnTo>
                  <a:lnTo>
                    <a:pt x="1336" y="4171"/>
                  </a:lnTo>
                  <a:lnTo>
                    <a:pt x="2901" y="2846"/>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5" name="Freeform 300"/>
            <p:cNvSpPr>
              <a:spLocks/>
            </p:cNvSpPr>
            <p:nvPr/>
          </p:nvSpPr>
          <p:spPr bwMode="auto">
            <a:xfrm>
              <a:off x="2050256" y="985739"/>
              <a:ext cx="1391841" cy="1058535"/>
            </a:xfrm>
            <a:custGeom>
              <a:avLst/>
              <a:gdLst>
                <a:gd name="T0" fmla="*/ 3267 w 4381"/>
                <a:gd name="T1" fmla="*/ 0 h 3330"/>
                <a:gd name="T2" fmla="*/ 1565 w 4381"/>
                <a:gd name="T3" fmla="*/ 735 h 3330"/>
                <a:gd name="T4" fmla="*/ 0 w 4381"/>
                <a:gd name="T5" fmla="*/ 2060 h 3330"/>
                <a:gd name="T6" fmla="*/ 4381 w 4381"/>
                <a:gd name="T7" fmla="*/ 3330 h 3330"/>
                <a:gd name="T8" fmla="*/ 3267 w 4381"/>
                <a:gd name="T9" fmla="*/ 0 h 3330"/>
              </a:gdLst>
              <a:ahLst/>
              <a:cxnLst>
                <a:cxn ang="0">
                  <a:pos x="T0" y="T1"/>
                </a:cxn>
                <a:cxn ang="0">
                  <a:pos x="T2" y="T3"/>
                </a:cxn>
                <a:cxn ang="0">
                  <a:pos x="T4" y="T5"/>
                </a:cxn>
                <a:cxn ang="0">
                  <a:pos x="T6" y="T7"/>
                </a:cxn>
                <a:cxn ang="0">
                  <a:pos x="T8" y="T9"/>
                </a:cxn>
              </a:cxnLst>
              <a:rect l="0" t="0" r="r" b="b"/>
              <a:pathLst>
                <a:path w="4381" h="3330">
                  <a:moveTo>
                    <a:pt x="3267" y="0"/>
                  </a:moveTo>
                  <a:lnTo>
                    <a:pt x="1565" y="735"/>
                  </a:lnTo>
                  <a:lnTo>
                    <a:pt x="0" y="2060"/>
                  </a:lnTo>
                  <a:lnTo>
                    <a:pt x="4381" y="3330"/>
                  </a:lnTo>
                  <a:lnTo>
                    <a:pt x="3267" y="0"/>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6" name="Freeform 301"/>
            <p:cNvSpPr>
              <a:spLocks/>
            </p:cNvSpPr>
            <p:nvPr/>
          </p:nvSpPr>
          <p:spPr bwMode="auto">
            <a:xfrm>
              <a:off x="3070622" y="1"/>
              <a:ext cx="996553" cy="985738"/>
            </a:xfrm>
            <a:custGeom>
              <a:avLst/>
              <a:gdLst>
                <a:gd name="T0" fmla="*/ 0 w 3136"/>
                <a:gd name="T1" fmla="*/ 0 h 3099"/>
                <a:gd name="T2" fmla="*/ 57 w 3136"/>
                <a:gd name="T3" fmla="*/ 3099 h 3099"/>
                <a:gd name="T4" fmla="*/ 3136 w 3136"/>
                <a:gd name="T5" fmla="*/ 1691 h 3099"/>
                <a:gd name="T6" fmla="*/ 0 w 3136"/>
                <a:gd name="T7" fmla="*/ 0 h 3099"/>
              </a:gdLst>
              <a:ahLst/>
              <a:cxnLst>
                <a:cxn ang="0">
                  <a:pos x="T0" y="T1"/>
                </a:cxn>
                <a:cxn ang="0">
                  <a:pos x="T2" y="T3"/>
                </a:cxn>
                <a:cxn ang="0">
                  <a:pos x="T4" y="T5"/>
                </a:cxn>
                <a:cxn ang="0">
                  <a:pos x="T6" y="T7"/>
                </a:cxn>
              </a:cxnLst>
              <a:rect l="0" t="0" r="r" b="b"/>
              <a:pathLst>
                <a:path w="3136" h="3099">
                  <a:moveTo>
                    <a:pt x="0" y="0"/>
                  </a:moveTo>
                  <a:lnTo>
                    <a:pt x="57" y="3099"/>
                  </a:lnTo>
                  <a:lnTo>
                    <a:pt x="3136" y="1691"/>
                  </a:lnTo>
                  <a:lnTo>
                    <a:pt x="0" y="0"/>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7" name="Freeform 302"/>
            <p:cNvSpPr>
              <a:spLocks/>
            </p:cNvSpPr>
            <p:nvPr/>
          </p:nvSpPr>
          <p:spPr bwMode="auto">
            <a:xfrm>
              <a:off x="3089672" y="537025"/>
              <a:ext cx="1825228" cy="744674"/>
            </a:xfrm>
            <a:custGeom>
              <a:avLst/>
              <a:gdLst>
                <a:gd name="T0" fmla="*/ 3079 w 5745"/>
                <a:gd name="T1" fmla="*/ 0 h 2338"/>
                <a:gd name="T2" fmla="*/ 0 w 5745"/>
                <a:gd name="T3" fmla="*/ 1408 h 2338"/>
                <a:gd name="T4" fmla="*/ 3309 w 5745"/>
                <a:gd name="T5" fmla="*/ 2338 h 2338"/>
                <a:gd name="T6" fmla="*/ 5745 w 5745"/>
                <a:gd name="T7" fmla="*/ 979 h 2338"/>
                <a:gd name="T8" fmla="*/ 3079 w 5745"/>
                <a:gd name="T9" fmla="*/ 0 h 2338"/>
              </a:gdLst>
              <a:ahLst/>
              <a:cxnLst>
                <a:cxn ang="0">
                  <a:pos x="T0" y="T1"/>
                </a:cxn>
                <a:cxn ang="0">
                  <a:pos x="T2" y="T3"/>
                </a:cxn>
                <a:cxn ang="0">
                  <a:pos x="T4" y="T5"/>
                </a:cxn>
                <a:cxn ang="0">
                  <a:pos x="T6" y="T7"/>
                </a:cxn>
                <a:cxn ang="0">
                  <a:pos x="T8" y="T9"/>
                </a:cxn>
              </a:cxnLst>
              <a:rect l="0" t="0" r="r" b="b"/>
              <a:pathLst>
                <a:path w="5745" h="2338">
                  <a:moveTo>
                    <a:pt x="3079" y="0"/>
                  </a:moveTo>
                  <a:lnTo>
                    <a:pt x="0" y="1408"/>
                  </a:lnTo>
                  <a:lnTo>
                    <a:pt x="3309" y="2338"/>
                  </a:lnTo>
                  <a:lnTo>
                    <a:pt x="5745" y="979"/>
                  </a:lnTo>
                  <a:lnTo>
                    <a:pt x="3079" y="0"/>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8" name="Freeform 303"/>
            <p:cNvSpPr>
              <a:spLocks/>
            </p:cNvSpPr>
            <p:nvPr/>
          </p:nvSpPr>
          <p:spPr bwMode="auto">
            <a:xfrm>
              <a:off x="3442097" y="1281699"/>
              <a:ext cx="1656159" cy="762575"/>
            </a:xfrm>
            <a:custGeom>
              <a:avLst/>
              <a:gdLst>
                <a:gd name="T0" fmla="*/ 2196 w 5210"/>
                <a:gd name="T1" fmla="*/ 0 h 2401"/>
                <a:gd name="T2" fmla="*/ 0 w 5210"/>
                <a:gd name="T3" fmla="*/ 2401 h 2401"/>
                <a:gd name="T4" fmla="*/ 5210 w 5210"/>
                <a:gd name="T5" fmla="*/ 1611 h 2401"/>
                <a:gd name="T6" fmla="*/ 2196 w 5210"/>
                <a:gd name="T7" fmla="*/ 0 h 2401"/>
              </a:gdLst>
              <a:ahLst/>
              <a:cxnLst>
                <a:cxn ang="0">
                  <a:pos x="T0" y="T1"/>
                </a:cxn>
                <a:cxn ang="0">
                  <a:pos x="T2" y="T3"/>
                </a:cxn>
                <a:cxn ang="0">
                  <a:pos x="T4" y="T5"/>
                </a:cxn>
                <a:cxn ang="0">
                  <a:pos x="T6" y="T7"/>
                </a:cxn>
              </a:cxnLst>
              <a:rect l="0" t="0" r="r" b="b"/>
              <a:pathLst>
                <a:path w="5210" h="2401">
                  <a:moveTo>
                    <a:pt x="2196" y="0"/>
                  </a:moveTo>
                  <a:lnTo>
                    <a:pt x="0" y="2401"/>
                  </a:lnTo>
                  <a:lnTo>
                    <a:pt x="5210" y="1611"/>
                  </a:lnTo>
                  <a:lnTo>
                    <a:pt x="2196" y="0"/>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59" name="Freeform 304"/>
            <p:cNvSpPr>
              <a:spLocks/>
            </p:cNvSpPr>
            <p:nvPr/>
          </p:nvSpPr>
          <p:spPr bwMode="auto">
            <a:xfrm>
              <a:off x="3388519" y="2044274"/>
              <a:ext cx="1039416" cy="1307953"/>
            </a:xfrm>
            <a:custGeom>
              <a:avLst/>
              <a:gdLst>
                <a:gd name="T0" fmla="*/ 3178 w 3266"/>
                <a:gd name="T1" fmla="*/ 2019 h 4116"/>
                <a:gd name="T2" fmla="*/ 169 w 3266"/>
                <a:gd name="T3" fmla="*/ 0 h 4116"/>
                <a:gd name="T4" fmla="*/ 0 w 3266"/>
                <a:gd name="T5" fmla="*/ 3842 h 4116"/>
                <a:gd name="T6" fmla="*/ 3266 w 3266"/>
                <a:gd name="T7" fmla="*/ 4116 h 4116"/>
                <a:gd name="T8" fmla="*/ 3178 w 3266"/>
                <a:gd name="T9" fmla="*/ 2019 h 4116"/>
              </a:gdLst>
              <a:ahLst/>
              <a:cxnLst>
                <a:cxn ang="0">
                  <a:pos x="T0" y="T1"/>
                </a:cxn>
                <a:cxn ang="0">
                  <a:pos x="T2" y="T3"/>
                </a:cxn>
                <a:cxn ang="0">
                  <a:pos x="T4" y="T5"/>
                </a:cxn>
                <a:cxn ang="0">
                  <a:pos x="T6" y="T7"/>
                </a:cxn>
                <a:cxn ang="0">
                  <a:pos x="T8" y="T9"/>
                </a:cxn>
              </a:cxnLst>
              <a:rect l="0" t="0" r="r" b="b"/>
              <a:pathLst>
                <a:path w="3266" h="4116">
                  <a:moveTo>
                    <a:pt x="3178" y="2019"/>
                  </a:moveTo>
                  <a:lnTo>
                    <a:pt x="169" y="0"/>
                  </a:lnTo>
                  <a:lnTo>
                    <a:pt x="0" y="3842"/>
                  </a:lnTo>
                  <a:lnTo>
                    <a:pt x="3266" y="4116"/>
                  </a:lnTo>
                  <a:lnTo>
                    <a:pt x="3178" y="2019"/>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0" name="Freeform 305"/>
            <p:cNvSpPr>
              <a:spLocks/>
            </p:cNvSpPr>
            <p:nvPr/>
          </p:nvSpPr>
          <p:spPr bwMode="auto">
            <a:xfrm>
              <a:off x="3442097" y="1792469"/>
              <a:ext cx="1656159" cy="893848"/>
            </a:xfrm>
            <a:custGeom>
              <a:avLst/>
              <a:gdLst>
                <a:gd name="T0" fmla="*/ 0 w 5210"/>
                <a:gd name="T1" fmla="*/ 790 h 2809"/>
                <a:gd name="T2" fmla="*/ 3009 w 5210"/>
                <a:gd name="T3" fmla="*/ 2809 h 2809"/>
                <a:gd name="T4" fmla="*/ 5210 w 5210"/>
                <a:gd name="T5" fmla="*/ 0 h 2809"/>
                <a:gd name="T6" fmla="*/ 0 w 5210"/>
                <a:gd name="T7" fmla="*/ 790 h 2809"/>
              </a:gdLst>
              <a:ahLst/>
              <a:cxnLst>
                <a:cxn ang="0">
                  <a:pos x="T0" y="T1"/>
                </a:cxn>
                <a:cxn ang="0">
                  <a:pos x="T2" y="T3"/>
                </a:cxn>
                <a:cxn ang="0">
                  <a:pos x="T4" y="T5"/>
                </a:cxn>
                <a:cxn ang="0">
                  <a:pos x="T6" y="T7"/>
                </a:cxn>
              </a:cxnLst>
              <a:rect l="0" t="0" r="r" b="b"/>
              <a:pathLst>
                <a:path w="5210" h="2809">
                  <a:moveTo>
                    <a:pt x="0" y="790"/>
                  </a:moveTo>
                  <a:lnTo>
                    <a:pt x="3009" y="2809"/>
                  </a:lnTo>
                  <a:lnTo>
                    <a:pt x="5210" y="0"/>
                  </a:lnTo>
                  <a:lnTo>
                    <a:pt x="0" y="790"/>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1" name="Freeform 306"/>
            <p:cNvSpPr>
              <a:spLocks/>
            </p:cNvSpPr>
            <p:nvPr/>
          </p:nvSpPr>
          <p:spPr bwMode="auto">
            <a:xfrm>
              <a:off x="779860" y="1"/>
              <a:ext cx="1347788" cy="952323"/>
            </a:xfrm>
            <a:custGeom>
              <a:avLst/>
              <a:gdLst>
                <a:gd name="T0" fmla="*/ 4241 w 4241"/>
                <a:gd name="T1" fmla="*/ 989 h 2994"/>
                <a:gd name="T2" fmla="*/ 3275 w 4241"/>
                <a:gd name="T3" fmla="*/ 0 h 2994"/>
                <a:gd name="T4" fmla="*/ 1995 w 4241"/>
                <a:gd name="T5" fmla="*/ 0 h 2994"/>
                <a:gd name="T6" fmla="*/ 0 w 4241"/>
                <a:gd name="T7" fmla="*/ 2994 h 2994"/>
                <a:gd name="T8" fmla="*/ 2659 w 4241"/>
                <a:gd name="T9" fmla="*/ 2370 h 2994"/>
                <a:gd name="T10" fmla="*/ 4241 w 4241"/>
                <a:gd name="T11" fmla="*/ 989 h 2994"/>
              </a:gdLst>
              <a:ahLst/>
              <a:cxnLst>
                <a:cxn ang="0">
                  <a:pos x="T0" y="T1"/>
                </a:cxn>
                <a:cxn ang="0">
                  <a:pos x="T2" y="T3"/>
                </a:cxn>
                <a:cxn ang="0">
                  <a:pos x="T4" y="T5"/>
                </a:cxn>
                <a:cxn ang="0">
                  <a:pos x="T6" y="T7"/>
                </a:cxn>
                <a:cxn ang="0">
                  <a:pos x="T8" y="T9"/>
                </a:cxn>
                <a:cxn ang="0">
                  <a:pos x="T10" y="T11"/>
                </a:cxn>
              </a:cxnLst>
              <a:rect l="0" t="0" r="r" b="b"/>
              <a:pathLst>
                <a:path w="4241" h="2994">
                  <a:moveTo>
                    <a:pt x="4241" y="989"/>
                  </a:moveTo>
                  <a:lnTo>
                    <a:pt x="3275" y="0"/>
                  </a:lnTo>
                  <a:lnTo>
                    <a:pt x="1995" y="0"/>
                  </a:lnTo>
                  <a:lnTo>
                    <a:pt x="0" y="2994"/>
                  </a:lnTo>
                  <a:lnTo>
                    <a:pt x="2659" y="2370"/>
                  </a:lnTo>
                  <a:lnTo>
                    <a:pt x="4241" y="989"/>
                  </a:lnTo>
                  <a:close/>
                </a:path>
              </a:pathLst>
            </a:custGeom>
            <a:solidFill>
              <a:srgbClr val="E7E6E6">
                <a:lumMod val="90000"/>
              </a:srgbClr>
            </a:solidFill>
            <a:ln>
              <a:noFill/>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2" name="Freeform 307"/>
            <p:cNvSpPr>
              <a:spLocks/>
            </p:cNvSpPr>
            <p:nvPr/>
          </p:nvSpPr>
          <p:spPr bwMode="auto">
            <a:xfrm>
              <a:off x="0" y="1"/>
              <a:ext cx="779860" cy="952323"/>
            </a:xfrm>
            <a:custGeom>
              <a:avLst/>
              <a:gdLst>
                <a:gd name="T0" fmla="*/ 1101 w 2454"/>
                <a:gd name="T1" fmla="*/ 0 h 2994"/>
                <a:gd name="T2" fmla="*/ 0 w 2454"/>
                <a:gd name="T3" fmla="*/ 0 h 2994"/>
                <a:gd name="T4" fmla="*/ 0 w 2454"/>
                <a:gd name="T5" fmla="*/ 2045 h 2994"/>
                <a:gd name="T6" fmla="*/ 2454 w 2454"/>
                <a:gd name="T7" fmla="*/ 2994 h 2994"/>
                <a:gd name="T8" fmla="*/ 1101 w 2454"/>
                <a:gd name="T9" fmla="*/ 0 h 2994"/>
              </a:gdLst>
              <a:ahLst/>
              <a:cxnLst>
                <a:cxn ang="0">
                  <a:pos x="T0" y="T1"/>
                </a:cxn>
                <a:cxn ang="0">
                  <a:pos x="T2" y="T3"/>
                </a:cxn>
                <a:cxn ang="0">
                  <a:pos x="T4" y="T5"/>
                </a:cxn>
                <a:cxn ang="0">
                  <a:pos x="T6" y="T7"/>
                </a:cxn>
                <a:cxn ang="0">
                  <a:pos x="T8" y="T9"/>
                </a:cxn>
              </a:cxnLst>
              <a:rect l="0" t="0" r="r" b="b"/>
              <a:pathLst>
                <a:path w="2454" h="2994">
                  <a:moveTo>
                    <a:pt x="1101" y="0"/>
                  </a:moveTo>
                  <a:lnTo>
                    <a:pt x="0" y="0"/>
                  </a:lnTo>
                  <a:lnTo>
                    <a:pt x="0" y="2045"/>
                  </a:lnTo>
                  <a:lnTo>
                    <a:pt x="2454" y="2994"/>
                  </a:lnTo>
                  <a:lnTo>
                    <a:pt x="1101" y="0"/>
                  </a:lnTo>
                  <a:close/>
                </a:path>
              </a:pathLst>
            </a:custGeom>
            <a:solidFill>
              <a:sysClr val="window" lastClr="FFFFFF">
                <a:lumMod val="95000"/>
              </a:sysClr>
            </a:solidFill>
            <a:ln>
              <a:noFill/>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3" name="Freeform 308"/>
            <p:cNvSpPr>
              <a:spLocks/>
            </p:cNvSpPr>
            <p:nvPr/>
          </p:nvSpPr>
          <p:spPr bwMode="auto">
            <a:xfrm>
              <a:off x="350044" y="1"/>
              <a:ext cx="1064419" cy="952323"/>
            </a:xfrm>
            <a:custGeom>
              <a:avLst/>
              <a:gdLst>
                <a:gd name="T0" fmla="*/ 0 w 3348"/>
                <a:gd name="T1" fmla="*/ 0 h 2994"/>
                <a:gd name="T2" fmla="*/ 1353 w 3348"/>
                <a:gd name="T3" fmla="*/ 2994 h 2994"/>
                <a:gd name="T4" fmla="*/ 3348 w 3348"/>
                <a:gd name="T5" fmla="*/ 0 h 2994"/>
                <a:gd name="T6" fmla="*/ 0 w 3348"/>
                <a:gd name="T7" fmla="*/ 0 h 2994"/>
              </a:gdLst>
              <a:ahLst/>
              <a:cxnLst>
                <a:cxn ang="0">
                  <a:pos x="T0" y="T1"/>
                </a:cxn>
                <a:cxn ang="0">
                  <a:pos x="T2" y="T3"/>
                </a:cxn>
                <a:cxn ang="0">
                  <a:pos x="T4" y="T5"/>
                </a:cxn>
                <a:cxn ang="0">
                  <a:pos x="T6" y="T7"/>
                </a:cxn>
              </a:cxnLst>
              <a:rect l="0" t="0" r="r" b="b"/>
              <a:pathLst>
                <a:path w="3348" h="2994">
                  <a:moveTo>
                    <a:pt x="0" y="0"/>
                  </a:moveTo>
                  <a:lnTo>
                    <a:pt x="1353" y="2994"/>
                  </a:lnTo>
                  <a:lnTo>
                    <a:pt x="3348" y="0"/>
                  </a:lnTo>
                  <a:lnTo>
                    <a:pt x="0" y="0"/>
                  </a:lnTo>
                  <a:close/>
                </a:path>
              </a:pathLst>
            </a:custGeom>
            <a:solidFill>
              <a:srgbClr val="E7E6E6"/>
            </a:solidFill>
            <a:ln>
              <a:noFill/>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4" name="Freeform 309"/>
            <p:cNvSpPr>
              <a:spLocks/>
            </p:cNvSpPr>
            <p:nvPr/>
          </p:nvSpPr>
          <p:spPr bwMode="auto">
            <a:xfrm>
              <a:off x="0" y="650398"/>
              <a:ext cx="825104" cy="1039440"/>
            </a:xfrm>
            <a:custGeom>
              <a:avLst/>
              <a:gdLst>
                <a:gd name="T0" fmla="*/ 2454 w 2592"/>
                <a:gd name="T1" fmla="*/ 949 h 3269"/>
                <a:gd name="T2" fmla="*/ 0 w 2592"/>
                <a:gd name="T3" fmla="*/ 0 h 3269"/>
                <a:gd name="T4" fmla="*/ 0 w 2592"/>
                <a:gd name="T5" fmla="*/ 2269 h 3269"/>
                <a:gd name="T6" fmla="*/ 2592 w 2592"/>
                <a:gd name="T7" fmla="*/ 3269 h 3269"/>
                <a:gd name="T8" fmla="*/ 2454 w 2592"/>
                <a:gd name="T9" fmla="*/ 949 h 3269"/>
              </a:gdLst>
              <a:ahLst/>
              <a:cxnLst>
                <a:cxn ang="0">
                  <a:pos x="T0" y="T1"/>
                </a:cxn>
                <a:cxn ang="0">
                  <a:pos x="T2" y="T3"/>
                </a:cxn>
                <a:cxn ang="0">
                  <a:pos x="T4" y="T5"/>
                </a:cxn>
                <a:cxn ang="0">
                  <a:pos x="T6" y="T7"/>
                </a:cxn>
                <a:cxn ang="0">
                  <a:pos x="T8" y="T9"/>
                </a:cxn>
              </a:cxnLst>
              <a:rect l="0" t="0" r="r" b="b"/>
              <a:pathLst>
                <a:path w="2592" h="3269">
                  <a:moveTo>
                    <a:pt x="2454" y="949"/>
                  </a:moveTo>
                  <a:lnTo>
                    <a:pt x="0" y="0"/>
                  </a:lnTo>
                  <a:lnTo>
                    <a:pt x="0" y="2269"/>
                  </a:lnTo>
                  <a:lnTo>
                    <a:pt x="2592" y="3269"/>
                  </a:lnTo>
                  <a:lnTo>
                    <a:pt x="2454" y="949"/>
                  </a:lnTo>
                  <a:close/>
                </a:path>
              </a:pathLst>
            </a:custGeom>
            <a:solidFill>
              <a:sysClr val="window" lastClr="FFFFFF">
                <a:lumMod val="75000"/>
              </a:sysClr>
            </a:solidFill>
            <a:ln>
              <a:noFill/>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5" name="Freeform 310"/>
            <p:cNvSpPr>
              <a:spLocks/>
            </p:cNvSpPr>
            <p:nvPr/>
          </p:nvSpPr>
          <p:spPr bwMode="auto">
            <a:xfrm>
              <a:off x="0" y="1371204"/>
              <a:ext cx="825104" cy="842532"/>
            </a:xfrm>
            <a:custGeom>
              <a:avLst/>
              <a:gdLst>
                <a:gd name="T0" fmla="*/ 0 w 2592"/>
                <a:gd name="T1" fmla="*/ 2652 h 2652"/>
                <a:gd name="T2" fmla="*/ 2592 w 2592"/>
                <a:gd name="T3" fmla="*/ 1000 h 2652"/>
                <a:gd name="T4" fmla="*/ 0 w 2592"/>
                <a:gd name="T5" fmla="*/ 0 h 2652"/>
                <a:gd name="T6" fmla="*/ 0 w 2592"/>
                <a:gd name="T7" fmla="*/ 2652 h 2652"/>
              </a:gdLst>
              <a:ahLst/>
              <a:cxnLst>
                <a:cxn ang="0">
                  <a:pos x="T0" y="T1"/>
                </a:cxn>
                <a:cxn ang="0">
                  <a:pos x="T2" y="T3"/>
                </a:cxn>
                <a:cxn ang="0">
                  <a:pos x="T4" y="T5"/>
                </a:cxn>
                <a:cxn ang="0">
                  <a:pos x="T6" y="T7"/>
                </a:cxn>
              </a:cxnLst>
              <a:rect l="0" t="0" r="r" b="b"/>
              <a:pathLst>
                <a:path w="2592" h="2652">
                  <a:moveTo>
                    <a:pt x="0" y="2652"/>
                  </a:moveTo>
                  <a:lnTo>
                    <a:pt x="2592" y="1000"/>
                  </a:lnTo>
                  <a:lnTo>
                    <a:pt x="0" y="0"/>
                  </a:lnTo>
                  <a:lnTo>
                    <a:pt x="0" y="2652"/>
                  </a:lnTo>
                  <a:close/>
                </a:path>
              </a:pathLst>
            </a:custGeom>
            <a:solidFill>
              <a:srgbClr val="E7E6E6"/>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6" name="Freeform 311"/>
            <p:cNvSpPr>
              <a:spLocks/>
            </p:cNvSpPr>
            <p:nvPr/>
          </p:nvSpPr>
          <p:spPr bwMode="auto">
            <a:xfrm>
              <a:off x="0" y="1689838"/>
              <a:ext cx="1157288" cy="1284085"/>
            </a:xfrm>
            <a:custGeom>
              <a:avLst/>
              <a:gdLst>
                <a:gd name="T0" fmla="*/ 2592 w 3640"/>
                <a:gd name="T1" fmla="*/ 0 h 4042"/>
                <a:gd name="T2" fmla="*/ 0 w 3640"/>
                <a:gd name="T3" fmla="*/ 1652 h 4042"/>
                <a:gd name="T4" fmla="*/ 1371 w 3640"/>
                <a:gd name="T5" fmla="*/ 4042 h 4042"/>
                <a:gd name="T6" fmla="*/ 3640 w 3640"/>
                <a:gd name="T7" fmla="*/ 3112 h 4042"/>
                <a:gd name="T8" fmla="*/ 2592 w 3640"/>
                <a:gd name="T9" fmla="*/ 0 h 4042"/>
              </a:gdLst>
              <a:ahLst/>
              <a:cxnLst>
                <a:cxn ang="0">
                  <a:pos x="T0" y="T1"/>
                </a:cxn>
                <a:cxn ang="0">
                  <a:pos x="T2" y="T3"/>
                </a:cxn>
                <a:cxn ang="0">
                  <a:pos x="T4" y="T5"/>
                </a:cxn>
                <a:cxn ang="0">
                  <a:pos x="T6" y="T7"/>
                </a:cxn>
                <a:cxn ang="0">
                  <a:pos x="T8" y="T9"/>
                </a:cxn>
              </a:cxnLst>
              <a:rect l="0" t="0" r="r" b="b"/>
              <a:pathLst>
                <a:path w="3640" h="4042">
                  <a:moveTo>
                    <a:pt x="2592" y="0"/>
                  </a:moveTo>
                  <a:lnTo>
                    <a:pt x="0" y="1652"/>
                  </a:lnTo>
                  <a:lnTo>
                    <a:pt x="1371" y="4042"/>
                  </a:lnTo>
                  <a:lnTo>
                    <a:pt x="3640" y="3112"/>
                  </a:lnTo>
                  <a:lnTo>
                    <a:pt x="2592" y="0"/>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7" name="Freeform 312"/>
            <p:cNvSpPr>
              <a:spLocks/>
            </p:cNvSpPr>
            <p:nvPr/>
          </p:nvSpPr>
          <p:spPr bwMode="auto">
            <a:xfrm>
              <a:off x="1157288" y="2654095"/>
              <a:ext cx="894160" cy="838952"/>
            </a:xfrm>
            <a:custGeom>
              <a:avLst/>
              <a:gdLst>
                <a:gd name="T0" fmla="*/ 2816 w 2816"/>
                <a:gd name="T1" fmla="*/ 1 h 2636"/>
                <a:gd name="T2" fmla="*/ 2815 w 2816"/>
                <a:gd name="T3" fmla="*/ 0 h 2636"/>
                <a:gd name="T4" fmla="*/ 0 w 2816"/>
                <a:gd name="T5" fmla="*/ 75 h 2636"/>
                <a:gd name="T6" fmla="*/ 1129 w 2816"/>
                <a:gd name="T7" fmla="*/ 2636 h 2636"/>
                <a:gd name="T8" fmla="*/ 2816 w 2816"/>
                <a:gd name="T9" fmla="*/ 1 h 2636"/>
              </a:gdLst>
              <a:ahLst/>
              <a:cxnLst>
                <a:cxn ang="0">
                  <a:pos x="T0" y="T1"/>
                </a:cxn>
                <a:cxn ang="0">
                  <a:pos x="T2" y="T3"/>
                </a:cxn>
                <a:cxn ang="0">
                  <a:pos x="T4" y="T5"/>
                </a:cxn>
                <a:cxn ang="0">
                  <a:pos x="T6" y="T7"/>
                </a:cxn>
                <a:cxn ang="0">
                  <a:pos x="T8" y="T9"/>
                </a:cxn>
              </a:cxnLst>
              <a:rect l="0" t="0" r="r" b="b"/>
              <a:pathLst>
                <a:path w="2816" h="2636">
                  <a:moveTo>
                    <a:pt x="2816" y="1"/>
                  </a:moveTo>
                  <a:lnTo>
                    <a:pt x="2815" y="0"/>
                  </a:lnTo>
                  <a:lnTo>
                    <a:pt x="0" y="75"/>
                  </a:lnTo>
                  <a:lnTo>
                    <a:pt x="1129" y="2636"/>
                  </a:lnTo>
                  <a:lnTo>
                    <a:pt x="2816" y="1"/>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8" name="Freeform 313"/>
            <p:cNvSpPr>
              <a:spLocks/>
            </p:cNvSpPr>
            <p:nvPr/>
          </p:nvSpPr>
          <p:spPr bwMode="auto">
            <a:xfrm>
              <a:off x="2051447" y="2654095"/>
              <a:ext cx="1337072" cy="1138492"/>
            </a:xfrm>
            <a:custGeom>
              <a:avLst/>
              <a:gdLst>
                <a:gd name="T0" fmla="*/ 0 w 4206"/>
                <a:gd name="T1" fmla="*/ 0 h 3576"/>
                <a:gd name="T2" fmla="*/ 1 w 4206"/>
                <a:gd name="T3" fmla="*/ 1 h 3576"/>
                <a:gd name="T4" fmla="*/ 865 w 4206"/>
                <a:gd name="T5" fmla="*/ 3576 h 3576"/>
                <a:gd name="T6" fmla="*/ 4206 w 4206"/>
                <a:gd name="T7" fmla="*/ 1921 h 3576"/>
                <a:gd name="T8" fmla="*/ 1 w 4206"/>
                <a:gd name="T9" fmla="*/ 0 h 3576"/>
                <a:gd name="T10" fmla="*/ 0 w 4206"/>
                <a:gd name="T11" fmla="*/ 0 h 3576"/>
              </a:gdLst>
              <a:ahLst/>
              <a:cxnLst>
                <a:cxn ang="0">
                  <a:pos x="T0" y="T1"/>
                </a:cxn>
                <a:cxn ang="0">
                  <a:pos x="T2" y="T3"/>
                </a:cxn>
                <a:cxn ang="0">
                  <a:pos x="T4" y="T5"/>
                </a:cxn>
                <a:cxn ang="0">
                  <a:pos x="T6" y="T7"/>
                </a:cxn>
                <a:cxn ang="0">
                  <a:pos x="T8" y="T9"/>
                </a:cxn>
                <a:cxn ang="0">
                  <a:pos x="T10" y="T11"/>
                </a:cxn>
              </a:cxnLst>
              <a:rect l="0" t="0" r="r" b="b"/>
              <a:pathLst>
                <a:path w="4206" h="3576">
                  <a:moveTo>
                    <a:pt x="0" y="0"/>
                  </a:moveTo>
                  <a:lnTo>
                    <a:pt x="1" y="1"/>
                  </a:lnTo>
                  <a:lnTo>
                    <a:pt x="865" y="3576"/>
                  </a:lnTo>
                  <a:lnTo>
                    <a:pt x="4206" y="1921"/>
                  </a:lnTo>
                  <a:lnTo>
                    <a:pt x="1" y="0"/>
                  </a:lnTo>
                  <a:lnTo>
                    <a:pt x="0" y="0"/>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69" name="Freeform 314"/>
            <p:cNvSpPr>
              <a:spLocks/>
            </p:cNvSpPr>
            <p:nvPr/>
          </p:nvSpPr>
          <p:spPr bwMode="auto">
            <a:xfrm>
              <a:off x="2051447" y="2654095"/>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FFFFFF"/>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0" name="Freeform 315"/>
            <p:cNvSpPr>
              <a:spLocks/>
            </p:cNvSpPr>
            <p:nvPr/>
          </p:nvSpPr>
          <p:spPr bwMode="auto">
            <a:xfrm>
              <a:off x="2050256" y="1640909"/>
              <a:ext cx="1391841" cy="1013186"/>
            </a:xfrm>
            <a:custGeom>
              <a:avLst/>
              <a:gdLst>
                <a:gd name="T0" fmla="*/ 6 w 4381"/>
                <a:gd name="T1" fmla="*/ 3191 h 3191"/>
                <a:gd name="T2" fmla="*/ 7 w 4381"/>
                <a:gd name="T3" fmla="*/ 3191 h 3191"/>
                <a:gd name="T4" fmla="*/ 4381 w 4381"/>
                <a:gd name="T5" fmla="*/ 1270 h 3191"/>
                <a:gd name="T6" fmla="*/ 0 w 4381"/>
                <a:gd name="T7" fmla="*/ 0 h 3191"/>
                <a:gd name="T8" fmla="*/ 6 w 4381"/>
                <a:gd name="T9" fmla="*/ 3191 h 3191"/>
              </a:gdLst>
              <a:ahLst/>
              <a:cxnLst>
                <a:cxn ang="0">
                  <a:pos x="T0" y="T1"/>
                </a:cxn>
                <a:cxn ang="0">
                  <a:pos x="T2" y="T3"/>
                </a:cxn>
                <a:cxn ang="0">
                  <a:pos x="T4" y="T5"/>
                </a:cxn>
                <a:cxn ang="0">
                  <a:pos x="T6" y="T7"/>
                </a:cxn>
                <a:cxn ang="0">
                  <a:pos x="T8" y="T9"/>
                </a:cxn>
              </a:cxnLst>
              <a:rect l="0" t="0" r="r" b="b"/>
              <a:pathLst>
                <a:path w="4381" h="3191">
                  <a:moveTo>
                    <a:pt x="6" y="3191"/>
                  </a:moveTo>
                  <a:lnTo>
                    <a:pt x="7" y="3191"/>
                  </a:lnTo>
                  <a:lnTo>
                    <a:pt x="4381" y="1270"/>
                  </a:lnTo>
                  <a:lnTo>
                    <a:pt x="0" y="0"/>
                  </a:lnTo>
                  <a:lnTo>
                    <a:pt x="6" y="3191"/>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1" name="Freeform 316"/>
            <p:cNvSpPr>
              <a:spLocks/>
            </p:cNvSpPr>
            <p:nvPr/>
          </p:nvSpPr>
          <p:spPr bwMode="auto">
            <a:xfrm>
              <a:off x="1157288" y="1640909"/>
              <a:ext cx="894160" cy="1037053"/>
            </a:xfrm>
            <a:custGeom>
              <a:avLst/>
              <a:gdLst>
                <a:gd name="T0" fmla="*/ 2815 w 2815"/>
                <a:gd name="T1" fmla="*/ 3191 h 3266"/>
                <a:gd name="T2" fmla="*/ 2809 w 2815"/>
                <a:gd name="T3" fmla="*/ 0 h 3266"/>
                <a:gd name="T4" fmla="*/ 0 w 2815"/>
                <a:gd name="T5" fmla="*/ 3266 h 3266"/>
                <a:gd name="T6" fmla="*/ 2815 w 2815"/>
                <a:gd name="T7" fmla="*/ 3191 h 3266"/>
              </a:gdLst>
              <a:ahLst/>
              <a:cxnLst>
                <a:cxn ang="0">
                  <a:pos x="T0" y="T1"/>
                </a:cxn>
                <a:cxn ang="0">
                  <a:pos x="T2" y="T3"/>
                </a:cxn>
                <a:cxn ang="0">
                  <a:pos x="T4" y="T5"/>
                </a:cxn>
                <a:cxn ang="0">
                  <a:pos x="T6" y="T7"/>
                </a:cxn>
              </a:cxnLst>
              <a:rect l="0" t="0" r="r" b="b"/>
              <a:pathLst>
                <a:path w="2815" h="3266">
                  <a:moveTo>
                    <a:pt x="2815" y="3191"/>
                  </a:moveTo>
                  <a:lnTo>
                    <a:pt x="2809" y="0"/>
                  </a:lnTo>
                  <a:lnTo>
                    <a:pt x="0" y="3266"/>
                  </a:lnTo>
                  <a:lnTo>
                    <a:pt x="2815" y="3191"/>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2" name="Freeform 317"/>
            <p:cNvSpPr>
              <a:spLocks/>
            </p:cNvSpPr>
            <p:nvPr/>
          </p:nvSpPr>
          <p:spPr bwMode="auto">
            <a:xfrm>
              <a:off x="825104" y="1640909"/>
              <a:ext cx="1225153" cy="1037053"/>
            </a:xfrm>
            <a:custGeom>
              <a:avLst/>
              <a:gdLst>
                <a:gd name="T0" fmla="*/ 1048 w 3857"/>
                <a:gd name="T1" fmla="*/ 3266 h 3266"/>
                <a:gd name="T2" fmla="*/ 3857 w 3857"/>
                <a:gd name="T3" fmla="*/ 0 h 3266"/>
                <a:gd name="T4" fmla="*/ 0 w 3857"/>
                <a:gd name="T5" fmla="*/ 154 h 3266"/>
                <a:gd name="T6" fmla="*/ 1048 w 3857"/>
                <a:gd name="T7" fmla="*/ 3266 h 3266"/>
              </a:gdLst>
              <a:ahLst/>
              <a:cxnLst>
                <a:cxn ang="0">
                  <a:pos x="T0" y="T1"/>
                </a:cxn>
                <a:cxn ang="0">
                  <a:pos x="T2" y="T3"/>
                </a:cxn>
                <a:cxn ang="0">
                  <a:pos x="T4" y="T5"/>
                </a:cxn>
                <a:cxn ang="0">
                  <a:pos x="T6" y="T7"/>
                </a:cxn>
              </a:cxnLst>
              <a:rect l="0" t="0" r="r" b="b"/>
              <a:pathLst>
                <a:path w="3857" h="3266">
                  <a:moveTo>
                    <a:pt x="1048" y="3266"/>
                  </a:moveTo>
                  <a:lnTo>
                    <a:pt x="3857" y="0"/>
                  </a:lnTo>
                  <a:lnTo>
                    <a:pt x="0" y="154"/>
                  </a:lnTo>
                  <a:lnTo>
                    <a:pt x="1048" y="3266"/>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3" name="Freeform 318"/>
            <p:cNvSpPr>
              <a:spLocks/>
            </p:cNvSpPr>
            <p:nvPr/>
          </p:nvSpPr>
          <p:spPr bwMode="auto">
            <a:xfrm>
              <a:off x="779860" y="753029"/>
              <a:ext cx="1270397" cy="936809"/>
            </a:xfrm>
            <a:custGeom>
              <a:avLst/>
              <a:gdLst>
                <a:gd name="T0" fmla="*/ 3995 w 3995"/>
                <a:gd name="T1" fmla="*/ 2790 h 2944"/>
                <a:gd name="T2" fmla="*/ 2659 w 3995"/>
                <a:gd name="T3" fmla="*/ 0 h 2944"/>
                <a:gd name="T4" fmla="*/ 0 w 3995"/>
                <a:gd name="T5" fmla="*/ 624 h 2944"/>
                <a:gd name="T6" fmla="*/ 138 w 3995"/>
                <a:gd name="T7" fmla="*/ 2944 h 2944"/>
                <a:gd name="T8" fmla="*/ 3995 w 3995"/>
                <a:gd name="T9" fmla="*/ 2790 h 2944"/>
              </a:gdLst>
              <a:ahLst/>
              <a:cxnLst>
                <a:cxn ang="0">
                  <a:pos x="T0" y="T1"/>
                </a:cxn>
                <a:cxn ang="0">
                  <a:pos x="T2" y="T3"/>
                </a:cxn>
                <a:cxn ang="0">
                  <a:pos x="T4" y="T5"/>
                </a:cxn>
                <a:cxn ang="0">
                  <a:pos x="T6" y="T7"/>
                </a:cxn>
                <a:cxn ang="0">
                  <a:pos x="T8" y="T9"/>
                </a:cxn>
              </a:cxnLst>
              <a:rect l="0" t="0" r="r" b="b"/>
              <a:pathLst>
                <a:path w="3995" h="2944">
                  <a:moveTo>
                    <a:pt x="3995" y="2790"/>
                  </a:moveTo>
                  <a:lnTo>
                    <a:pt x="2659" y="0"/>
                  </a:lnTo>
                  <a:lnTo>
                    <a:pt x="0" y="624"/>
                  </a:lnTo>
                  <a:lnTo>
                    <a:pt x="138" y="2944"/>
                  </a:lnTo>
                  <a:lnTo>
                    <a:pt x="3995" y="2790"/>
                  </a:lnTo>
                  <a:close/>
                </a:path>
              </a:pathLst>
            </a:custGeom>
            <a:solidFill>
              <a:sysClr val="window" lastClr="FFFFFF">
                <a:lumMod val="95000"/>
              </a:sysClr>
            </a:solidFill>
            <a:ln>
              <a:noFill/>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4" name="Freeform 319"/>
            <p:cNvSpPr>
              <a:spLocks/>
            </p:cNvSpPr>
            <p:nvPr/>
          </p:nvSpPr>
          <p:spPr bwMode="auto">
            <a:xfrm>
              <a:off x="435769" y="2677962"/>
              <a:ext cx="1079897" cy="1441612"/>
            </a:xfrm>
            <a:custGeom>
              <a:avLst/>
              <a:gdLst>
                <a:gd name="T0" fmla="*/ 0 w 3398"/>
                <a:gd name="T1" fmla="*/ 930 h 4535"/>
                <a:gd name="T2" fmla="*/ 1124 w 3398"/>
                <a:gd name="T3" fmla="*/ 4535 h 4535"/>
                <a:gd name="T4" fmla="*/ 3398 w 3398"/>
                <a:gd name="T5" fmla="*/ 2561 h 4535"/>
                <a:gd name="T6" fmla="*/ 2269 w 3398"/>
                <a:gd name="T7" fmla="*/ 0 h 4535"/>
                <a:gd name="T8" fmla="*/ 0 w 3398"/>
                <a:gd name="T9" fmla="*/ 930 h 4535"/>
              </a:gdLst>
              <a:ahLst/>
              <a:cxnLst>
                <a:cxn ang="0">
                  <a:pos x="T0" y="T1"/>
                </a:cxn>
                <a:cxn ang="0">
                  <a:pos x="T2" y="T3"/>
                </a:cxn>
                <a:cxn ang="0">
                  <a:pos x="T4" y="T5"/>
                </a:cxn>
                <a:cxn ang="0">
                  <a:pos x="T6" y="T7"/>
                </a:cxn>
                <a:cxn ang="0">
                  <a:pos x="T8" y="T9"/>
                </a:cxn>
              </a:cxnLst>
              <a:rect l="0" t="0" r="r" b="b"/>
              <a:pathLst>
                <a:path w="3398" h="4535">
                  <a:moveTo>
                    <a:pt x="0" y="930"/>
                  </a:moveTo>
                  <a:lnTo>
                    <a:pt x="1124" y="4535"/>
                  </a:lnTo>
                  <a:lnTo>
                    <a:pt x="3398" y="2561"/>
                  </a:lnTo>
                  <a:lnTo>
                    <a:pt x="2269" y="0"/>
                  </a:lnTo>
                  <a:lnTo>
                    <a:pt x="0" y="930"/>
                  </a:lnTo>
                  <a:close/>
                </a:path>
              </a:pathLst>
            </a:custGeom>
            <a:solidFill>
              <a:sysClr val="window" lastClr="FFFFFF">
                <a:lumMod val="6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5" name="Freeform 320"/>
            <p:cNvSpPr>
              <a:spLocks/>
            </p:cNvSpPr>
            <p:nvPr/>
          </p:nvSpPr>
          <p:spPr bwMode="auto">
            <a:xfrm>
              <a:off x="0" y="2973923"/>
              <a:ext cx="792956" cy="1145652"/>
            </a:xfrm>
            <a:custGeom>
              <a:avLst/>
              <a:gdLst>
                <a:gd name="T0" fmla="*/ 1371 w 2495"/>
                <a:gd name="T1" fmla="*/ 0 h 3605"/>
                <a:gd name="T2" fmla="*/ 0 w 2495"/>
                <a:gd name="T3" fmla="*/ 1203 h 3605"/>
                <a:gd name="T4" fmla="*/ 0 w 2495"/>
                <a:gd name="T5" fmla="*/ 3203 h 3605"/>
                <a:gd name="T6" fmla="*/ 2495 w 2495"/>
                <a:gd name="T7" fmla="*/ 3605 h 3605"/>
                <a:gd name="T8" fmla="*/ 1371 w 2495"/>
                <a:gd name="T9" fmla="*/ 0 h 3605"/>
              </a:gdLst>
              <a:ahLst/>
              <a:cxnLst>
                <a:cxn ang="0">
                  <a:pos x="T0" y="T1"/>
                </a:cxn>
                <a:cxn ang="0">
                  <a:pos x="T2" y="T3"/>
                </a:cxn>
                <a:cxn ang="0">
                  <a:pos x="T4" y="T5"/>
                </a:cxn>
                <a:cxn ang="0">
                  <a:pos x="T6" y="T7"/>
                </a:cxn>
                <a:cxn ang="0">
                  <a:pos x="T8" y="T9"/>
                </a:cxn>
              </a:cxnLst>
              <a:rect l="0" t="0" r="r" b="b"/>
              <a:pathLst>
                <a:path w="2495" h="3605">
                  <a:moveTo>
                    <a:pt x="1371" y="0"/>
                  </a:moveTo>
                  <a:lnTo>
                    <a:pt x="0" y="1203"/>
                  </a:lnTo>
                  <a:lnTo>
                    <a:pt x="0" y="3203"/>
                  </a:lnTo>
                  <a:lnTo>
                    <a:pt x="2495" y="3605"/>
                  </a:lnTo>
                  <a:lnTo>
                    <a:pt x="1371" y="0"/>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6" name="Freeform 321"/>
            <p:cNvSpPr>
              <a:spLocks/>
            </p:cNvSpPr>
            <p:nvPr/>
          </p:nvSpPr>
          <p:spPr bwMode="auto">
            <a:xfrm>
              <a:off x="0" y="2213735"/>
              <a:ext cx="435769" cy="1143265"/>
            </a:xfrm>
            <a:custGeom>
              <a:avLst/>
              <a:gdLst>
                <a:gd name="T0" fmla="*/ 0 w 1371"/>
                <a:gd name="T1" fmla="*/ 3593 h 3593"/>
                <a:gd name="T2" fmla="*/ 1371 w 1371"/>
                <a:gd name="T3" fmla="*/ 2390 h 3593"/>
                <a:gd name="T4" fmla="*/ 0 w 1371"/>
                <a:gd name="T5" fmla="*/ 0 h 3593"/>
                <a:gd name="T6" fmla="*/ 0 w 1371"/>
                <a:gd name="T7" fmla="*/ 3593 h 3593"/>
              </a:gdLst>
              <a:ahLst/>
              <a:cxnLst>
                <a:cxn ang="0">
                  <a:pos x="T0" y="T1"/>
                </a:cxn>
                <a:cxn ang="0">
                  <a:pos x="T2" y="T3"/>
                </a:cxn>
                <a:cxn ang="0">
                  <a:pos x="T4" y="T5"/>
                </a:cxn>
                <a:cxn ang="0">
                  <a:pos x="T6" y="T7"/>
                </a:cxn>
              </a:cxnLst>
              <a:rect l="0" t="0" r="r" b="b"/>
              <a:pathLst>
                <a:path w="1371" h="3593">
                  <a:moveTo>
                    <a:pt x="0" y="3593"/>
                  </a:moveTo>
                  <a:lnTo>
                    <a:pt x="1371" y="2390"/>
                  </a:lnTo>
                  <a:lnTo>
                    <a:pt x="0" y="0"/>
                  </a:lnTo>
                  <a:lnTo>
                    <a:pt x="0" y="3593"/>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7" name="Freeform 322"/>
            <p:cNvSpPr>
              <a:spLocks/>
            </p:cNvSpPr>
            <p:nvPr/>
          </p:nvSpPr>
          <p:spPr bwMode="auto">
            <a:xfrm>
              <a:off x="0" y="3993075"/>
              <a:ext cx="792956" cy="811503"/>
            </a:xfrm>
            <a:custGeom>
              <a:avLst/>
              <a:gdLst>
                <a:gd name="T0" fmla="*/ 2495 w 2495"/>
                <a:gd name="T1" fmla="*/ 402 h 2554"/>
                <a:gd name="T2" fmla="*/ 0 w 2495"/>
                <a:gd name="T3" fmla="*/ 0 h 2554"/>
                <a:gd name="T4" fmla="*/ 0 w 2495"/>
                <a:gd name="T5" fmla="*/ 2554 h 2554"/>
                <a:gd name="T6" fmla="*/ 2495 w 2495"/>
                <a:gd name="T7" fmla="*/ 402 h 2554"/>
              </a:gdLst>
              <a:ahLst/>
              <a:cxnLst>
                <a:cxn ang="0">
                  <a:pos x="T0" y="T1"/>
                </a:cxn>
                <a:cxn ang="0">
                  <a:pos x="T2" y="T3"/>
                </a:cxn>
                <a:cxn ang="0">
                  <a:pos x="T4" y="T5"/>
                </a:cxn>
                <a:cxn ang="0">
                  <a:pos x="T6" y="T7"/>
                </a:cxn>
              </a:cxnLst>
              <a:rect l="0" t="0" r="r" b="b"/>
              <a:pathLst>
                <a:path w="2495" h="2554">
                  <a:moveTo>
                    <a:pt x="2495" y="402"/>
                  </a:moveTo>
                  <a:lnTo>
                    <a:pt x="0" y="0"/>
                  </a:lnTo>
                  <a:lnTo>
                    <a:pt x="0" y="2554"/>
                  </a:lnTo>
                  <a:lnTo>
                    <a:pt x="2495" y="402"/>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8" name="Freeform 323"/>
            <p:cNvSpPr>
              <a:spLocks/>
            </p:cNvSpPr>
            <p:nvPr/>
          </p:nvSpPr>
          <p:spPr bwMode="auto">
            <a:xfrm>
              <a:off x="839391" y="4631538"/>
              <a:ext cx="838200" cy="511963"/>
            </a:xfrm>
            <a:custGeom>
              <a:avLst/>
              <a:gdLst>
                <a:gd name="T0" fmla="*/ 627 w 2640"/>
                <a:gd name="T1" fmla="*/ 0 h 1608"/>
                <a:gd name="T2" fmla="*/ 0 w 2640"/>
                <a:gd name="T3" fmla="*/ 1608 h 1608"/>
                <a:gd name="T4" fmla="*/ 2640 w 2640"/>
                <a:gd name="T5" fmla="*/ 1608 h 1608"/>
                <a:gd name="T6" fmla="*/ 627 w 2640"/>
                <a:gd name="T7" fmla="*/ 0 h 1608"/>
              </a:gdLst>
              <a:ahLst/>
              <a:cxnLst>
                <a:cxn ang="0">
                  <a:pos x="T0" y="T1"/>
                </a:cxn>
                <a:cxn ang="0">
                  <a:pos x="T2" y="T3"/>
                </a:cxn>
                <a:cxn ang="0">
                  <a:pos x="T4" y="T5"/>
                </a:cxn>
                <a:cxn ang="0">
                  <a:pos x="T6" y="T7"/>
                </a:cxn>
              </a:cxnLst>
              <a:rect l="0" t="0" r="r" b="b"/>
              <a:pathLst>
                <a:path w="2640" h="1608">
                  <a:moveTo>
                    <a:pt x="627" y="0"/>
                  </a:moveTo>
                  <a:lnTo>
                    <a:pt x="0" y="1608"/>
                  </a:lnTo>
                  <a:lnTo>
                    <a:pt x="2640" y="1608"/>
                  </a:lnTo>
                  <a:lnTo>
                    <a:pt x="627" y="0"/>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79" name="Freeform 324"/>
            <p:cNvSpPr>
              <a:spLocks/>
            </p:cNvSpPr>
            <p:nvPr/>
          </p:nvSpPr>
          <p:spPr bwMode="auto">
            <a:xfrm>
              <a:off x="0" y="4119575"/>
              <a:ext cx="1039416" cy="1023926"/>
            </a:xfrm>
            <a:custGeom>
              <a:avLst/>
              <a:gdLst>
                <a:gd name="T0" fmla="*/ 2640 w 3267"/>
                <a:gd name="T1" fmla="*/ 3217 h 3217"/>
                <a:gd name="T2" fmla="*/ 3267 w 3267"/>
                <a:gd name="T3" fmla="*/ 1609 h 3217"/>
                <a:gd name="T4" fmla="*/ 2495 w 3267"/>
                <a:gd name="T5" fmla="*/ 0 h 3217"/>
                <a:gd name="T6" fmla="*/ 0 w 3267"/>
                <a:gd name="T7" fmla="*/ 2152 h 3217"/>
                <a:gd name="T8" fmla="*/ 0 w 3267"/>
                <a:gd name="T9" fmla="*/ 3217 h 3217"/>
                <a:gd name="T10" fmla="*/ 2640 w 3267"/>
                <a:gd name="T11" fmla="*/ 3217 h 3217"/>
              </a:gdLst>
              <a:ahLst/>
              <a:cxnLst>
                <a:cxn ang="0">
                  <a:pos x="T0" y="T1"/>
                </a:cxn>
                <a:cxn ang="0">
                  <a:pos x="T2" y="T3"/>
                </a:cxn>
                <a:cxn ang="0">
                  <a:pos x="T4" y="T5"/>
                </a:cxn>
                <a:cxn ang="0">
                  <a:pos x="T6" y="T7"/>
                </a:cxn>
                <a:cxn ang="0">
                  <a:pos x="T8" y="T9"/>
                </a:cxn>
                <a:cxn ang="0">
                  <a:pos x="T10" y="T11"/>
                </a:cxn>
              </a:cxnLst>
              <a:rect l="0" t="0" r="r" b="b"/>
              <a:pathLst>
                <a:path w="3267" h="3217">
                  <a:moveTo>
                    <a:pt x="2640" y="3217"/>
                  </a:moveTo>
                  <a:lnTo>
                    <a:pt x="3267" y="1609"/>
                  </a:lnTo>
                  <a:lnTo>
                    <a:pt x="2495" y="0"/>
                  </a:lnTo>
                  <a:lnTo>
                    <a:pt x="0" y="2152"/>
                  </a:lnTo>
                  <a:lnTo>
                    <a:pt x="0" y="3217"/>
                  </a:lnTo>
                  <a:lnTo>
                    <a:pt x="2640" y="3217"/>
                  </a:lnTo>
                  <a:close/>
                </a:path>
              </a:pathLst>
            </a:custGeom>
            <a:solidFill>
              <a:sysClr val="window" lastClr="FFFFFF">
                <a:lumMod val="6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0" name="Freeform 325"/>
            <p:cNvSpPr>
              <a:spLocks/>
            </p:cNvSpPr>
            <p:nvPr/>
          </p:nvSpPr>
          <p:spPr bwMode="auto">
            <a:xfrm>
              <a:off x="1677591" y="4493105"/>
              <a:ext cx="1414463" cy="650396"/>
            </a:xfrm>
            <a:custGeom>
              <a:avLst/>
              <a:gdLst>
                <a:gd name="T0" fmla="*/ 1478 w 4447"/>
                <a:gd name="T1" fmla="*/ 334 h 2046"/>
                <a:gd name="T2" fmla="*/ 0 w 4447"/>
                <a:gd name="T3" fmla="*/ 2046 h 2046"/>
                <a:gd name="T4" fmla="*/ 3122 w 4447"/>
                <a:gd name="T5" fmla="*/ 2046 h 2046"/>
                <a:gd name="T6" fmla="*/ 4447 w 4447"/>
                <a:gd name="T7" fmla="*/ 0 h 2046"/>
                <a:gd name="T8" fmla="*/ 1478 w 4447"/>
                <a:gd name="T9" fmla="*/ 334 h 2046"/>
              </a:gdLst>
              <a:ahLst/>
              <a:cxnLst>
                <a:cxn ang="0">
                  <a:pos x="T0" y="T1"/>
                </a:cxn>
                <a:cxn ang="0">
                  <a:pos x="T2" y="T3"/>
                </a:cxn>
                <a:cxn ang="0">
                  <a:pos x="T4" y="T5"/>
                </a:cxn>
                <a:cxn ang="0">
                  <a:pos x="T6" y="T7"/>
                </a:cxn>
                <a:cxn ang="0">
                  <a:pos x="T8" y="T9"/>
                </a:cxn>
              </a:cxnLst>
              <a:rect l="0" t="0" r="r" b="b"/>
              <a:pathLst>
                <a:path w="4447" h="2046">
                  <a:moveTo>
                    <a:pt x="1478" y="334"/>
                  </a:moveTo>
                  <a:lnTo>
                    <a:pt x="0" y="2046"/>
                  </a:lnTo>
                  <a:lnTo>
                    <a:pt x="3122" y="2046"/>
                  </a:lnTo>
                  <a:lnTo>
                    <a:pt x="4447" y="0"/>
                  </a:lnTo>
                  <a:lnTo>
                    <a:pt x="1478" y="334"/>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1" name="Freeform 326"/>
            <p:cNvSpPr>
              <a:spLocks/>
            </p:cNvSpPr>
            <p:nvPr/>
          </p:nvSpPr>
          <p:spPr bwMode="auto">
            <a:xfrm>
              <a:off x="1515666" y="3493047"/>
              <a:ext cx="810815" cy="1650454"/>
            </a:xfrm>
            <a:custGeom>
              <a:avLst/>
              <a:gdLst>
                <a:gd name="T0" fmla="*/ 511 w 2551"/>
                <a:gd name="T1" fmla="*/ 5191 h 5191"/>
                <a:gd name="T2" fmla="*/ 1989 w 2551"/>
                <a:gd name="T3" fmla="*/ 3479 h 5191"/>
                <a:gd name="T4" fmla="*/ 2551 w 2551"/>
                <a:gd name="T5" fmla="*/ 940 h 5191"/>
                <a:gd name="T6" fmla="*/ 0 w 2551"/>
                <a:gd name="T7" fmla="*/ 0 h 5191"/>
                <a:gd name="T8" fmla="*/ 511 w 2551"/>
                <a:gd name="T9" fmla="*/ 5191 h 5191"/>
              </a:gdLst>
              <a:ahLst/>
              <a:cxnLst>
                <a:cxn ang="0">
                  <a:pos x="T0" y="T1"/>
                </a:cxn>
                <a:cxn ang="0">
                  <a:pos x="T2" y="T3"/>
                </a:cxn>
                <a:cxn ang="0">
                  <a:pos x="T4" y="T5"/>
                </a:cxn>
                <a:cxn ang="0">
                  <a:pos x="T6" y="T7"/>
                </a:cxn>
                <a:cxn ang="0">
                  <a:pos x="T8" y="T9"/>
                </a:cxn>
              </a:cxnLst>
              <a:rect l="0" t="0" r="r" b="b"/>
              <a:pathLst>
                <a:path w="2551" h="5191">
                  <a:moveTo>
                    <a:pt x="511" y="5191"/>
                  </a:moveTo>
                  <a:lnTo>
                    <a:pt x="1989" y="3479"/>
                  </a:lnTo>
                  <a:lnTo>
                    <a:pt x="2551" y="940"/>
                  </a:lnTo>
                  <a:lnTo>
                    <a:pt x="0" y="0"/>
                  </a:lnTo>
                  <a:lnTo>
                    <a:pt x="511" y="5191"/>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2" name="Freeform 327"/>
            <p:cNvSpPr>
              <a:spLocks/>
            </p:cNvSpPr>
            <p:nvPr/>
          </p:nvSpPr>
          <p:spPr bwMode="auto">
            <a:xfrm>
              <a:off x="792956" y="3493047"/>
              <a:ext cx="884635" cy="1650454"/>
            </a:xfrm>
            <a:custGeom>
              <a:avLst/>
              <a:gdLst>
                <a:gd name="T0" fmla="*/ 0 w 2785"/>
                <a:gd name="T1" fmla="*/ 1974 h 5191"/>
                <a:gd name="T2" fmla="*/ 772 w 2785"/>
                <a:gd name="T3" fmla="*/ 3583 h 5191"/>
                <a:gd name="T4" fmla="*/ 2785 w 2785"/>
                <a:gd name="T5" fmla="*/ 5191 h 5191"/>
                <a:gd name="T6" fmla="*/ 2274 w 2785"/>
                <a:gd name="T7" fmla="*/ 0 h 5191"/>
                <a:gd name="T8" fmla="*/ 0 w 2785"/>
                <a:gd name="T9" fmla="*/ 1974 h 5191"/>
              </a:gdLst>
              <a:ahLst/>
              <a:cxnLst>
                <a:cxn ang="0">
                  <a:pos x="T0" y="T1"/>
                </a:cxn>
                <a:cxn ang="0">
                  <a:pos x="T2" y="T3"/>
                </a:cxn>
                <a:cxn ang="0">
                  <a:pos x="T4" y="T5"/>
                </a:cxn>
                <a:cxn ang="0">
                  <a:pos x="T6" y="T7"/>
                </a:cxn>
                <a:cxn ang="0">
                  <a:pos x="T8" y="T9"/>
                </a:cxn>
              </a:cxnLst>
              <a:rect l="0" t="0" r="r" b="b"/>
              <a:pathLst>
                <a:path w="2785" h="5191">
                  <a:moveTo>
                    <a:pt x="0" y="1974"/>
                  </a:moveTo>
                  <a:lnTo>
                    <a:pt x="772" y="3583"/>
                  </a:lnTo>
                  <a:lnTo>
                    <a:pt x="2785" y="5191"/>
                  </a:lnTo>
                  <a:lnTo>
                    <a:pt x="2274" y="0"/>
                  </a:lnTo>
                  <a:lnTo>
                    <a:pt x="0" y="1974"/>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3" name="Freeform 328"/>
            <p:cNvSpPr>
              <a:spLocks/>
            </p:cNvSpPr>
            <p:nvPr/>
          </p:nvSpPr>
          <p:spPr bwMode="auto">
            <a:xfrm>
              <a:off x="2326481" y="3266303"/>
              <a:ext cx="1062038" cy="1226802"/>
            </a:xfrm>
            <a:custGeom>
              <a:avLst/>
              <a:gdLst>
                <a:gd name="T0" fmla="*/ 3341 w 3341"/>
                <a:gd name="T1" fmla="*/ 0 h 3860"/>
                <a:gd name="T2" fmla="*/ 0 w 3341"/>
                <a:gd name="T3" fmla="*/ 1655 h 3860"/>
                <a:gd name="T4" fmla="*/ 2407 w 3341"/>
                <a:gd name="T5" fmla="*/ 3860 h 3860"/>
                <a:gd name="T6" fmla="*/ 3341 w 3341"/>
                <a:gd name="T7" fmla="*/ 0 h 3860"/>
              </a:gdLst>
              <a:ahLst/>
              <a:cxnLst>
                <a:cxn ang="0">
                  <a:pos x="T0" y="T1"/>
                </a:cxn>
                <a:cxn ang="0">
                  <a:pos x="T2" y="T3"/>
                </a:cxn>
                <a:cxn ang="0">
                  <a:pos x="T4" y="T5"/>
                </a:cxn>
                <a:cxn ang="0">
                  <a:pos x="T6" y="T7"/>
                </a:cxn>
              </a:cxnLst>
              <a:rect l="0" t="0" r="r" b="b"/>
              <a:pathLst>
                <a:path w="3341" h="3860">
                  <a:moveTo>
                    <a:pt x="3341" y="0"/>
                  </a:moveTo>
                  <a:lnTo>
                    <a:pt x="0" y="1655"/>
                  </a:lnTo>
                  <a:lnTo>
                    <a:pt x="2407" y="3860"/>
                  </a:lnTo>
                  <a:lnTo>
                    <a:pt x="3341" y="0"/>
                  </a:lnTo>
                  <a:close/>
                </a:path>
              </a:pathLst>
            </a:custGeom>
            <a:solidFill>
              <a:srgbClr val="E7E6E6">
                <a:lumMod val="90000"/>
              </a:srgb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4" name="Freeform 329"/>
            <p:cNvSpPr>
              <a:spLocks/>
            </p:cNvSpPr>
            <p:nvPr/>
          </p:nvSpPr>
          <p:spPr bwMode="auto">
            <a:xfrm>
              <a:off x="2671763" y="4493105"/>
              <a:ext cx="1469231" cy="650396"/>
            </a:xfrm>
            <a:custGeom>
              <a:avLst/>
              <a:gdLst>
                <a:gd name="T0" fmla="*/ 1325 w 4628"/>
                <a:gd name="T1" fmla="*/ 0 h 2046"/>
                <a:gd name="T2" fmla="*/ 0 w 4628"/>
                <a:gd name="T3" fmla="*/ 2046 h 2046"/>
                <a:gd name="T4" fmla="*/ 4628 w 4628"/>
                <a:gd name="T5" fmla="*/ 2046 h 2046"/>
                <a:gd name="T6" fmla="*/ 1325 w 4628"/>
                <a:gd name="T7" fmla="*/ 0 h 2046"/>
              </a:gdLst>
              <a:ahLst/>
              <a:cxnLst>
                <a:cxn ang="0">
                  <a:pos x="T0" y="T1"/>
                </a:cxn>
                <a:cxn ang="0">
                  <a:pos x="T2" y="T3"/>
                </a:cxn>
                <a:cxn ang="0">
                  <a:pos x="T4" y="T5"/>
                </a:cxn>
                <a:cxn ang="0">
                  <a:pos x="T6" y="T7"/>
                </a:cxn>
              </a:cxnLst>
              <a:rect l="0" t="0" r="r" b="b"/>
              <a:pathLst>
                <a:path w="4628" h="2046">
                  <a:moveTo>
                    <a:pt x="1325" y="0"/>
                  </a:moveTo>
                  <a:lnTo>
                    <a:pt x="0" y="2046"/>
                  </a:lnTo>
                  <a:lnTo>
                    <a:pt x="4628" y="2046"/>
                  </a:lnTo>
                  <a:lnTo>
                    <a:pt x="1325" y="0"/>
                  </a:lnTo>
                  <a:close/>
                </a:path>
              </a:pathLst>
            </a:custGeom>
            <a:solidFill>
              <a:sysClr val="window" lastClr="FFFFFF">
                <a:lumMod val="6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5" name="Freeform 330"/>
            <p:cNvSpPr>
              <a:spLocks/>
            </p:cNvSpPr>
            <p:nvPr/>
          </p:nvSpPr>
          <p:spPr bwMode="auto">
            <a:xfrm>
              <a:off x="4005263" y="4268748"/>
              <a:ext cx="1075135" cy="874753"/>
            </a:xfrm>
            <a:custGeom>
              <a:avLst/>
              <a:gdLst>
                <a:gd name="T0" fmla="*/ 0 w 3384"/>
                <a:gd name="T1" fmla="*/ 0 h 2749"/>
                <a:gd name="T2" fmla="*/ 430 w 3384"/>
                <a:gd name="T3" fmla="*/ 2749 h 2749"/>
                <a:gd name="T4" fmla="*/ 3384 w 3384"/>
                <a:gd name="T5" fmla="*/ 8 h 2749"/>
                <a:gd name="T6" fmla="*/ 0 w 3384"/>
                <a:gd name="T7" fmla="*/ 0 h 2749"/>
              </a:gdLst>
              <a:ahLst/>
              <a:cxnLst>
                <a:cxn ang="0">
                  <a:pos x="T0" y="T1"/>
                </a:cxn>
                <a:cxn ang="0">
                  <a:pos x="T2" y="T3"/>
                </a:cxn>
                <a:cxn ang="0">
                  <a:pos x="T4" y="T5"/>
                </a:cxn>
                <a:cxn ang="0">
                  <a:pos x="T6" y="T7"/>
                </a:cxn>
              </a:cxnLst>
              <a:rect l="0" t="0" r="r" b="b"/>
              <a:pathLst>
                <a:path w="3384" h="2749">
                  <a:moveTo>
                    <a:pt x="0" y="0"/>
                  </a:moveTo>
                  <a:lnTo>
                    <a:pt x="430" y="2749"/>
                  </a:lnTo>
                  <a:lnTo>
                    <a:pt x="3384" y="8"/>
                  </a:lnTo>
                  <a:lnTo>
                    <a:pt x="0" y="0"/>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6" name="Freeform 331"/>
            <p:cNvSpPr>
              <a:spLocks/>
            </p:cNvSpPr>
            <p:nvPr/>
          </p:nvSpPr>
          <p:spPr bwMode="auto">
            <a:xfrm>
              <a:off x="3092054" y="4268748"/>
              <a:ext cx="1048940" cy="874753"/>
            </a:xfrm>
            <a:custGeom>
              <a:avLst/>
              <a:gdLst>
                <a:gd name="T0" fmla="*/ 3303 w 3303"/>
                <a:gd name="T1" fmla="*/ 2749 h 2749"/>
                <a:gd name="T2" fmla="*/ 2873 w 3303"/>
                <a:gd name="T3" fmla="*/ 0 h 2749"/>
                <a:gd name="T4" fmla="*/ 0 w 3303"/>
                <a:gd name="T5" fmla="*/ 703 h 2749"/>
                <a:gd name="T6" fmla="*/ 3303 w 3303"/>
                <a:gd name="T7" fmla="*/ 2749 h 2749"/>
              </a:gdLst>
              <a:ahLst/>
              <a:cxnLst>
                <a:cxn ang="0">
                  <a:pos x="T0" y="T1"/>
                </a:cxn>
                <a:cxn ang="0">
                  <a:pos x="T2" y="T3"/>
                </a:cxn>
                <a:cxn ang="0">
                  <a:pos x="T4" y="T5"/>
                </a:cxn>
                <a:cxn ang="0">
                  <a:pos x="T6" y="T7"/>
                </a:cxn>
              </a:cxnLst>
              <a:rect l="0" t="0" r="r" b="b"/>
              <a:pathLst>
                <a:path w="3303" h="2749">
                  <a:moveTo>
                    <a:pt x="3303" y="2749"/>
                  </a:moveTo>
                  <a:lnTo>
                    <a:pt x="2873" y="0"/>
                  </a:lnTo>
                  <a:lnTo>
                    <a:pt x="0" y="703"/>
                  </a:lnTo>
                  <a:lnTo>
                    <a:pt x="3303" y="2749"/>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7" name="Freeform 332"/>
            <p:cNvSpPr>
              <a:spLocks/>
            </p:cNvSpPr>
            <p:nvPr/>
          </p:nvSpPr>
          <p:spPr bwMode="auto">
            <a:xfrm>
              <a:off x="3388519" y="3266303"/>
              <a:ext cx="1691879" cy="1006025"/>
            </a:xfrm>
            <a:custGeom>
              <a:avLst/>
              <a:gdLst>
                <a:gd name="T0" fmla="*/ 0 w 5323"/>
                <a:gd name="T1" fmla="*/ 0 h 3165"/>
                <a:gd name="T2" fmla="*/ 1939 w 5323"/>
                <a:gd name="T3" fmla="*/ 3157 h 3165"/>
                <a:gd name="T4" fmla="*/ 5323 w 5323"/>
                <a:gd name="T5" fmla="*/ 3165 h 3165"/>
                <a:gd name="T6" fmla="*/ 3266 w 5323"/>
                <a:gd name="T7" fmla="*/ 274 h 3165"/>
                <a:gd name="T8" fmla="*/ 0 w 5323"/>
                <a:gd name="T9" fmla="*/ 0 h 3165"/>
              </a:gdLst>
              <a:ahLst/>
              <a:cxnLst>
                <a:cxn ang="0">
                  <a:pos x="T0" y="T1"/>
                </a:cxn>
                <a:cxn ang="0">
                  <a:pos x="T2" y="T3"/>
                </a:cxn>
                <a:cxn ang="0">
                  <a:pos x="T4" y="T5"/>
                </a:cxn>
                <a:cxn ang="0">
                  <a:pos x="T6" y="T7"/>
                </a:cxn>
                <a:cxn ang="0">
                  <a:pos x="T8" y="T9"/>
                </a:cxn>
              </a:cxnLst>
              <a:rect l="0" t="0" r="r" b="b"/>
              <a:pathLst>
                <a:path w="5323" h="3165">
                  <a:moveTo>
                    <a:pt x="0" y="0"/>
                  </a:moveTo>
                  <a:lnTo>
                    <a:pt x="1939" y="3157"/>
                  </a:lnTo>
                  <a:lnTo>
                    <a:pt x="5323" y="3165"/>
                  </a:lnTo>
                  <a:lnTo>
                    <a:pt x="3266" y="274"/>
                  </a:lnTo>
                  <a:lnTo>
                    <a:pt x="0" y="0"/>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8" name="Freeform 333"/>
            <p:cNvSpPr>
              <a:spLocks/>
            </p:cNvSpPr>
            <p:nvPr/>
          </p:nvSpPr>
          <p:spPr bwMode="auto">
            <a:xfrm>
              <a:off x="3092054" y="3266303"/>
              <a:ext cx="913209" cy="1226802"/>
            </a:xfrm>
            <a:custGeom>
              <a:avLst/>
              <a:gdLst>
                <a:gd name="T0" fmla="*/ 2873 w 2873"/>
                <a:gd name="T1" fmla="*/ 3157 h 3860"/>
                <a:gd name="T2" fmla="*/ 934 w 2873"/>
                <a:gd name="T3" fmla="*/ 0 h 3860"/>
                <a:gd name="T4" fmla="*/ 0 w 2873"/>
                <a:gd name="T5" fmla="*/ 3860 h 3860"/>
                <a:gd name="T6" fmla="*/ 2873 w 2873"/>
                <a:gd name="T7" fmla="*/ 3157 h 3860"/>
              </a:gdLst>
              <a:ahLst/>
              <a:cxnLst>
                <a:cxn ang="0">
                  <a:pos x="T0" y="T1"/>
                </a:cxn>
                <a:cxn ang="0">
                  <a:pos x="T2" y="T3"/>
                </a:cxn>
                <a:cxn ang="0">
                  <a:pos x="T4" y="T5"/>
                </a:cxn>
                <a:cxn ang="0">
                  <a:pos x="T6" y="T7"/>
                </a:cxn>
              </a:cxnLst>
              <a:rect l="0" t="0" r="r" b="b"/>
              <a:pathLst>
                <a:path w="2873" h="3860">
                  <a:moveTo>
                    <a:pt x="2873" y="3157"/>
                  </a:moveTo>
                  <a:lnTo>
                    <a:pt x="934" y="0"/>
                  </a:lnTo>
                  <a:lnTo>
                    <a:pt x="0" y="3860"/>
                  </a:lnTo>
                  <a:lnTo>
                    <a:pt x="2873" y="3157"/>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89" name="Freeform 334"/>
            <p:cNvSpPr>
              <a:spLocks/>
            </p:cNvSpPr>
            <p:nvPr/>
          </p:nvSpPr>
          <p:spPr bwMode="auto">
            <a:xfrm>
              <a:off x="2149079" y="3792586"/>
              <a:ext cx="942975" cy="805537"/>
            </a:xfrm>
            <a:custGeom>
              <a:avLst/>
              <a:gdLst>
                <a:gd name="T0" fmla="*/ 2969 w 2969"/>
                <a:gd name="T1" fmla="*/ 2205 h 2539"/>
                <a:gd name="T2" fmla="*/ 562 w 2969"/>
                <a:gd name="T3" fmla="*/ 0 h 2539"/>
                <a:gd name="T4" fmla="*/ 0 w 2969"/>
                <a:gd name="T5" fmla="*/ 2539 h 2539"/>
                <a:gd name="T6" fmla="*/ 2969 w 2969"/>
                <a:gd name="T7" fmla="*/ 2205 h 2539"/>
              </a:gdLst>
              <a:ahLst/>
              <a:cxnLst>
                <a:cxn ang="0">
                  <a:pos x="T0" y="T1"/>
                </a:cxn>
                <a:cxn ang="0">
                  <a:pos x="T2" y="T3"/>
                </a:cxn>
                <a:cxn ang="0">
                  <a:pos x="T4" y="T5"/>
                </a:cxn>
                <a:cxn ang="0">
                  <a:pos x="T6" y="T7"/>
                </a:cxn>
              </a:cxnLst>
              <a:rect l="0" t="0" r="r" b="b"/>
              <a:pathLst>
                <a:path w="2969" h="2539">
                  <a:moveTo>
                    <a:pt x="2969" y="2205"/>
                  </a:moveTo>
                  <a:lnTo>
                    <a:pt x="562" y="0"/>
                  </a:lnTo>
                  <a:lnTo>
                    <a:pt x="0" y="2539"/>
                  </a:lnTo>
                  <a:lnTo>
                    <a:pt x="2969" y="2205"/>
                  </a:lnTo>
                  <a:close/>
                </a:path>
              </a:pathLst>
            </a:custGeom>
            <a:solidFill>
              <a:sysClr val="window" lastClr="FFFFFF">
                <a:lumMod val="8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90" name="Freeform 335"/>
            <p:cNvSpPr>
              <a:spLocks/>
            </p:cNvSpPr>
            <p:nvPr/>
          </p:nvSpPr>
          <p:spPr bwMode="auto">
            <a:xfrm>
              <a:off x="2051447" y="2044274"/>
              <a:ext cx="1390650" cy="1222029"/>
            </a:xfrm>
            <a:custGeom>
              <a:avLst/>
              <a:gdLst>
                <a:gd name="T0" fmla="*/ 0 w 4374"/>
                <a:gd name="T1" fmla="*/ 1921 h 3842"/>
                <a:gd name="T2" fmla="*/ 4205 w 4374"/>
                <a:gd name="T3" fmla="*/ 3842 h 3842"/>
                <a:gd name="T4" fmla="*/ 4374 w 4374"/>
                <a:gd name="T5" fmla="*/ 0 h 3842"/>
                <a:gd name="T6" fmla="*/ 0 w 4374"/>
                <a:gd name="T7" fmla="*/ 1921 h 3842"/>
              </a:gdLst>
              <a:ahLst/>
              <a:cxnLst>
                <a:cxn ang="0">
                  <a:pos x="T0" y="T1"/>
                </a:cxn>
                <a:cxn ang="0">
                  <a:pos x="T2" y="T3"/>
                </a:cxn>
                <a:cxn ang="0">
                  <a:pos x="T4" y="T5"/>
                </a:cxn>
                <a:cxn ang="0">
                  <a:pos x="T6" y="T7"/>
                </a:cxn>
              </a:cxnLst>
              <a:rect l="0" t="0" r="r" b="b"/>
              <a:pathLst>
                <a:path w="4374" h="3842">
                  <a:moveTo>
                    <a:pt x="0" y="1921"/>
                  </a:moveTo>
                  <a:lnTo>
                    <a:pt x="4205" y="3842"/>
                  </a:lnTo>
                  <a:lnTo>
                    <a:pt x="4374" y="0"/>
                  </a:lnTo>
                  <a:lnTo>
                    <a:pt x="0" y="1921"/>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91" name="Freeform 336"/>
            <p:cNvSpPr>
              <a:spLocks/>
            </p:cNvSpPr>
            <p:nvPr/>
          </p:nvSpPr>
          <p:spPr bwMode="auto">
            <a:xfrm>
              <a:off x="4399360" y="2686317"/>
              <a:ext cx="1696640" cy="665910"/>
            </a:xfrm>
            <a:custGeom>
              <a:avLst/>
              <a:gdLst>
                <a:gd name="T0" fmla="*/ 0 w 5342"/>
                <a:gd name="T1" fmla="*/ 0 h 2097"/>
                <a:gd name="T2" fmla="*/ 88 w 5342"/>
                <a:gd name="T3" fmla="*/ 2097 h 2097"/>
                <a:gd name="T4" fmla="*/ 5342 w 5342"/>
                <a:gd name="T5" fmla="*/ 1606 h 2097"/>
                <a:gd name="T6" fmla="*/ 0 w 5342"/>
                <a:gd name="T7" fmla="*/ 0 h 2097"/>
              </a:gdLst>
              <a:ahLst/>
              <a:cxnLst>
                <a:cxn ang="0">
                  <a:pos x="T0" y="T1"/>
                </a:cxn>
                <a:cxn ang="0">
                  <a:pos x="T2" y="T3"/>
                </a:cxn>
                <a:cxn ang="0">
                  <a:pos x="T4" y="T5"/>
                </a:cxn>
                <a:cxn ang="0">
                  <a:pos x="T6" y="T7"/>
                </a:cxn>
              </a:cxnLst>
              <a:rect l="0" t="0" r="r" b="b"/>
              <a:pathLst>
                <a:path w="5342" h="2097">
                  <a:moveTo>
                    <a:pt x="0" y="0"/>
                  </a:moveTo>
                  <a:lnTo>
                    <a:pt x="88" y="2097"/>
                  </a:lnTo>
                  <a:lnTo>
                    <a:pt x="5342" y="1606"/>
                  </a:lnTo>
                  <a:lnTo>
                    <a:pt x="0" y="0"/>
                  </a:lnTo>
                  <a:close/>
                </a:path>
              </a:pathLst>
            </a:custGeom>
            <a:solidFill>
              <a:sysClr val="window" lastClr="FFFFFF">
                <a:lumMod val="7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92" name="Freeform 337"/>
            <p:cNvSpPr>
              <a:spLocks/>
            </p:cNvSpPr>
            <p:nvPr/>
          </p:nvSpPr>
          <p:spPr bwMode="auto">
            <a:xfrm>
              <a:off x="1515666" y="2656482"/>
              <a:ext cx="810815" cy="1136105"/>
            </a:xfrm>
            <a:custGeom>
              <a:avLst/>
              <a:gdLst>
                <a:gd name="T0" fmla="*/ 2551 w 2551"/>
                <a:gd name="T1" fmla="*/ 3575 h 3575"/>
                <a:gd name="T2" fmla="*/ 1687 w 2551"/>
                <a:gd name="T3" fmla="*/ 0 h 3575"/>
                <a:gd name="T4" fmla="*/ 0 w 2551"/>
                <a:gd name="T5" fmla="*/ 2635 h 3575"/>
                <a:gd name="T6" fmla="*/ 2551 w 2551"/>
                <a:gd name="T7" fmla="*/ 3575 h 3575"/>
              </a:gdLst>
              <a:ahLst/>
              <a:cxnLst>
                <a:cxn ang="0">
                  <a:pos x="T0" y="T1"/>
                </a:cxn>
                <a:cxn ang="0">
                  <a:pos x="T2" y="T3"/>
                </a:cxn>
                <a:cxn ang="0">
                  <a:pos x="T4" y="T5"/>
                </a:cxn>
                <a:cxn ang="0">
                  <a:pos x="T6" y="T7"/>
                </a:cxn>
              </a:cxnLst>
              <a:rect l="0" t="0" r="r" b="b"/>
              <a:pathLst>
                <a:path w="2551" h="3575">
                  <a:moveTo>
                    <a:pt x="2551" y="3575"/>
                  </a:moveTo>
                  <a:lnTo>
                    <a:pt x="1687" y="0"/>
                  </a:lnTo>
                  <a:lnTo>
                    <a:pt x="0" y="2635"/>
                  </a:lnTo>
                  <a:lnTo>
                    <a:pt x="2551" y="3575"/>
                  </a:lnTo>
                  <a:close/>
                </a:path>
              </a:pathLst>
            </a:custGeom>
            <a:solidFill>
              <a:sysClr val="window" lastClr="FFFFFF">
                <a:lumMod val="95000"/>
              </a:sysClr>
            </a:solidFill>
            <a:ln w="9525">
              <a:noFill/>
              <a:round/>
              <a:headEnd/>
              <a:tailEnd/>
            </a:ln>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93" name="Freeform 385"/>
            <p:cNvSpPr>
              <a:spLocks/>
            </p:cNvSpPr>
            <p:nvPr/>
          </p:nvSpPr>
          <p:spPr bwMode="auto">
            <a:xfrm>
              <a:off x="8440341" y="4349899"/>
              <a:ext cx="700088" cy="793602"/>
            </a:xfrm>
            <a:custGeom>
              <a:avLst/>
              <a:gdLst>
                <a:gd name="T0" fmla="*/ 0 w 2203"/>
                <a:gd name="T1" fmla="*/ 2495 h 2495"/>
                <a:gd name="T2" fmla="*/ 2203 w 2203"/>
                <a:gd name="T3" fmla="*/ 2495 h 2495"/>
                <a:gd name="T4" fmla="*/ 2203 w 2203"/>
                <a:gd name="T5" fmla="*/ 0 h 2495"/>
              </a:gdLst>
              <a:ahLst/>
              <a:cxnLst>
                <a:cxn ang="0">
                  <a:pos x="T0" y="T1"/>
                </a:cxn>
                <a:cxn ang="0">
                  <a:pos x="T2" y="T3"/>
                </a:cxn>
                <a:cxn ang="0">
                  <a:pos x="T4" y="T5"/>
                </a:cxn>
              </a:cxnLst>
              <a:rect l="0" t="0" r="r" b="b"/>
              <a:pathLst>
                <a:path w="2203" h="2495">
                  <a:moveTo>
                    <a:pt x="0" y="2495"/>
                  </a:moveTo>
                  <a:lnTo>
                    <a:pt x="2203" y="2495"/>
                  </a:lnTo>
                  <a:lnTo>
                    <a:pt x="2203" y="0"/>
                  </a:lnTo>
                </a:path>
              </a:pathLst>
            </a:custGeom>
            <a:noFill/>
            <a:ln w="6350">
              <a:noFill/>
              <a:prstDash val="solid"/>
              <a:round/>
              <a:headEnd/>
              <a:tailEnd/>
            </a:ln>
            <a:extLst/>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94" name="Freeform 413"/>
            <p:cNvSpPr>
              <a:spLocks/>
            </p:cNvSpPr>
            <p:nvPr/>
          </p:nvSpPr>
          <p:spPr bwMode="auto">
            <a:xfrm>
              <a:off x="2050256" y="985739"/>
              <a:ext cx="1037035" cy="655170"/>
            </a:xfrm>
            <a:custGeom>
              <a:avLst/>
              <a:gdLst>
                <a:gd name="T0" fmla="*/ 3267 w 3267"/>
                <a:gd name="T1" fmla="*/ 0 h 2060"/>
                <a:gd name="T2" fmla="*/ 1565 w 3267"/>
                <a:gd name="T3" fmla="*/ 735 h 2060"/>
                <a:gd name="T4" fmla="*/ 0 w 3267"/>
                <a:gd name="T5" fmla="*/ 2060 h 2060"/>
              </a:gdLst>
              <a:ahLst/>
              <a:cxnLst>
                <a:cxn ang="0">
                  <a:pos x="T0" y="T1"/>
                </a:cxn>
                <a:cxn ang="0">
                  <a:pos x="T2" y="T3"/>
                </a:cxn>
                <a:cxn ang="0">
                  <a:pos x="T4" y="T5"/>
                </a:cxn>
              </a:cxnLst>
              <a:rect l="0" t="0" r="r" b="b"/>
              <a:pathLst>
                <a:path w="3267" h="2060">
                  <a:moveTo>
                    <a:pt x="3267" y="0"/>
                  </a:moveTo>
                  <a:lnTo>
                    <a:pt x="1565" y="735"/>
                  </a:lnTo>
                  <a:lnTo>
                    <a:pt x="0" y="2060"/>
                  </a:lnTo>
                </a:path>
              </a:pathLst>
            </a:custGeom>
            <a:noFill/>
            <a:ln w="6350">
              <a:noFill/>
              <a:prstDash val="solid"/>
              <a:round/>
              <a:headEnd/>
              <a:tailEnd/>
            </a:ln>
            <a:extLst/>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95" name="Freeform 425"/>
            <p:cNvSpPr>
              <a:spLocks/>
            </p:cNvSpPr>
            <p:nvPr/>
          </p:nvSpPr>
          <p:spPr bwMode="auto">
            <a:xfrm>
              <a:off x="0" y="1"/>
              <a:ext cx="350044" cy="650397"/>
            </a:xfrm>
            <a:custGeom>
              <a:avLst/>
              <a:gdLst>
                <a:gd name="T0" fmla="*/ 1101 w 1101"/>
                <a:gd name="T1" fmla="*/ 0 h 2045"/>
                <a:gd name="T2" fmla="*/ 0 w 1101"/>
                <a:gd name="T3" fmla="*/ 0 h 2045"/>
                <a:gd name="T4" fmla="*/ 0 w 1101"/>
                <a:gd name="T5" fmla="*/ 2045 h 2045"/>
              </a:gdLst>
              <a:ahLst/>
              <a:cxnLst>
                <a:cxn ang="0">
                  <a:pos x="T0" y="T1"/>
                </a:cxn>
                <a:cxn ang="0">
                  <a:pos x="T2" y="T3"/>
                </a:cxn>
                <a:cxn ang="0">
                  <a:pos x="T4" y="T5"/>
                </a:cxn>
              </a:cxnLst>
              <a:rect l="0" t="0" r="r" b="b"/>
              <a:pathLst>
                <a:path w="1101" h="2045">
                  <a:moveTo>
                    <a:pt x="1101" y="0"/>
                  </a:moveTo>
                  <a:lnTo>
                    <a:pt x="0" y="0"/>
                  </a:lnTo>
                  <a:lnTo>
                    <a:pt x="0" y="2045"/>
                  </a:lnTo>
                </a:path>
              </a:pathLst>
            </a:custGeom>
            <a:noFill/>
            <a:ln w="6350">
              <a:noFill/>
              <a:prstDash val="solid"/>
              <a:round/>
              <a:headEnd/>
              <a:tailEnd/>
            </a:ln>
            <a:extLst/>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sp>
          <p:nvSpPr>
            <p:cNvPr id="96" name="Freeform 450"/>
            <p:cNvSpPr>
              <a:spLocks/>
            </p:cNvSpPr>
            <p:nvPr/>
          </p:nvSpPr>
          <p:spPr bwMode="auto">
            <a:xfrm>
              <a:off x="0" y="4804579"/>
              <a:ext cx="839391" cy="338922"/>
            </a:xfrm>
            <a:custGeom>
              <a:avLst/>
              <a:gdLst>
                <a:gd name="T0" fmla="*/ 0 w 2640"/>
                <a:gd name="T1" fmla="*/ 0 h 1065"/>
                <a:gd name="T2" fmla="*/ 0 w 2640"/>
                <a:gd name="T3" fmla="*/ 1065 h 1065"/>
                <a:gd name="T4" fmla="*/ 2640 w 2640"/>
                <a:gd name="T5" fmla="*/ 1065 h 1065"/>
              </a:gdLst>
              <a:ahLst/>
              <a:cxnLst>
                <a:cxn ang="0">
                  <a:pos x="T0" y="T1"/>
                </a:cxn>
                <a:cxn ang="0">
                  <a:pos x="T2" y="T3"/>
                </a:cxn>
                <a:cxn ang="0">
                  <a:pos x="T4" y="T5"/>
                </a:cxn>
              </a:cxnLst>
              <a:rect l="0" t="0" r="r" b="b"/>
              <a:pathLst>
                <a:path w="2640" h="1065">
                  <a:moveTo>
                    <a:pt x="0" y="0"/>
                  </a:moveTo>
                  <a:lnTo>
                    <a:pt x="0" y="1065"/>
                  </a:lnTo>
                  <a:lnTo>
                    <a:pt x="2640" y="1065"/>
                  </a:lnTo>
                </a:path>
              </a:pathLst>
            </a:custGeom>
            <a:noFill/>
            <a:ln w="6350">
              <a:noFill/>
              <a:prstDash val="solid"/>
              <a:round/>
              <a:headEnd/>
              <a:tailEnd/>
            </a:ln>
            <a:extLst/>
          </p:spPr>
          <p:txBody>
            <a:bodyPr/>
            <a:lstStyle/>
            <a:p>
              <a:pPr defTabSz="514350" fontAlgn="auto">
                <a:spcBef>
                  <a:spcPts val="0"/>
                </a:spcBef>
                <a:spcAft>
                  <a:spcPts val="0"/>
                </a:spcAft>
                <a:defRPr/>
              </a:pPr>
              <a:endParaRPr lang="zh-CN" altLang="en-US" sz="1013" kern="0">
                <a:solidFill>
                  <a:prstClr val="black"/>
                </a:solidFill>
                <a:latin typeface="+mn-lt"/>
                <a:ea typeface="+mn-ea"/>
              </a:endParaRPr>
            </a:p>
          </p:txBody>
        </p:sp>
      </p:grpSp>
      <p:sp>
        <p:nvSpPr>
          <p:cNvPr id="97" name="矩形 96"/>
          <p:cNvSpPr/>
          <p:nvPr userDrawn="1"/>
        </p:nvSpPr>
        <p:spPr>
          <a:xfrm>
            <a:off x="0" y="-11906"/>
            <a:ext cx="9145190" cy="51435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013"/>
          </a:p>
        </p:txBody>
      </p:sp>
    </p:spTree>
    <p:extLst>
      <p:ext uri="{BB962C8B-B14F-4D97-AF65-F5344CB8AC3E}">
        <p14:creationId xmlns:p14="http://schemas.microsoft.com/office/powerpoint/2010/main" val="27387749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jpg"/><Relationship Id="rId4" Type="http://schemas.openxmlformats.org/officeDocument/2006/relationships/image" Target="../media/image2.jpg"/></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6.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6.pn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6.png"/><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6.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6.png"/><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6.png"/><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6.png"/><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6.png"/><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6.png"/><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6.png"/><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image" Target="../media/image6.png"/><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3.xml"/><Relationship Id="rId7" Type="http://schemas.openxmlformats.org/officeDocument/2006/relationships/image" Target="../media/image6.png"/><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4.xml"/><Relationship Id="rId7" Type="http://schemas.openxmlformats.org/officeDocument/2006/relationships/image" Target="../media/image6.png"/><Relationship Id="rId2" Type="http://schemas.openxmlformats.org/officeDocument/2006/relationships/diagramData" Target="../diagrams/data14.xml"/><Relationship Id="rId1" Type="http://schemas.openxmlformats.org/officeDocument/2006/relationships/slideLayout" Target="../slideLayouts/slideLayout2.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5.xml"/><Relationship Id="rId7" Type="http://schemas.openxmlformats.org/officeDocument/2006/relationships/image" Target="../media/image6.png"/><Relationship Id="rId2" Type="http://schemas.openxmlformats.org/officeDocument/2006/relationships/diagramData" Target="../diagrams/data15.xml"/><Relationship Id="rId1" Type="http://schemas.openxmlformats.org/officeDocument/2006/relationships/slideLayout" Target="../slideLayouts/slideLayout2.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6.xml"/><Relationship Id="rId7" Type="http://schemas.openxmlformats.org/officeDocument/2006/relationships/image" Target="../media/image6.png"/><Relationship Id="rId2" Type="http://schemas.openxmlformats.org/officeDocument/2006/relationships/diagramData" Target="../diagrams/data16.xml"/><Relationship Id="rId1" Type="http://schemas.openxmlformats.org/officeDocument/2006/relationships/slideLayout" Target="../slideLayouts/slideLayout2.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17.xml"/><Relationship Id="rId7" Type="http://schemas.openxmlformats.org/officeDocument/2006/relationships/image" Target="../media/image6.png"/><Relationship Id="rId2" Type="http://schemas.openxmlformats.org/officeDocument/2006/relationships/diagramData" Target="../diagrams/data17.xml"/><Relationship Id="rId1" Type="http://schemas.openxmlformats.org/officeDocument/2006/relationships/slideLayout" Target="../slideLayouts/slideLayout2.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image" Target="../media/image6.png"/><Relationship Id="rId2" Type="http://schemas.openxmlformats.org/officeDocument/2006/relationships/diagramData" Target="../diagrams/data18.xml"/><Relationship Id="rId1" Type="http://schemas.openxmlformats.org/officeDocument/2006/relationships/slideLayout" Target="../slideLayouts/slideLayout2.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9.xml"/><Relationship Id="rId7" Type="http://schemas.openxmlformats.org/officeDocument/2006/relationships/image" Target="../media/image6.png"/><Relationship Id="rId2" Type="http://schemas.openxmlformats.org/officeDocument/2006/relationships/diagramData" Target="../diagrams/data19.xml"/><Relationship Id="rId1" Type="http://schemas.openxmlformats.org/officeDocument/2006/relationships/slideLayout" Target="../slideLayouts/slideLayout2.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20.xml"/><Relationship Id="rId7" Type="http://schemas.openxmlformats.org/officeDocument/2006/relationships/image" Target="../media/image6.png"/><Relationship Id="rId2" Type="http://schemas.openxmlformats.org/officeDocument/2006/relationships/diagramData" Target="../diagrams/data20.xml"/><Relationship Id="rId1" Type="http://schemas.openxmlformats.org/officeDocument/2006/relationships/slideLayout" Target="../slideLayouts/slideLayout2.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21.xml"/><Relationship Id="rId7" Type="http://schemas.openxmlformats.org/officeDocument/2006/relationships/image" Target="../media/image6.png"/><Relationship Id="rId2" Type="http://schemas.openxmlformats.org/officeDocument/2006/relationships/diagramData" Target="../diagrams/data21.xml"/><Relationship Id="rId1" Type="http://schemas.openxmlformats.org/officeDocument/2006/relationships/slideLayout" Target="../slideLayouts/slideLayout2.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22.xml"/><Relationship Id="rId7" Type="http://schemas.openxmlformats.org/officeDocument/2006/relationships/image" Target="../media/image6.png"/><Relationship Id="rId2" Type="http://schemas.openxmlformats.org/officeDocument/2006/relationships/diagramData" Target="../diagrams/data22.xml"/><Relationship Id="rId1" Type="http://schemas.openxmlformats.org/officeDocument/2006/relationships/slideLayout" Target="../slideLayouts/slideLayout2.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23.xml"/><Relationship Id="rId7" Type="http://schemas.openxmlformats.org/officeDocument/2006/relationships/image" Target="../media/image6.png"/><Relationship Id="rId2" Type="http://schemas.openxmlformats.org/officeDocument/2006/relationships/diagramData" Target="../diagrams/data23.xml"/><Relationship Id="rId1" Type="http://schemas.openxmlformats.org/officeDocument/2006/relationships/slideLayout" Target="../slideLayouts/slideLayout2.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24.xml"/><Relationship Id="rId7" Type="http://schemas.openxmlformats.org/officeDocument/2006/relationships/image" Target="../media/image6.png"/><Relationship Id="rId2" Type="http://schemas.openxmlformats.org/officeDocument/2006/relationships/diagramData" Target="../diagrams/data24.xml"/><Relationship Id="rId1" Type="http://schemas.openxmlformats.org/officeDocument/2006/relationships/slideLayout" Target="../slideLayouts/slideLayout2.xml"/><Relationship Id="rId6" Type="http://schemas.microsoft.com/office/2007/relationships/diagramDrawing" Target="../diagrams/drawing24.xml"/><Relationship Id="rId5" Type="http://schemas.openxmlformats.org/officeDocument/2006/relationships/diagramColors" Target="../diagrams/colors24.xml"/><Relationship Id="rId4" Type="http://schemas.openxmlformats.org/officeDocument/2006/relationships/diagramQuickStyle" Target="../diagrams/quickStyle24.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25.xml"/><Relationship Id="rId7" Type="http://schemas.openxmlformats.org/officeDocument/2006/relationships/image" Target="../media/image6.png"/><Relationship Id="rId2" Type="http://schemas.openxmlformats.org/officeDocument/2006/relationships/diagramData" Target="../diagrams/data25.xml"/><Relationship Id="rId1" Type="http://schemas.openxmlformats.org/officeDocument/2006/relationships/slideLayout" Target="../slideLayouts/slideLayout2.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26.xml"/><Relationship Id="rId7" Type="http://schemas.openxmlformats.org/officeDocument/2006/relationships/image" Target="../media/image6.png"/><Relationship Id="rId2" Type="http://schemas.openxmlformats.org/officeDocument/2006/relationships/diagramData" Target="../diagrams/data26.xml"/><Relationship Id="rId1" Type="http://schemas.openxmlformats.org/officeDocument/2006/relationships/slideLayout" Target="../slideLayouts/slideLayout2.xml"/><Relationship Id="rId6" Type="http://schemas.microsoft.com/office/2007/relationships/diagramDrawing" Target="../diagrams/drawing26.xml"/><Relationship Id="rId5" Type="http://schemas.openxmlformats.org/officeDocument/2006/relationships/diagramColors" Target="../diagrams/colors26.xml"/><Relationship Id="rId4" Type="http://schemas.openxmlformats.org/officeDocument/2006/relationships/diagramQuickStyle" Target="../diagrams/quickStyle26.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27.xml"/><Relationship Id="rId7" Type="http://schemas.openxmlformats.org/officeDocument/2006/relationships/image" Target="../media/image6.png"/><Relationship Id="rId2" Type="http://schemas.openxmlformats.org/officeDocument/2006/relationships/diagramData" Target="../diagrams/data27.xml"/><Relationship Id="rId1" Type="http://schemas.openxmlformats.org/officeDocument/2006/relationships/slideLayout" Target="../slideLayouts/slideLayout2.xml"/><Relationship Id="rId6" Type="http://schemas.microsoft.com/office/2007/relationships/diagramDrawing" Target="../diagrams/drawing27.xml"/><Relationship Id="rId5" Type="http://schemas.openxmlformats.org/officeDocument/2006/relationships/diagramColors" Target="../diagrams/colors27.xml"/><Relationship Id="rId4" Type="http://schemas.openxmlformats.org/officeDocument/2006/relationships/diagramQuickStyle" Target="../diagrams/quickStyle27.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8.xml"/><Relationship Id="rId7" Type="http://schemas.openxmlformats.org/officeDocument/2006/relationships/image" Target="../media/image6.png"/><Relationship Id="rId2" Type="http://schemas.openxmlformats.org/officeDocument/2006/relationships/diagramData" Target="../diagrams/data28.xml"/><Relationship Id="rId1" Type="http://schemas.openxmlformats.org/officeDocument/2006/relationships/slideLayout" Target="../slideLayouts/slideLayout2.xml"/><Relationship Id="rId6" Type="http://schemas.microsoft.com/office/2007/relationships/diagramDrawing" Target="../diagrams/drawing28.xml"/><Relationship Id="rId5" Type="http://schemas.openxmlformats.org/officeDocument/2006/relationships/diagramColors" Target="../diagrams/colors28.xml"/><Relationship Id="rId4" Type="http://schemas.openxmlformats.org/officeDocument/2006/relationships/diagramQuickStyle" Target="../diagrams/quickStyle28.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9.xml"/><Relationship Id="rId7" Type="http://schemas.openxmlformats.org/officeDocument/2006/relationships/image" Target="../media/image6.png"/><Relationship Id="rId2" Type="http://schemas.openxmlformats.org/officeDocument/2006/relationships/diagramData" Target="../diagrams/data29.xml"/><Relationship Id="rId1" Type="http://schemas.openxmlformats.org/officeDocument/2006/relationships/slideLayout" Target="../slideLayouts/slideLayout2.xml"/><Relationship Id="rId6" Type="http://schemas.microsoft.com/office/2007/relationships/diagramDrawing" Target="../diagrams/drawing29.xml"/><Relationship Id="rId5" Type="http://schemas.openxmlformats.org/officeDocument/2006/relationships/diagramColors" Target="../diagrams/colors29.xml"/><Relationship Id="rId4" Type="http://schemas.openxmlformats.org/officeDocument/2006/relationships/diagramQuickStyle" Target="../diagrams/quickStyle29.xml"/></Relationships>
</file>

<file path=ppt/slides/_rels/slide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6.png"/></Relationships>
</file>

<file path=ppt/slides/_rels/slide5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6.png"/></Relationships>
</file>

<file path=ppt/slides/_rels/slide5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8.png"/></Relationships>
</file>

<file path=ppt/slides/_rels/slide5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8.png"/></Relationships>
</file>

<file path=ppt/slides/_rels/slide5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8.png"/></Relationships>
</file>

<file path=ppt/slides/_rels/slide5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8.png"/></Relationships>
</file>

<file path=ppt/slides/_rels/slide5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6.png"/></Relationships>
</file>

<file path=ppt/slides/_rels/slide5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8.png"/></Relationships>
</file>

<file path=ppt/slides/_rels/slide6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8.png"/></Relationships>
</file>

<file path=ppt/slides/_rels/slide6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8.png"/></Relationships>
</file>

<file path=ppt/slides/_rels/slide6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jpg"/><Relationship Id="rId7" Type="http://schemas.openxmlformats.org/officeDocument/2006/relationships/image" Target="../media/image14.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6.png"/><Relationship Id="rId9" Type="http://schemas.openxmlformats.org/officeDocument/2006/relationships/image" Target="../media/image18.png"/></Relationships>
</file>

<file path=ppt/slides/_rels/slide6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6.png"/></Relationships>
</file>

<file path=ppt/slides/_rels/slide6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6.png"/></Relationships>
</file>

<file path=ppt/slides/_rels/slide6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6.png"/><Relationship Id="rId7" Type="http://schemas.openxmlformats.org/officeDocument/2006/relationships/image" Target="../media/image13.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hyperlink" Target="&#36130;&#21153;&#35268;&#23450;/&#22269;&#23478;&#21644;&#38498;&#35268;&#23450;/&#20844;&#21153;&#21345;/&#20851;&#20110;&#23454;&#26045;&#20013;&#22830;&#39044;&#31639;&#21333;&#20301;&#20844;&#21153;&#21345;&#24378;&#21046;&#32467;&#31639;&#30446;&#24405;&#30340;&#36890;&#30693;.docx" TargetMode="External"/><Relationship Id="rId10" Type="http://schemas.openxmlformats.org/officeDocument/2006/relationships/image" Target="../media/image18.png"/><Relationship Id="rId4" Type="http://schemas.openxmlformats.org/officeDocument/2006/relationships/image" Target="../media/image19.jpeg"/><Relationship Id="rId9" Type="http://schemas.openxmlformats.org/officeDocument/2006/relationships/image" Target="../media/image15.png"/></Relationships>
</file>

<file path=ppt/slides/_rels/slide6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8.png"/></Relationships>
</file>

<file path=ppt/slides/_rels/slide6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8.png"/></Relationships>
</file>

<file path=ppt/slides/_rels/slide6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6.png"/></Relationships>
</file>

<file path=ppt/slides/_rels/slide7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6.png"/></Relationships>
</file>

<file path=ppt/slides/_rels/slide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8.png"/></Relationships>
</file>

<file path=ppt/slides/_rels/slide7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8.png"/></Relationships>
</file>

<file path=ppt/slides/_rels/slide7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8.png"/></Relationships>
</file>

<file path=ppt/slides/_rels/slide7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9.jpeg"/><Relationship Id="rId9" Type="http://schemas.openxmlformats.org/officeDocument/2006/relationships/image" Target="../media/image18.png"/></Relationships>
</file>

<file path=ppt/slides/_rels/slide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9.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25.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3"/>
          <p:cNvSpPr txBox="1"/>
          <p:nvPr/>
        </p:nvSpPr>
        <p:spPr>
          <a:xfrm>
            <a:off x="4351308" y="1345352"/>
            <a:ext cx="4327799" cy="1200329"/>
          </a:xfrm>
          <a:prstGeom prst="rect">
            <a:avLst/>
          </a:prstGeom>
          <a:noFill/>
          <a:effectLst/>
        </p:spPr>
        <p:txBody>
          <a:bodyPr wrap="square" rtlCol="0">
            <a:spAutoFit/>
          </a:bodyPr>
          <a:lstStyle/>
          <a:p>
            <a:pPr algn="ctr"/>
            <a:r>
              <a:rPr lang="zh-CN" altLang="en-US" sz="3600" b="1" dirty="0">
                <a:gradFill flip="none" rotWithShape="1">
                  <a:gsLst>
                    <a:gs pos="0">
                      <a:srgbClr val="04B5EC"/>
                    </a:gs>
                    <a:gs pos="100000">
                      <a:srgbClr val="00C88A"/>
                    </a:gs>
                  </a:gsLst>
                  <a:lin ang="0" scaled="1"/>
                  <a:tileRect/>
                </a:gradFill>
                <a:latin typeface="微软雅黑" pitchFamily="34" charset="-122"/>
                <a:ea typeface="微软雅黑" pitchFamily="34" charset="-122"/>
              </a:rPr>
              <a:t>科研财务助理</a:t>
            </a:r>
            <a:br>
              <a:rPr lang="zh-CN" altLang="en-US" sz="3600" b="1" dirty="0">
                <a:gradFill flip="none" rotWithShape="1">
                  <a:gsLst>
                    <a:gs pos="0">
                      <a:srgbClr val="04B5EC"/>
                    </a:gs>
                    <a:gs pos="100000">
                      <a:srgbClr val="00C88A"/>
                    </a:gs>
                  </a:gsLst>
                  <a:lin ang="0" scaled="1"/>
                  <a:tileRect/>
                </a:gradFill>
                <a:latin typeface="微软雅黑" pitchFamily="34" charset="-122"/>
                <a:ea typeface="微软雅黑" pitchFamily="34" charset="-122"/>
              </a:rPr>
            </a:br>
            <a:r>
              <a:rPr lang="zh-CN" altLang="en-US" sz="3600" b="1" dirty="0">
                <a:gradFill flip="none" rotWithShape="1">
                  <a:gsLst>
                    <a:gs pos="0">
                      <a:srgbClr val="04B5EC"/>
                    </a:gs>
                    <a:gs pos="100000">
                      <a:srgbClr val="00C88A"/>
                    </a:gs>
                  </a:gsLst>
                  <a:lin ang="0" scaled="1"/>
                  <a:tileRect/>
                </a:gradFill>
                <a:latin typeface="微软雅黑" pitchFamily="34" charset="-122"/>
                <a:ea typeface="微软雅黑" pitchFamily="34" charset="-122"/>
              </a:rPr>
              <a:t>经费管理上岗培训</a:t>
            </a:r>
          </a:p>
        </p:txBody>
      </p:sp>
      <p:sp>
        <p:nvSpPr>
          <p:cNvPr id="24" name="文本框 3"/>
          <p:cNvSpPr txBox="1"/>
          <p:nvPr/>
        </p:nvSpPr>
        <p:spPr>
          <a:xfrm>
            <a:off x="4351309" y="2832378"/>
            <a:ext cx="4327799" cy="288541"/>
          </a:xfrm>
          <a:prstGeom prst="rect">
            <a:avLst/>
          </a:prstGeom>
          <a:noFill/>
          <a:effectLst/>
        </p:spPr>
        <p:txBody>
          <a:bodyPr wrap="square" rtlCol="0">
            <a:spAutoFit/>
          </a:bodyPr>
          <a:lstStyle/>
          <a:p>
            <a:pPr algn="ctr"/>
            <a:r>
              <a:rPr lang="zh-CN" altLang="en-US" sz="1275" dirty="0" smtClean="0">
                <a:solidFill>
                  <a:schemeClr val="tx1">
                    <a:lumMod val="75000"/>
                    <a:lumOff val="25000"/>
                  </a:schemeClr>
                </a:solidFill>
                <a:latin typeface="微软雅黑" pitchFamily="34" charset="-122"/>
                <a:ea typeface="微软雅黑" pitchFamily="34" charset="-122"/>
              </a:rPr>
              <a:t>资产财务处：吕文</a:t>
            </a:r>
            <a:endParaRPr lang="en-US" altLang="zh-CN" sz="1275" dirty="0">
              <a:solidFill>
                <a:schemeClr val="tx1">
                  <a:lumMod val="75000"/>
                  <a:lumOff val="25000"/>
                </a:schemeClr>
              </a:solidFill>
              <a:latin typeface="微软雅黑" pitchFamily="34" charset="-122"/>
              <a:ea typeface="微软雅黑" pitchFamily="34" charset="-122"/>
            </a:endParaRPr>
          </a:p>
        </p:txBody>
      </p:sp>
      <p:cxnSp>
        <p:nvCxnSpPr>
          <p:cNvPr id="26" name="直接连接符 25"/>
          <p:cNvCxnSpPr/>
          <p:nvPr/>
        </p:nvCxnSpPr>
        <p:spPr>
          <a:xfrm>
            <a:off x="4621339" y="2760517"/>
            <a:ext cx="3834426" cy="0"/>
          </a:xfrm>
          <a:prstGeom prst="line">
            <a:avLst/>
          </a:prstGeom>
          <a:ln>
            <a:solidFill>
              <a:srgbClr val="00C88A"/>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4621339" y="3191059"/>
            <a:ext cx="3834426" cy="0"/>
          </a:xfrm>
          <a:prstGeom prst="line">
            <a:avLst/>
          </a:prstGeom>
          <a:ln>
            <a:solidFill>
              <a:srgbClr val="00C88A"/>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315609" y="-300805"/>
            <a:ext cx="0"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流程图: 决策 31"/>
          <p:cNvSpPr/>
          <p:nvPr/>
        </p:nvSpPr>
        <p:spPr>
          <a:xfrm>
            <a:off x="-866396" y="-557777"/>
            <a:ext cx="2848259" cy="2700440"/>
          </a:xfrm>
          <a:prstGeom prst="flowChartDecision">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3" name="直角三角形 32"/>
          <p:cNvSpPr/>
          <p:nvPr/>
        </p:nvSpPr>
        <p:spPr>
          <a:xfrm rot="4680755">
            <a:off x="2892734" y="3322669"/>
            <a:ext cx="425451" cy="425451"/>
          </a:xfrm>
          <a:prstGeom prst="rtTriangle">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4" name="直角三角形 33"/>
          <p:cNvSpPr/>
          <p:nvPr/>
        </p:nvSpPr>
        <p:spPr>
          <a:xfrm rot="15485977">
            <a:off x="3309910" y="2928703"/>
            <a:ext cx="425451" cy="425451"/>
          </a:xfrm>
          <a:prstGeom prst="rtTriangle">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 name="流程图: 决策 34"/>
          <p:cNvSpPr/>
          <p:nvPr/>
        </p:nvSpPr>
        <p:spPr>
          <a:xfrm>
            <a:off x="-1199733" y="1751071"/>
            <a:ext cx="2223269" cy="2107886"/>
          </a:xfrm>
          <a:prstGeom prst="flowChartDecision">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 name="直角三角形 35"/>
          <p:cNvSpPr/>
          <p:nvPr/>
        </p:nvSpPr>
        <p:spPr>
          <a:xfrm rot="18571015">
            <a:off x="3126991" y="4351296"/>
            <a:ext cx="287248" cy="287248"/>
          </a:xfrm>
          <a:prstGeom prst="rtTriangle">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 name="直角三角形 36"/>
          <p:cNvSpPr/>
          <p:nvPr/>
        </p:nvSpPr>
        <p:spPr>
          <a:xfrm rot="18571015">
            <a:off x="3910947" y="1658205"/>
            <a:ext cx="287248" cy="287248"/>
          </a:xfrm>
          <a:prstGeom prst="rtTriangle">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8" name="文本框 45"/>
          <p:cNvSpPr txBox="1"/>
          <p:nvPr/>
        </p:nvSpPr>
        <p:spPr>
          <a:xfrm>
            <a:off x="4535614" y="3336004"/>
            <a:ext cx="3589212" cy="253916"/>
          </a:xfrm>
          <a:prstGeom prst="rect">
            <a:avLst/>
          </a:prstGeom>
          <a:noFill/>
        </p:spPr>
        <p:txBody>
          <a:bodyPr wrap="square" rtlCol="0">
            <a:spAutoFit/>
          </a:bodyPr>
          <a:lstStyle/>
          <a:p>
            <a:pPr algn="r"/>
            <a:r>
              <a:rPr lang="en-US" altLang="zh-CN" sz="1050" dirty="0" smtClean="0">
                <a:solidFill>
                  <a:schemeClr val="bg1">
                    <a:lumMod val="50000"/>
                  </a:schemeClr>
                </a:solidFill>
                <a:latin typeface="方正细圆简体" pitchFamily="2" charset="-122"/>
                <a:ea typeface="方正细圆简体" pitchFamily="2" charset="-122"/>
              </a:rPr>
              <a:t>2017</a:t>
            </a:r>
            <a:r>
              <a:rPr lang="zh-CN" altLang="en-US" sz="1050" dirty="0" smtClean="0">
                <a:solidFill>
                  <a:schemeClr val="bg1">
                    <a:lumMod val="50000"/>
                  </a:schemeClr>
                </a:solidFill>
                <a:latin typeface="方正细圆简体" pitchFamily="2" charset="-122"/>
                <a:ea typeface="方正细圆简体" pitchFamily="2" charset="-122"/>
              </a:rPr>
              <a:t>年</a:t>
            </a:r>
            <a:r>
              <a:rPr lang="en-US" altLang="zh-CN" sz="1050" dirty="0" smtClean="0">
                <a:solidFill>
                  <a:schemeClr val="bg1">
                    <a:lumMod val="50000"/>
                  </a:schemeClr>
                </a:solidFill>
                <a:latin typeface="方正细圆简体" pitchFamily="2" charset="-122"/>
                <a:ea typeface="方正细圆简体" pitchFamily="2" charset="-122"/>
              </a:rPr>
              <a:t>11</a:t>
            </a:r>
            <a:r>
              <a:rPr lang="zh-CN" altLang="en-US" sz="1050" dirty="0" smtClean="0">
                <a:solidFill>
                  <a:schemeClr val="bg1">
                    <a:lumMod val="50000"/>
                  </a:schemeClr>
                </a:solidFill>
                <a:latin typeface="方正细圆简体" pitchFamily="2" charset="-122"/>
                <a:ea typeface="方正细圆简体" pitchFamily="2" charset="-122"/>
              </a:rPr>
              <a:t>月</a:t>
            </a:r>
            <a:r>
              <a:rPr lang="en-US" altLang="zh-CN" sz="1050" dirty="0" smtClean="0">
                <a:solidFill>
                  <a:schemeClr val="bg1">
                    <a:lumMod val="50000"/>
                  </a:schemeClr>
                </a:solidFill>
                <a:latin typeface="方正细圆简体" pitchFamily="2" charset="-122"/>
                <a:ea typeface="方正细圆简体" pitchFamily="2" charset="-122"/>
              </a:rPr>
              <a:t>23</a:t>
            </a:r>
            <a:r>
              <a:rPr lang="zh-CN" altLang="en-US" sz="1050" dirty="0">
                <a:solidFill>
                  <a:schemeClr val="bg1">
                    <a:lumMod val="50000"/>
                  </a:schemeClr>
                </a:solidFill>
                <a:latin typeface="方正细圆简体" pitchFamily="2" charset="-122"/>
                <a:ea typeface="方正细圆简体" pitchFamily="2" charset="-122"/>
              </a:rPr>
              <a:t>日</a:t>
            </a:r>
            <a:endParaRPr lang="en-US" altLang="zh-CN" sz="1050" dirty="0">
              <a:solidFill>
                <a:schemeClr val="bg1">
                  <a:lumMod val="50000"/>
                </a:schemeClr>
              </a:solidFill>
              <a:latin typeface="方正细圆简体" pitchFamily="2" charset="-122"/>
              <a:ea typeface="方正细圆简体" pitchFamily="2" charset="-122"/>
            </a:endParaRPr>
          </a:p>
        </p:txBody>
      </p:sp>
      <p:sp>
        <p:nvSpPr>
          <p:cNvPr id="39" name="流程图: 决策 38"/>
          <p:cNvSpPr/>
          <p:nvPr/>
        </p:nvSpPr>
        <p:spPr>
          <a:xfrm>
            <a:off x="1323641" y="4029912"/>
            <a:ext cx="1872247" cy="1775082"/>
          </a:xfrm>
          <a:prstGeom prst="flowChartDecision">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2" name="菱形 21"/>
          <p:cNvSpPr/>
          <p:nvPr/>
        </p:nvSpPr>
        <p:spPr>
          <a:xfrm>
            <a:off x="194928" y="3038783"/>
            <a:ext cx="1786935" cy="1783785"/>
          </a:xfrm>
          <a:prstGeom prst="diamond">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菱形 24"/>
          <p:cNvSpPr/>
          <p:nvPr/>
        </p:nvSpPr>
        <p:spPr>
          <a:xfrm>
            <a:off x="713504" y="879354"/>
            <a:ext cx="2968769" cy="2872870"/>
          </a:xfrm>
          <a:prstGeom prst="diamond">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菱形 42"/>
          <p:cNvSpPr/>
          <p:nvPr/>
        </p:nvSpPr>
        <p:spPr>
          <a:xfrm>
            <a:off x="2639906" y="-10818"/>
            <a:ext cx="1435646" cy="1564253"/>
          </a:xfrm>
          <a:prstGeom prst="diamond">
            <a:avLst/>
          </a:prstGeom>
          <a:blipFill dpi="0" rotWithShape="1">
            <a:blip r:embed="rId5"/>
            <a:srcRect/>
            <a:stretch>
              <a:fillRect l="10000" t="10000" r="10000" b="1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50730923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71000">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14:bounceEnd="71000">
                                          <p:cBhvr additive="base">
                                            <p:cTn id="7" dur="4500" fill="hold"/>
                                            <p:tgtEl>
                                              <p:spTgt spid="25"/>
                                            </p:tgtEl>
                                            <p:attrNameLst>
                                              <p:attrName>ppt_x</p:attrName>
                                            </p:attrNameLst>
                                          </p:cBhvr>
                                          <p:tavLst>
                                            <p:tav tm="0">
                                              <p:val>
                                                <p:strVal val="1+#ppt_w/2"/>
                                              </p:val>
                                            </p:tav>
                                            <p:tav tm="100000">
                                              <p:val>
                                                <p:strVal val="#ppt_x"/>
                                              </p:val>
                                            </p:tav>
                                          </p:tavLst>
                                        </p:anim>
                                        <p:anim calcmode="lin" valueType="num" p14:bounceEnd="71000">
                                          <p:cBhvr additive="base">
                                            <p:cTn id="8" dur="4500" fill="hold"/>
                                            <p:tgtEl>
                                              <p:spTgt spid="25"/>
                                            </p:tgtEl>
                                            <p:attrNameLst>
                                              <p:attrName>ppt_y</p:attrName>
                                            </p:attrNameLst>
                                          </p:cBhvr>
                                          <p:tavLst>
                                            <p:tav tm="0">
                                              <p:val>
                                                <p:strVal val="#ppt_y"/>
                                              </p:val>
                                            </p:tav>
                                            <p:tav tm="100000">
                                              <p:val>
                                                <p:strVal val="#ppt_y"/>
                                              </p:val>
                                            </p:tav>
                                          </p:tavLst>
                                        </p:anim>
                                      </p:childTnLst>
                                    </p:cTn>
                                  </p:par>
                                  <p:par>
                                    <p:cTn id="9" presetID="26" presetClass="emph" presetSubtype="0" fill="hold" grpId="1" nodeType="withEffect">
                                      <p:stCondLst>
                                        <p:cond delay="0"/>
                                      </p:stCondLst>
                                      <p:childTnLst>
                                        <p:animEffect transition="out" filter="fade">
                                          <p:cBhvr>
                                            <p:cTn id="10" dur="500" tmFilter="0, 0; .2, .5; .8, .5; 1, 0"/>
                                            <p:tgtEl>
                                              <p:spTgt spid="25"/>
                                            </p:tgtEl>
                                          </p:cBhvr>
                                        </p:animEffect>
                                        <p:animScale>
                                          <p:cBhvr>
                                            <p:cTn id="11" dur="250" autoRev="1" fill="hold"/>
                                            <p:tgtEl>
                                              <p:spTgt spid="25"/>
                                            </p:tgtEl>
                                          </p:cBhvr>
                                          <p:by x="105000" y="105000"/>
                                        </p:animScale>
                                      </p:childTnLst>
                                    </p:cTn>
                                  </p:par>
                                  <p:par>
                                    <p:cTn id="12" presetID="26" presetClass="emph" presetSubtype="0" fill="hold" grpId="2" nodeType="withEffect">
                                      <p:stCondLst>
                                        <p:cond delay="0"/>
                                      </p:stCondLst>
                                      <p:childTnLst>
                                        <p:animEffect transition="out" filter="fade">
                                          <p:cBhvr>
                                            <p:cTn id="13" dur="500" tmFilter="0, 0; .2, .5; .8, .5; 1, 0"/>
                                            <p:tgtEl>
                                              <p:spTgt spid="25"/>
                                            </p:tgtEl>
                                          </p:cBhvr>
                                        </p:animEffect>
                                        <p:animScale>
                                          <p:cBhvr>
                                            <p:cTn id="14" dur="250" autoRev="1" fill="hold"/>
                                            <p:tgtEl>
                                              <p:spTgt spid="25"/>
                                            </p:tgtEl>
                                          </p:cBhvr>
                                          <p:by x="105000" y="105000"/>
                                        </p:animScale>
                                      </p:childTnLst>
                                    </p:cTn>
                                  </p:par>
                                  <p:par>
                                    <p:cTn id="15" presetID="2" presetClass="entr" presetSubtype="12" fill="hold" grpId="0" nodeType="withEffect" p14:presetBounceEnd="71000">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14:bounceEnd="71000">
                                          <p:cBhvr additive="base">
                                            <p:cTn id="17" dur="4500" fill="hold"/>
                                            <p:tgtEl>
                                              <p:spTgt spid="22"/>
                                            </p:tgtEl>
                                            <p:attrNameLst>
                                              <p:attrName>ppt_x</p:attrName>
                                            </p:attrNameLst>
                                          </p:cBhvr>
                                          <p:tavLst>
                                            <p:tav tm="0">
                                              <p:val>
                                                <p:strVal val="0-#ppt_w/2"/>
                                              </p:val>
                                            </p:tav>
                                            <p:tav tm="100000">
                                              <p:val>
                                                <p:strVal val="#ppt_x"/>
                                              </p:val>
                                            </p:tav>
                                          </p:tavLst>
                                        </p:anim>
                                        <p:anim calcmode="lin" valueType="num" p14:bounceEnd="71000">
                                          <p:cBhvr additive="base">
                                            <p:cTn id="18" dur="4500" fill="hold"/>
                                            <p:tgtEl>
                                              <p:spTgt spid="22"/>
                                            </p:tgtEl>
                                            <p:attrNameLst>
                                              <p:attrName>ppt_y</p:attrName>
                                            </p:attrNameLst>
                                          </p:cBhvr>
                                          <p:tavLst>
                                            <p:tav tm="0">
                                              <p:val>
                                                <p:strVal val="1+#ppt_h/2"/>
                                              </p:val>
                                            </p:tav>
                                            <p:tav tm="100000">
                                              <p:val>
                                                <p:strVal val="#ppt_y"/>
                                              </p:val>
                                            </p:tav>
                                          </p:tavLst>
                                        </p:anim>
                                      </p:childTnLst>
                                    </p:cTn>
                                  </p:par>
                                  <p:par>
                                    <p:cTn id="19" presetID="26" presetClass="emph" presetSubtype="0" fill="hold" grpId="1" nodeType="withEffect">
                                      <p:stCondLst>
                                        <p:cond delay="0"/>
                                      </p:stCondLst>
                                      <p:childTnLst>
                                        <p:animEffect transition="out" filter="fade">
                                          <p:cBhvr>
                                            <p:cTn id="20" dur="500" tmFilter="0, 0; .2, .5; .8, .5; 1, 0"/>
                                            <p:tgtEl>
                                              <p:spTgt spid="22"/>
                                            </p:tgtEl>
                                          </p:cBhvr>
                                        </p:animEffect>
                                        <p:animScale>
                                          <p:cBhvr>
                                            <p:cTn id="21" dur="250" autoRev="1" fill="hold"/>
                                            <p:tgtEl>
                                              <p:spTgt spid="22"/>
                                            </p:tgtEl>
                                          </p:cBhvr>
                                          <p:by x="105000" y="105000"/>
                                        </p:animScale>
                                      </p:childTnLst>
                                    </p:cTn>
                                  </p:par>
                                  <p:par>
                                    <p:cTn id="22" presetID="26" presetClass="emph" presetSubtype="0" fill="hold" grpId="2" nodeType="withEffect">
                                      <p:stCondLst>
                                        <p:cond delay="0"/>
                                      </p:stCondLst>
                                      <p:childTnLst>
                                        <p:animEffect transition="out" filter="fade">
                                          <p:cBhvr>
                                            <p:cTn id="23" dur="500" tmFilter="0, 0; .2, .5; .8, .5; 1, 0"/>
                                            <p:tgtEl>
                                              <p:spTgt spid="22"/>
                                            </p:tgtEl>
                                          </p:cBhvr>
                                        </p:animEffect>
                                        <p:animScale>
                                          <p:cBhvr>
                                            <p:cTn id="24" dur="250" autoRev="1" fill="hold"/>
                                            <p:tgtEl>
                                              <p:spTgt spid="22"/>
                                            </p:tgtEl>
                                          </p:cBhvr>
                                          <p:by x="105000" y="105000"/>
                                        </p:animScale>
                                      </p:childTnLst>
                                    </p:cTn>
                                  </p:par>
                                  <p:par>
                                    <p:cTn id="25" presetID="2" presetClass="entr" presetSubtype="6" fill="hold" grpId="0" nodeType="withEffect" p14:presetBounceEnd="71000">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14:bounceEnd="71000">
                                          <p:cBhvr additive="base">
                                            <p:cTn id="27" dur="4500" fill="hold"/>
                                            <p:tgtEl>
                                              <p:spTgt spid="43"/>
                                            </p:tgtEl>
                                            <p:attrNameLst>
                                              <p:attrName>ppt_x</p:attrName>
                                            </p:attrNameLst>
                                          </p:cBhvr>
                                          <p:tavLst>
                                            <p:tav tm="0">
                                              <p:val>
                                                <p:strVal val="1+#ppt_w/2"/>
                                              </p:val>
                                            </p:tav>
                                            <p:tav tm="100000">
                                              <p:val>
                                                <p:strVal val="#ppt_x"/>
                                              </p:val>
                                            </p:tav>
                                          </p:tavLst>
                                        </p:anim>
                                        <p:anim calcmode="lin" valueType="num" p14:bounceEnd="71000">
                                          <p:cBhvr additive="base">
                                            <p:cTn id="28" dur="4500" fill="hold"/>
                                            <p:tgtEl>
                                              <p:spTgt spid="43"/>
                                            </p:tgtEl>
                                            <p:attrNameLst>
                                              <p:attrName>ppt_y</p:attrName>
                                            </p:attrNameLst>
                                          </p:cBhvr>
                                          <p:tavLst>
                                            <p:tav tm="0">
                                              <p:val>
                                                <p:strVal val="1+#ppt_h/2"/>
                                              </p:val>
                                            </p:tav>
                                            <p:tav tm="100000">
                                              <p:val>
                                                <p:strVal val="#ppt_y"/>
                                              </p:val>
                                            </p:tav>
                                          </p:tavLst>
                                        </p:anim>
                                      </p:childTnLst>
                                    </p:cTn>
                                  </p:par>
                                  <p:par>
                                    <p:cTn id="29" presetID="2" presetClass="entr" presetSubtype="9" fill="hold" grpId="0" nodeType="withEffect" p14:presetBounceEnd="71000">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14:bounceEnd="71000">
                                          <p:cBhvr additive="base">
                                            <p:cTn id="31" dur="4500" fill="hold"/>
                                            <p:tgtEl>
                                              <p:spTgt spid="32"/>
                                            </p:tgtEl>
                                            <p:attrNameLst>
                                              <p:attrName>ppt_x</p:attrName>
                                            </p:attrNameLst>
                                          </p:cBhvr>
                                          <p:tavLst>
                                            <p:tav tm="0">
                                              <p:val>
                                                <p:strVal val="0-#ppt_w/2"/>
                                              </p:val>
                                            </p:tav>
                                            <p:tav tm="100000">
                                              <p:val>
                                                <p:strVal val="#ppt_x"/>
                                              </p:val>
                                            </p:tav>
                                          </p:tavLst>
                                        </p:anim>
                                        <p:anim calcmode="lin" valueType="num" p14:bounceEnd="71000">
                                          <p:cBhvr additive="base">
                                            <p:cTn id="32" dur="4500" fill="hold"/>
                                            <p:tgtEl>
                                              <p:spTgt spid="32"/>
                                            </p:tgtEl>
                                            <p:attrNameLst>
                                              <p:attrName>ppt_y</p:attrName>
                                            </p:attrNameLst>
                                          </p:cBhvr>
                                          <p:tavLst>
                                            <p:tav tm="0">
                                              <p:val>
                                                <p:strVal val="0-#ppt_h/2"/>
                                              </p:val>
                                            </p:tav>
                                            <p:tav tm="100000">
                                              <p:val>
                                                <p:strVal val="#ppt_y"/>
                                              </p:val>
                                            </p:tav>
                                          </p:tavLst>
                                        </p:anim>
                                      </p:childTnLst>
                                    </p:cTn>
                                  </p:par>
                                  <p:par>
                                    <p:cTn id="33" presetID="2" presetClass="entr" presetSubtype="8" fill="hold" grpId="0" nodeType="withEffect" p14:presetBounceEnd="71000">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14:bounceEnd="71000">
                                          <p:cBhvr additive="base">
                                            <p:cTn id="35" dur="4500" fill="hold"/>
                                            <p:tgtEl>
                                              <p:spTgt spid="35"/>
                                            </p:tgtEl>
                                            <p:attrNameLst>
                                              <p:attrName>ppt_x</p:attrName>
                                            </p:attrNameLst>
                                          </p:cBhvr>
                                          <p:tavLst>
                                            <p:tav tm="0">
                                              <p:val>
                                                <p:strVal val="0-#ppt_w/2"/>
                                              </p:val>
                                            </p:tav>
                                            <p:tav tm="100000">
                                              <p:val>
                                                <p:strVal val="#ppt_x"/>
                                              </p:val>
                                            </p:tav>
                                          </p:tavLst>
                                        </p:anim>
                                        <p:anim calcmode="lin" valueType="num" p14:bounceEnd="71000">
                                          <p:cBhvr additive="base">
                                            <p:cTn id="36" dur="4500" fill="hold"/>
                                            <p:tgtEl>
                                              <p:spTgt spid="35"/>
                                            </p:tgtEl>
                                            <p:attrNameLst>
                                              <p:attrName>ppt_y</p:attrName>
                                            </p:attrNameLst>
                                          </p:cBhvr>
                                          <p:tavLst>
                                            <p:tav tm="0">
                                              <p:val>
                                                <p:strVal val="#ppt_y"/>
                                              </p:val>
                                            </p:tav>
                                            <p:tav tm="100000">
                                              <p:val>
                                                <p:strVal val="#ppt_y"/>
                                              </p:val>
                                            </p:tav>
                                          </p:tavLst>
                                        </p:anim>
                                      </p:childTnLst>
                                    </p:cTn>
                                  </p:par>
                                  <p:par>
                                    <p:cTn id="37" presetID="2" presetClass="entr" presetSubtype="3" fill="hold" grpId="0" nodeType="withEffect" p14:presetBounceEnd="71000">
                                      <p:stCondLst>
                                        <p:cond delay="0"/>
                                      </p:stCondLst>
                                      <p:childTnLst>
                                        <p:set>
                                          <p:cBhvr>
                                            <p:cTn id="38" dur="1" fill="hold">
                                              <p:stCondLst>
                                                <p:cond delay="0"/>
                                              </p:stCondLst>
                                            </p:cTn>
                                            <p:tgtEl>
                                              <p:spTgt spid="39"/>
                                            </p:tgtEl>
                                            <p:attrNameLst>
                                              <p:attrName>style.visibility</p:attrName>
                                            </p:attrNameLst>
                                          </p:cBhvr>
                                          <p:to>
                                            <p:strVal val="visible"/>
                                          </p:to>
                                        </p:set>
                                        <p:anim calcmode="lin" valueType="num" p14:bounceEnd="71000">
                                          <p:cBhvr additive="base">
                                            <p:cTn id="39" dur="4500" fill="hold"/>
                                            <p:tgtEl>
                                              <p:spTgt spid="39"/>
                                            </p:tgtEl>
                                            <p:attrNameLst>
                                              <p:attrName>ppt_x</p:attrName>
                                            </p:attrNameLst>
                                          </p:cBhvr>
                                          <p:tavLst>
                                            <p:tav tm="0">
                                              <p:val>
                                                <p:strVal val="1+#ppt_w/2"/>
                                              </p:val>
                                            </p:tav>
                                            <p:tav tm="100000">
                                              <p:val>
                                                <p:strVal val="#ppt_x"/>
                                              </p:val>
                                            </p:tav>
                                          </p:tavLst>
                                        </p:anim>
                                        <p:anim calcmode="lin" valueType="num" p14:bounceEnd="71000">
                                          <p:cBhvr additive="base">
                                            <p:cTn id="40" dur="4500" fill="hold"/>
                                            <p:tgtEl>
                                              <p:spTgt spid="39"/>
                                            </p:tgtEl>
                                            <p:attrNameLst>
                                              <p:attrName>ppt_y</p:attrName>
                                            </p:attrNameLst>
                                          </p:cBhvr>
                                          <p:tavLst>
                                            <p:tav tm="0">
                                              <p:val>
                                                <p:strVal val="0-#ppt_h/2"/>
                                              </p:val>
                                            </p:tav>
                                            <p:tav tm="100000">
                                              <p:val>
                                                <p:strVal val="#ppt_y"/>
                                              </p:val>
                                            </p:tav>
                                          </p:tavLst>
                                        </p:anim>
                                      </p:childTnLst>
                                    </p:cTn>
                                  </p:par>
                                  <p:par>
                                    <p:cTn id="41" presetID="2" presetClass="entr" presetSubtype="3" fill="hold" grpId="0" nodeType="withEffect" p14:presetBounceEnd="71000">
                                      <p:stCondLst>
                                        <p:cond delay="0"/>
                                      </p:stCondLst>
                                      <p:childTnLst>
                                        <p:set>
                                          <p:cBhvr>
                                            <p:cTn id="42" dur="1" fill="hold">
                                              <p:stCondLst>
                                                <p:cond delay="0"/>
                                              </p:stCondLst>
                                            </p:cTn>
                                            <p:tgtEl>
                                              <p:spTgt spid="37"/>
                                            </p:tgtEl>
                                            <p:attrNameLst>
                                              <p:attrName>style.visibility</p:attrName>
                                            </p:attrNameLst>
                                          </p:cBhvr>
                                          <p:to>
                                            <p:strVal val="visible"/>
                                          </p:to>
                                        </p:set>
                                        <p:anim calcmode="lin" valueType="num" p14:bounceEnd="71000">
                                          <p:cBhvr additive="base">
                                            <p:cTn id="43" dur="4500" fill="hold"/>
                                            <p:tgtEl>
                                              <p:spTgt spid="37"/>
                                            </p:tgtEl>
                                            <p:attrNameLst>
                                              <p:attrName>ppt_x</p:attrName>
                                            </p:attrNameLst>
                                          </p:cBhvr>
                                          <p:tavLst>
                                            <p:tav tm="0">
                                              <p:val>
                                                <p:strVal val="1+#ppt_w/2"/>
                                              </p:val>
                                            </p:tav>
                                            <p:tav tm="100000">
                                              <p:val>
                                                <p:strVal val="#ppt_x"/>
                                              </p:val>
                                            </p:tav>
                                          </p:tavLst>
                                        </p:anim>
                                        <p:anim calcmode="lin" valueType="num" p14:bounceEnd="71000">
                                          <p:cBhvr additive="base">
                                            <p:cTn id="44" dur="4500" fill="hold"/>
                                            <p:tgtEl>
                                              <p:spTgt spid="37"/>
                                            </p:tgtEl>
                                            <p:attrNameLst>
                                              <p:attrName>ppt_y</p:attrName>
                                            </p:attrNameLst>
                                          </p:cBhvr>
                                          <p:tavLst>
                                            <p:tav tm="0">
                                              <p:val>
                                                <p:strVal val="0-#ppt_h/2"/>
                                              </p:val>
                                            </p:tav>
                                            <p:tav tm="100000">
                                              <p:val>
                                                <p:strVal val="#ppt_y"/>
                                              </p:val>
                                            </p:tav>
                                          </p:tavLst>
                                        </p:anim>
                                      </p:childTnLst>
                                    </p:cTn>
                                  </p:par>
                                  <p:par>
                                    <p:cTn id="45" presetID="2" presetClass="entr" presetSubtype="2" fill="hold" grpId="0" nodeType="withEffect" p14:presetBounceEnd="71000">
                                      <p:stCondLst>
                                        <p:cond delay="0"/>
                                      </p:stCondLst>
                                      <p:childTnLst>
                                        <p:set>
                                          <p:cBhvr>
                                            <p:cTn id="46" dur="1" fill="hold">
                                              <p:stCondLst>
                                                <p:cond delay="0"/>
                                              </p:stCondLst>
                                            </p:cTn>
                                            <p:tgtEl>
                                              <p:spTgt spid="34"/>
                                            </p:tgtEl>
                                            <p:attrNameLst>
                                              <p:attrName>style.visibility</p:attrName>
                                            </p:attrNameLst>
                                          </p:cBhvr>
                                          <p:to>
                                            <p:strVal val="visible"/>
                                          </p:to>
                                        </p:set>
                                        <p:anim calcmode="lin" valueType="num" p14:bounceEnd="71000">
                                          <p:cBhvr additive="base">
                                            <p:cTn id="47" dur="4500" fill="hold"/>
                                            <p:tgtEl>
                                              <p:spTgt spid="34"/>
                                            </p:tgtEl>
                                            <p:attrNameLst>
                                              <p:attrName>ppt_x</p:attrName>
                                            </p:attrNameLst>
                                          </p:cBhvr>
                                          <p:tavLst>
                                            <p:tav tm="0">
                                              <p:val>
                                                <p:strVal val="1+#ppt_w/2"/>
                                              </p:val>
                                            </p:tav>
                                            <p:tav tm="100000">
                                              <p:val>
                                                <p:strVal val="#ppt_x"/>
                                              </p:val>
                                            </p:tav>
                                          </p:tavLst>
                                        </p:anim>
                                        <p:anim calcmode="lin" valueType="num" p14:bounceEnd="71000">
                                          <p:cBhvr additive="base">
                                            <p:cTn id="48" dur="4500" fill="hold"/>
                                            <p:tgtEl>
                                              <p:spTgt spid="34"/>
                                            </p:tgtEl>
                                            <p:attrNameLst>
                                              <p:attrName>ppt_y</p:attrName>
                                            </p:attrNameLst>
                                          </p:cBhvr>
                                          <p:tavLst>
                                            <p:tav tm="0">
                                              <p:val>
                                                <p:strVal val="#ppt_y"/>
                                              </p:val>
                                            </p:tav>
                                            <p:tav tm="100000">
                                              <p:val>
                                                <p:strVal val="#ppt_y"/>
                                              </p:val>
                                            </p:tav>
                                          </p:tavLst>
                                        </p:anim>
                                      </p:childTnLst>
                                    </p:cTn>
                                  </p:par>
                                  <p:par>
                                    <p:cTn id="49" presetID="2" presetClass="entr" presetSubtype="6" fill="hold" grpId="0" nodeType="withEffect" p14:presetBounceEnd="71000">
                                      <p:stCondLst>
                                        <p:cond delay="0"/>
                                      </p:stCondLst>
                                      <p:childTnLst>
                                        <p:set>
                                          <p:cBhvr>
                                            <p:cTn id="50" dur="1" fill="hold">
                                              <p:stCondLst>
                                                <p:cond delay="0"/>
                                              </p:stCondLst>
                                            </p:cTn>
                                            <p:tgtEl>
                                              <p:spTgt spid="33"/>
                                            </p:tgtEl>
                                            <p:attrNameLst>
                                              <p:attrName>style.visibility</p:attrName>
                                            </p:attrNameLst>
                                          </p:cBhvr>
                                          <p:to>
                                            <p:strVal val="visible"/>
                                          </p:to>
                                        </p:set>
                                        <p:anim calcmode="lin" valueType="num" p14:bounceEnd="71000">
                                          <p:cBhvr additive="base">
                                            <p:cTn id="51" dur="4500" fill="hold"/>
                                            <p:tgtEl>
                                              <p:spTgt spid="33"/>
                                            </p:tgtEl>
                                            <p:attrNameLst>
                                              <p:attrName>ppt_x</p:attrName>
                                            </p:attrNameLst>
                                          </p:cBhvr>
                                          <p:tavLst>
                                            <p:tav tm="0">
                                              <p:val>
                                                <p:strVal val="1+#ppt_w/2"/>
                                              </p:val>
                                            </p:tav>
                                            <p:tav tm="100000">
                                              <p:val>
                                                <p:strVal val="#ppt_x"/>
                                              </p:val>
                                            </p:tav>
                                          </p:tavLst>
                                        </p:anim>
                                        <p:anim calcmode="lin" valueType="num" p14:bounceEnd="71000">
                                          <p:cBhvr additive="base">
                                            <p:cTn id="52" dur="4500" fill="hold"/>
                                            <p:tgtEl>
                                              <p:spTgt spid="33"/>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14:presetBounceEnd="71000">
                                      <p:stCondLst>
                                        <p:cond delay="0"/>
                                      </p:stCondLst>
                                      <p:childTnLst>
                                        <p:set>
                                          <p:cBhvr>
                                            <p:cTn id="54" dur="1" fill="hold">
                                              <p:stCondLst>
                                                <p:cond delay="0"/>
                                              </p:stCondLst>
                                            </p:cTn>
                                            <p:tgtEl>
                                              <p:spTgt spid="36"/>
                                            </p:tgtEl>
                                            <p:attrNameLst>
                                              <p:attrName>style.visibility</p:attrName>
                                            </p:attrNameLst>
                                          </p:cBhvr>
                                          <p:to>
                                            <p:strVal val="visible"/>
                                          </p:to>
                                        </p:set>
                                        <p:anim calcmode="lin" valueType="num" p14:bounceEnd="71000">
                                          <p:cBhvr additive="base">
                                            <p:cTn id="55" dur="4500" fill="hold"/>
                                            <p:tgtEl>
                                              <p:spTgt spid="36"/>
                                            </p:tgtEl>
                                            <p:attrNameLst>
                                              <p:attrName>ppt_x</p:attrName>
                                            </p:attrNameLst>
                                          </p:cBhvr>
                                          <p:tavLst>
                                            <p:tav tm="0">
                                              <p:val>
                                                <p:strVal val="#ppt_x"/>
                                              </p:val>
                                            </p:tav>
                                            <p:tav tm="100000">
                                              <p:val>
                                                <p:strVal val="#ppt_x"/>
                                              </p:val>
                                            </p:tav>
                                          </p:tavLst>
                                        </p:anim>
                                        <p:anim calcmode="lin" valueType="num" p14:bounceEnd="71000">
                                          <p:cBhvr additive="base">
                                            <p:cTn id="56" dur="4500" fill="hold"/>
                                            <p:tgtEl>
                                              <p:spTgt spid="36"/>
                                            </p:tgtEl>
                                            <p:attrNameLst>
                                              <p:attrName>ppt_y</p:attrName>
                                            </p:attrNameLst>
                                          </p:cBhvr>
                                          <p:tavLst>
                                            <p:tav tm="0">
                                              <p:val>
                                                <p:strVal val="1+#ppt_h/2"/>
                                              </p:val>
                                            </p:tav>
                                            <p:tav tm="100000">
                                              <p:val>
                                                <p:strVal val="#ppt_y"/>
                                              </p:val>
                                            </p:tav>
                                          </p:tavLst>
                                        </p:anim>
                                      </p:childTnLst>
                                    </p:cTn>
                                  </p:par>
                                </p:childTnLst>
                              </p:cTn>
                            </p:par>
                            <p:par>
                              <p:cTn id="57" fill="hold">
                                <p:stCondLst>
                                  <p:cond delay="4500"/>
                                </p:stCondLst>
                                <p:childTnLst>
                                  <p:par>
                                    <p:cTn id="58" presetID="23" presetClass="entr" presetSubtype="16" fill="hold" grpId="0" nodeType="afterEffect">
                                      <p:stCondLst>
                                        <p:cond delay="0"/>
                                      </p:stCondLst>
                                      <p:iterate type="lt">
                                        <p:tmPct val="10000"/>
                                      </p:iterate>
                                      <p:childTnLst>
                                        <p:set>
                                          <p:cBhvr>
                                            <p:cTn id="59" dur="1" fill="hold">
                                              <p:stCondLst>
                                                <p:cond delay="0"/>
                                              </p:stCondLst>
                                            </p:cTn>
                                            <p:tgtEl>
                                              <p:spTgt spid="23"/>
                                            </p:tgtEl>
                                            <p:attrNameLst>
                                              <p:attrName>style.visibility</p:attrName>
                                            </p:attrNameLst>
                                          </p:cBhvr>
                                          <p:to>
                                            <p:strVal val="visible"/>
                                          </p:to>
                                        </p:set>
                                        <p:anim calcmode="lin" valueType="num">
                                          <p:cBhvr>
                                            <p:cTn id="60" dur="750" fill="hold"/>
                                            <p:tgtEl>
                                              <p:spTgt spid="23"/>
                                            </p:tgtEl>
                                            <p:attrNameLst>
                                              <p:attrName>ppt_w</p:attrName>
                                            </p:attrNameLst>
                                          </p:cBhvr>
                                          <p:tavLst>
                                            <p:tav tm="0">
                                              <p:val>
                                                <p:fltVal val="0"/>
                                              </p:val>
                                            </p:tav>
                                            <p:tav tm="100000">
                                              <p:val>
                                                <p:strVal val="#ppt_w"/>
                                              </p:val>
                                            </p:tav>
                                          </p:tavLst>
                                        </p:anim>
                                        <p:anim calcmode="lin" valueType="num">
                                          <p:cBhvr>
                                            <p:cTn id="61" dur="750" fill="hold"/>
                                            <p:tgtEl>
                                              <p:spTgt spid="23"/>
                                            </p:tgtEl>
                                            <p:attrNameLst>
                                              <p:attrName>ppt_h</p:attrName>
                                            </p:attrNameLst>
                                          </p:cBhvr>
                                          <p:tavLst>
                                            <p:tav tm="0">
                                              <p:val>
                                                <p:fltVal val="0"/>
                                              </p:val>
                                            </p:tav>
                                            <p:tav tm="100000">
                                              <p:val>
                                                <p:strVal val="#ppt_h"/>
                                              </p:val>
                                            </p:tav>
                                          </p:tavLst>
                                        </p:anim>
                                      </p:childTnLst>
                                    </p:cTn>
                                  </p:par>
                                </p:childTnLst>
                              </p:cTn>
                            </p:par>
                            <p:par>
                              <p:cTn id="62" fill="hold">
                                <p:stCondLst>
                                  <p:cond delay="6225"/>
                                </p:stCondLst>
                                <p:childTnLst>
                                  <p:par>
                                    <p:cTn id="63" presetID="2" presetClass="entr" presetSubtype="4" fill="hold" grpId="0" nodeType="afterEffect">
                                      <p:stCondLst>
                                        <p:cond delay="0"/>
                                      </p:stCondLst>
                                      <p:iterate type="lt">
                                        <p:tmPct val="10000"/>
                                      </p:iterate>
                                      <p:childTnLst>
                                        <p:set>
                                          <p:cBhvr>
                                            <p:cTn id="64" dur="1" fill="hold">
                                              <p:stCondLst>
                                                <p:cond delay="0"/>
                                              </p:stCondLst>
                                            </p:cTn>
                                            <p:tgtEl>
                                              <p:spTgt spid="24"/>
                                            </p:tgtEl>
                                            <p:attrNameLst>
                                              <p:attrName>style.visibility</p:attrName>
                                            </p:attrNameLst>
                                          </p:cBhvr>
                                          <p:to>
                                            <p:strVal val="visible"/>
                                          </p:to>
                                        </p:set>
                                        <p:anim calcmode="lin" valueType="num">
                                          <p:cBhvr additive="base">
                                            <p:cTn id="65" dur="750" fill="hold"/>
                                            <p:tgtEl>
                                              <p:spTgt spid="24"/>
                                            </p:tgtEl>
                                            <p:attrNameLst>
                                              <p:attrName>ppt_x</p:attrName>
                                            </p:attrNameLst>
                                          </p:cBhvr>
                                          <p:tavLst>
                                            <p:tav tm="0">
                                              <p:val>
                                                <p:strVal val="#ppt_x"/>
                                              </p:val>
                                            </p:tav>
                                            <p:tav tm="100000">
                                              <p:val>
                                                <p:strVal val="#ppt_x"/>
                                              </p:val>
                                            </p:tav>
                                          </p:tavLst>
                                        </p:anim>
                                        <p:anim calcmode="lin" valueType="num">
                                          <p:cBhvr additive="base">
                                            <p:cTn id="66" dur="750" fill="hold"/>
                                            <p:tgtEl>
                                              <p:spTgt spid="24"/>
                                            </p:tgtEl>
                                            <p:attrNameLst>
                                              <p:attrName>ppt_y</p:attrName>
                                            </p:attrNameLst>
                                          </p:cBhvr>
                                          <p:tavLst>
                                            <p:tav tm="0">
                                              <p:val>
                                                <p:strVal val="1+#ppt_h/2"/>
                                              </p:val>
                                            </p:tav>
                                            <p:tav tm="100000">
                                              <p:val>
                                                <p:strVal val="#ppt_y"/>
                                              </p:val>
                                            </p:tav>
                                          </p:tavLst>
                                        </p:anim>
                                      </p:childTnLst>
                                    </p:cTn>
                                  </p:par>
                                </p:childTnLst>
                              </p:cTn>
                            </p:par>
                            <p:par>
                              <p:cTn id="67" fill="hold">
                                <p:stCondLst>
                                  <p:cond delay="7500"/>
                                </p:stCondLst>
                                <p:childTnLst>
                                  <p:par>
                                    <p:cTn id="68" presetID="41" presetClass="entr" presetSubtype="0" fill="hold" grpId="0" nodeType="afterEffect">
                                      <p:stCondLst>
                                        <p:cond delay="0"/>
                                      </p:stCondLst>
                                      <p:iterate type="lt">
                                        <p:tmPct val="10000"/>
                                      </p:iterate>
                                      <p:childTnLst>
                                        <p:set>
                                          <p:cBhvr>
                                            <p:cTn id="69" dur="1" fill="hold">
                                              <p:stCondLst>
                                                <p:cond delay="0"/>
                                              </p:stCondLst>
                                            </p:cTn>
                                            <p:tgtEl>
                                              <p:spTgt spid="38"/>
                                            </p:tgtEl>
                                            <p:attrNameLst>
                                              <p:attrName>style.visibility</p:attrName>
                                            </p:attrNameLst>
                                          </p:cBhvr>
                                          <p:to>
                                            <p:strVal val="visible"/>
                                          </p:to>
                                        </p:set>
                                        <p:anim calcmode="lin" valueType="num">
                                          <p:cBhvr>
                                            <p:cTn id="70" dur="250" fill="hold"/>
                                            <p:tgtEl>
                                              <p:spTgt spid="38"/>
                                            </p:tgtEl>
                                            <p:attrNameLst>
                                              <p:attrName>ppt_x</p:attrName>
                                            </p:attrNameLst>
                                          </p:cBhvr>
                                          <p:tavLst>
                                            <p:tav tm="0">
                                              <p:val>
                                                <p:strVal val="#ppt_x"/>
                                              </p:val>
                                            </p:tav>
                                            <p:tav tm="50000">
                                              <p:val>
                                                <p:strVal val="#ppt_x+.1"/>
                                              </p:val>
                                            </p:tav>
                                            <p:tav tm="100000">
                                              <p:val>
                                                <p:strVal val="#ppt_x"/>
                                              </p:val>
                                            </p:tav>
                                          </p:tavLst>
                                        </p:anim>
                                        <p:anim calcmode="lin" valueType="num">
                                          <p:cBhvr>
                                            <p:cTn id="71" dur="250" fill="hold"/>
                                            <p:tgtEl>
                                              <p:spTgt spid="38"/>
                                            </p:tgtEl>
                                            <p:attrNameLst>
                                              <p:attrName>ppt_y</p:attrName>
                                            </p:attrNameLst>
                                          </p:cBhvr>
                                          <p:tavLst>
                                            <p:tav tm="0">
                                              <p:val>
                                                <p:strVal val="#ppt_y"/>
                                              </p:val>
                                            </p:tav>
                                            <p:tav tm="100000">
                                              <p:val>
                                                <p:strVal val="#ppt_y"/>
                                              </p:val>
                                            </p:tav>
                                          </p:tavLst>
                                        </p:anim>
                                        <p:anim calcmode="lin" valueType="num">
                                          <p:cBhvr>
                                            <p:cTn id="72" dur="250" fill="hold"/>
                                            <p:tgtEl>
                                              <p:spTgt spid="38"/>
                                            </p:tgtEl>
                                            <p:attrNameLst>
                                              <p:attrName>ppt_h</p:attrName>
                                            </p:attrNameLst>
                                          </p:cBhvr>
                                          <p:tavLst>
                                            <p:tav tm="0">
                                              <p:val>
                                                <p:strVal val="#ppt_h/10"/>
                                              </p:val>
                                            </p:tav>
                                            <p:tav tm="50000">
                                              <p:val>
                                                <p:strVal val="#ppt_h+.01"/>
                                              </p:val>
                                            </p:tav>
                                            <p:tav tm="100000">
                                              <p:val>
                                                <p:strVal val="#ppt_h"/>
                                              </p:val>
                                            </p:tav>
                                          </p:tavLst>
                                        </p:anim>
                                        <p:anim calcmode="lin" valueType="num">
                                          <p:cBhvr>
                                            <p:cTn id="73" dur="250" fill="hold"/>
                                            <p:tgtEl>
                                              <p:spTgt spid="38"/>
                                            </p:tgtEl>
                                            <p:attrNameLst>
                                              <p:attrName>ppt_w</p:attrName>
                                            </p:attrNameLst>
                                          </p:cBhvr>
                                          <p:tavLst>
                                            <p:tav tm="0">
                                              <p:val>
                                                <p:strVal val="#ppt_w/10"/>
                                              </p:val>
                                            </p:tav>
                                            <p:tav tm="50000">
                                              <p:val>
                                                <p:strVal val="#ppt_w+.01"/>
                                              </p:val>
                                            </p:tav>
                                            <p:tav tm="100000">
                                              <p:val>
                                                <p:strVal val="#ppt_w"/>
                                              </p:val>
                                            </p:tav>
                                          </p:tavLst>
                                        </p:anim>
                                        <p:animEffect transition="in" filter="fade">
                                          <p:cBhvr>
                                            <p:cTn id="74" dur="250" tmFilter="0,0; .5, 1; 1, 1"/>
                                            <p:tgtEl>
                                              <p:spTgt spid="38"/>
                                            </p:tgtEl>
                                          </p:cBhvr>
                                        </p:animEffect>
                                      </p:childTnLst>
                                    </p:cTn>
                                  </p:par>
                                </p:childTnLst>
                              </p:cTn>
                            </p:par>
                            <p:par>
                              <p:cTn id="75" fill="hold">
                                <p:stCondLst>
                                  <p:cond delay="8000"/>
                                </p:stCondLst>
                                <p:childTnLst>
                                  <p:par>
                                    <p:cTn id="76" presetID="16" presetClass="entr" presetSubtype="21" fill="hold" nodeType="afterEffect">
                                      <p:stCondLst>
                                        <p:cond delay="0"/>
                                      </p:stCondLst>
                                      <p:childTnLst>
                                        <p:set>
                                          <p:cBhvr>
                                            <p:cTn id="77" dur="1" fill="hold">
                                              <p:stCondLst>
                                                <p:cond delay="0"/>
                                              </p:stCondLst>
                                            </p:cTn>
                                            <p:tgtEl>
                                              <p:spTgt spid="26"/>
                                            </p:tgtEl>
                                            <p:attrNameLst>
                                              <p:attrName>style.visibility</p:attrName>
                                            </p:attrNameLst>
                                          </p:cBhvr>
                                          <p:to>
                                            <p:strVal val="visible"/>
                                          </p:to>
                                        </p:set>
                                        <p:animEffect transition="in" filter="barn(inVertical)">
                                          <p:cBhvr>
                                            <p:cTn id="78" dur="500"/>
                                            <p:tgtEl>
                                              <p:spTgt spid="26"/>
                                            </p:tgtEl>
                                          </p:cBhvr>
                                        </p:animEffect>
                                      </p:childTnLst>
                                    </p:cTn>
                                  </p:par>
                                  <p:par>
                                    <p:cTn id="79" presetID="16" presetClass="entr" presetSubtype="21" fill="hold" nodeType="withEffect">
                                      <p:stCondLst>
                                        <p:cond delay="0"/>
                                      </p:stCondLst>
                                      <p:childTnLst>
                                        <p:set>
                                          <p:cBhvr>
                                            <p:cTn id="80" dur="1" fill="hold">
                                              <p:stCondLst>
                                                <p:cond delay="0"/>
                                              </p:stCondLst>
                                            </p:cTn>
                                            <p:tgtEl>
                                              <p:spTgt spid="27"/>
                                            </p:tgtEl>
                                            <p:attrNameLst>
                                              <p:attrName>style.visibility</p:attrName>
                                            </p:attrNameLst>
                                          </p:cBhvr>
                                          <p:to>
                                            <p:strVal val="visible"/>
                                          </p:to>
                                        </p:set>
                                        <p:animEffect transition="in" filter="barn(inVertical)">
                                          <p:cBhvr>
                                            <p:cTn id="8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32" grpId="0" animBg="1"/>
          <p:bldP spid="33" grpId="0" animBg="1"/>
          <p:bldP spid="34" grpId="0" animBg="1"/>
          <p:bldP spid="35" grpId="0" animBg="1"/>
          <p:bldP spid="36" grpId="0" animBg="1"/>
          <p:bldP spid="37" grpId="0" animBg="1"/>
          <p:bldP spid="38" grpId="0"/>
          <p:bldP spid="39" grpId="0" animBg="1"/>
          <p:bldP spid="22" grpId="0" animBg="1"/>
          <p:bldP spid="22" grpId="1" animBg="1"/>
          <p:bldP spid="22" grpId="2" animBg="1"/>
          <p:bldP spid="25" grpId="0" animBg="1"/>
          <p:bldP spid="25" grpId="1" animBg="1"/>
          <p:bldP spid="25" grpId="2" animBg="1"/>
          <p:bldP spid="4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4500" fill="hold"/>
                                            <p:tgtEl>
                                              <p:spTgt spid="25"/>
                                            </p:tgtEl>
                                            <p:attrNameLst>
                                              <p:attrName>ppt_x</p:attrName>
                                            </p:attrNameLst>
                                          </p:cBhvr>
                                          <p:tavLst>
                                            <p:tav tm="0">
                                              <p:val>
                                                <p:strVal val="1+#ppt_w/2"/>
                                              </p:val>
                                            </p:tav>
                                            <p:tav tm="100000">
                                              <p:val>
                                                <p:strVal val="#ppt_x"/>
                                              </p:val>
                                            </p:tav>
                                          </p:tavLst>
                                        </p:anim>
                                        <p:anim calcmode="lin" valueType="num">
                                          <p:cBhvr additive="base">
                                            <p:cTn id="8" dur="4500" fill="hold"/>
                                            <p:tgtEl>
                                              <p:spTgt spid="25"/>
                                            </p:tgtEl>
                                            <p:attrNameLst>
                                              <p:attrName>ppt_y</p:attrName>
                                            </p:attrNameLst>
                                          </p:cBhvr>
                                          <p:tavLst>
                                            <p:tav tm="0">
                                              <p:val>
                                                <p:strVal val="#ppt_y"/>
                                              </p:val>
                                            </p:tav>
                                            <p:tav tm="100000">
                                              <p:val>
                                                <p:strVal val="#ppt_y"/>
                                              </p:val>
                                            </p:tav>
                                          </p:tavLst>
                                        </p:anim>
                                      </p:childTnLst>
                                    </p:cTn>
                                  </p:par>
                                  <p:par>
                                    <p:cTn id="9" presetID="26" presetClass="emph" presetSubtype="0" fill="hold" grpId="1" nodeType="withEffect">
                                      <p:stCondLst>
                                        <p:cond delay="0"/>
                                      </p:stCondLst>
                                      <p:childTnLst>
                                        <p:animEffect transition="out" filter="fade">
                                          <p:cBhvr>
                                            <p:cTn id="10" dur="500" tmFilter="0, 0; .2, .5; .8, .5; 1, 0"/>
                                            <p:tgtEl>
                                              <p:spTgt spid="25"/>
                                            </p:tgtEl>
                                          </p:cBhvr>
                                        </p:animEffect>
                                        <p:animScale>
                                          <p:cBhvr>
                                            <p:cTn id="11" dur="250" autoRev="1" fill="hold"/>
                                            <p:tgtEl>
                                              <p:spTgt spid="25"/>
                                            </p:tgtEl>
                                          </p:cBhvr>
                                          <p:by x="105000" y="105000"/>
                                        </p:animScale>
                                      </p:childTnLst>
                                    </p:cTn>
                                  </p:par>
                                  <p:par>
                                    <p:cTn id="12" presetID="26" presetClass="emph" presetSubtype="0" fill="hold" grpId="2" nodeType="withEffect">
                                      <p:stCondLst>
                                        <p:cond delay="0"/>
                                      </p:stCondLst>
                                      <p:childTnLst>
                                        <p:animEffect transition="out" filter="fade">
                                          <p:cBhvr>
                                            <p:cTn id="13" dur="500" tmFilter="0, 0; .2, .5; .8, .5; 1, 0"/>
                                            <p:tgtEl>
                                              <p:spTgt spid="25"/>
                                            </p:tgtEl>
                                          </p:cBhvr>
                                        </p:animEffect>
                                        <p:animScale>
                                          <p:cBhvr>
                                            <p:cTn id="14" dur="250" autoRev="1" fill="hold"/>
                                            <p:tgtEl>
                                              <p:spTgt spid="25"/>
                                            </p:tgtEl>
                                          </p:cBhvr>
                                          <p:by x="105000" y="105000"/>
                                        </p:animScale>
                                      </p:childTnLst>
                                    </p:cTn>
                                  </p:par>
                                  <p:par>
                                    <p:cTn id="15" presetID="2" presetClass="entr" presetSubtype="12"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4500" fill="hold"/>
                                            <p:tgtEl>
                                              <p:spTgt spid="22"/>
                                            </p:tgtEl>
                                            <p:attrNameLst>
                                              <p:attrName>ppt_x</p:attrName>
                                            </p:attrNameLst>
                                          </p:cBhvr>
                                          <p:tavLst>
                                            <p:tav tm="0">
                                              <p:val>
                                                <p:strVal val="0-#ppt_w/2"/>
                                              </p:val>
                                            </p:tav>
                                            <p:tav tm="100000">
                                              <p:val>
                                                <p:strVal val="#ppt_x"/>
                                              </p:val>
                                            </p:tav>
                                          </p:tavLst>
                                        </p:anim>
                                        <p:anim calcmode="lin" valueType="num">
                                          <p:cBhvr additive="base">
                                            <p:cTn id="18" dur="4500" fill="hold"/>
                                            <p:tgtEl>
                                              <p:spTgt spid="22"/>
                                            </p:tgtEl>
                                            <p:attrNameLst>
                                              <p:attrName>ppt_y</p:attrName>
                                            </p:attrNameLst>
                                          </p:cBhvr>
                                          <p:tavLst>
                                            <p:tav tm="0">
                                              <p:val>
                                                <p:strVal val="1+#ppt_h/2"/>
                                              </p:val>
                                            </p:tav>
                                            <p:tav tm="100000">
                                              <p:val>
                                                <p:strVal val="#ppt_y"/>
                                              </p:val>
                                            </p:tav>
                                          </p:tavLst>
                                        </p:anim>
                                      </p:childTnLst>
                                    </p:cTn>
                                  </p:par>
                                  <p:par>
                                    <p:cTn id="19" presetID="26" presetClass="emph" presetSubtype="0" fill="hold" grpId="1" nodeType="withEffect">
                                      <p:stCondLst>
                                        <p:cond delay="0"/>
                                      </p:stCondLst>
                                      <p:childTnLst>
                                        <p:animEffect transition="out" filter="fade">
                                          <p:cBhvr>
                                            <p:cTn id="20" dur="500" tmFilter="0, 0; .2, .5; .8, .5; 1, 0"/>
                                            <p:tgtEl>
                                              <p:spTgt spid="22"/>
                                            </p:tgtEl>
                                          </p:cBhvr>
                                        </p:animEffect>
                                        <p:animScale>
                                          <p:cBhvr>
                                            <p:cTn id="21" dur="250" autoRev="1" fill="hold"/>
                                            <p:tgtEl>
                                              <p:spTgt spid="22"/>
                                            </p:tgtEl>
                                          </p:cBhvr>
                                          <p:by x="105000" y="105000"/>
                                        </p:animScale>
                                      </p:childTnLst>
                                    </p:cTn>
                                  </p:par>
                                  <p:par>
                                    <p:cTn id="22" presetID="26" presetClass="emph" presetSubtype="0" fill="hold" grpId="2" nodeType="withEffect">
                                      <p:stCondLst>
                                        <p:cond delay="0"/>
                                      </p:stCondLst>
                                      <p:childTnLst>
                                        <p:animEffect transition="out" filter="fade">
                                          <p:cBhvr>
                                            <p:cTn id="23" dur="500" tmFilter="0, 0; .2, .5; .8, .5; 1, 0"/>
                                            <p:tgtEl>
                                              <p:spTgt spid="22"/>
                                            </p:tgtEl>
                                          </p:cBhvr>
                                        </p:animEffect>
                                        <p:animScale>
                                          <p:cBhvr>
                                            <p:cTn id="24" dur="250" autoRev="1" fill="hold"/>
                                            <p:tgtEl>
                                              <p:spTgt spid="22"/>
                                            </p:tgtEl>
                                          </p:cBhvr>
                                          <p:by x="105000" y="105000"/>
                                        </p:animScale>
                                      </p:childTnLst>
                                    </p:cTn>
                                  </p:par>
                                  <p:par>
                                    <p:cTn id="25" presetID="2" presetClass="entr" presetSubtype="6"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4500" fill="hold"/>
                                            <p:tgtEl>
                                              <p:spTgt spid="43"/>
                                            </p:tgtEl>
                                            <p:attrNameLst>
                                              <p:attrName>ppt_x</p:attrName>
                                            </p:attrNameLst>
                                          </p:cBhvr>
                                          <p:tavLst>
                                            <p:tav tm="0">
                                              <p:val>
                                                <p:strVal val="1+#ppt_w/2"/>
                                              </p:val>
                                            </p:tav>
                                            <p:tav tm="100000">
                                              <p:val>
                                                <p:strVal val="#ppt_x"/>
                                              </p:val>
                                            </p:tav>
                                          </p:tavLst>
                                        </p:anim>
                                        <p:anim calcmode="lin" valueType="num">
                                          <p:cBhvr additive="base">
                                            <p:cTn id="28" dur="4500" fill="hold"/>
                                            <p:tgtEl>
                                              <p:spTgt spid="43"/>
                                            </p:tgtEl>
                                            <p:attrNameLst>
                                              <p:attrName>ppt_y</p:attrName>
                                            </p:attrNameLst>
                                          </p:cBhvr>
                                          <p:tavLst>
                                            <p:tav tm="0">
                                              <p:val>
                                                <p:strVal val="1+#ppt_h/2"/>
                                              </p:val>
                                            </p:tav>
                                            <p:tav tm="100000">
                                              <p:val>
                                                <p:strVal val="#ppt_y"/>
                                              </p:val>
                                            </p:tav>
                                          </p:tavLst>
                                        </p:anim>
                                      </p:childTnLst>
                                    </p:cTn>
                                  </p:par>
                                  <p:par>
                                    <p:cTn id="29" presetID="2" presetClass="entr" presetSubtype="9"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4500" fill="hold"/>
                                            <p:tgtEl>
                                              <p:spTgt spid="32"/>
                                            </p:tgtEl>
                                            <p:attrNameLst>
                                              <p:attrName>ppt_x</p:attrName>
                                            </p:attrNameLst>
                                          </p:cBhvr>
                                          <p:tavLst>
                                            <p:tav tm="0">
                                              <p:val>
                                                <p:strVal val="0-#ppt_w/2"/>
                                              </p:val>
                                            </p:tav>
                                            <p:tav tm="100000">
                                              <p:val>
                                                <p:strVal val="#ppt_x"/>
                                              </p:val>
                                            </p:tav>
                                          </p:tavLst>
                                        </p:anim>
                                        <p:anim calcmode="lin" valueType="num">
                                          <p:cBhvr additive="base">
                                            <p:cTn id="32" dur="4500" fill="hold"/>
                                            <p:tgtEl>
                                              <p:spTgt spid="32"/>
                                            </p:tgtEl>
                                            <p:attrNameLst>
                                              <p:attrName>ppt_y</p:attrName>
                                            </p:attrNameLst>
                                          </p:cBhvr>
                                          <p:tavLst>
                                            <p:tav tm="0">
                                              <p:val>
                                                <p:strVal val="0-#ppt_h/2"/>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4500" fill="hold"/>
                                            <p:tgtEl>
                                              <p:spTgt spid="35"/>
                                            </p:tgtEl>
                                            <p:attrNameLst>
                                              <p:attrName>ppt_x</p:attrName>
                                            </p:attrNameLst>
                                          </p:cBhvr>
                                          <p:tavLst>
                                            <p:tav tm="0">
                                              <p:val>
                                                <p:strVal val="0-#ppt_w/2"/>
                                              </p:val>
                                            </p:tav>
                                            <p:tav tm="100000">
                                              <p:val>
                                                <p:strVal val="#ppt_x"/>
                                              </p:val>
                                            </p:tav>
                                          </p:tavLst>
                                        </p:anim>
                                        <p:anim calcmode="lin" valueType="num">
                                          <p:cBhvr additive="base">
                                            <p:cTn id="36" dur="4500" fill="hold"/>
                                            <p:tgtEl>
                                              <p:spTgt spid="35"/>
                                            </p:tgtEl>
                                            <p:attrNameLst>
                                              <p:attrName>ppt_y</p:attrName>
                                            </p:attrNameLst>
                                          </p:cBhvr>
                                          <p:tavLst>
                                            <p:tav tm="0">
                                              <p:val>
                                                <p:strVal val="#ppt_y"/>
                                              </p:val>
                                            </p:tav>
                                            <p:tav tm="100000">
                                              <p:val>
                                                <p:strVal val="#ppt_y"/>
                                              </p:val>
                                            </p:tav>
                                          </p:tavLst>
                                        </p:anim>
                                      </p:childTnLst>
                                    </p:cTn>
                                  </p:par>
                                  <p:par>
                                    <p:cTn id="37" presetID="2" presetClass="entr" presetSubtype="3" fill="hold" grpId="0" nodeType="withEffect">
                                      <p:stCondLst>
                                        <p:cond delay="0"/>
                                      </p:stCondLst>
                                      <p:childTnLst>
                                        <p:set>
                                          <p:cBhvr>
                                            <p:cTn id="38" dur="1" fill="hold">
                                              <p:stCondLst>
                                                <p:cond delay="0"/>
                                              </p:stCondLst>
                                            </p:cTn>
                                            <p:tgtEl>
                                              <p:spTgt spid="39"/>
                                            </p:tgtEl>
                                            <p:attrNameLst>
                                              <p:attrName>style.visibility</p:attrName>
                                            </p:attrNameLst>
                                          </p:cBhvr>
                                          <p:to>
                                            <p:strVal val="visible"/>
                                          </p:to>
                                        </p:set>
                                        <p:anim calcmode="lin" valueType="num">
                                          <p:cBhvr additive="base">
                                            <p:cTn id="39" dur="4500" fill="hold"/>
                                            <p:tgtEl>
                                              <p:spTgt spid="39"/>
                                            </p:tgtEl>
                                            <p:attrNameLst>
                                              <p:attrName>ppt_x</p:attrName>
                                            </p:attrNameLst>
                                          </p:cBhvr>
                                          <p:tavLst>
                                            <p:tav tm="0">
                                              <p:val>
                                                <p:strVal val="1+#ppt_w/2"/>
                                              </p:val>
                                            </p:tav>
                                            <p:tav tm="100000">
                                              <p:val>
                                                <p:strVal val="#ppt_x"/>
                                              </p:val>
                                            </p:tav>
                                          </p:tavLst>
                                        </p:anim>
                                        <p:anim calcmode="lin" valueType="num">
                                          <p:cBhvr additive="base">
                                            <p:cTn id="40" dur="4500" fill="hold"/>
                                            <p:tgtEl>
                                              <p:spTgt spid="39"/>
                                            </p:tgtEl>
                                            <p:attrNameLst>
                                              <p:attrName>ppt_y</p:attrName>
                                            </p:attrNameLst>
                                          </p:cBhvr>
                                          <p:tavLst>
                                            <p:tav tm="0">
                                              <p:val>
                                                <p:strVal val="0-#ppt_h/2"/>
                                              </p:val>
                                            </p:tav>
                                            <p:tav tm="100000">
                                              <p:val>
                                                <p:strVal val="#ppt_y"/>
                                              </p:val>
                                            </p:tav>
                                          </p:tavLst>
                                        </p:anim>
                                      </p:childTnLst>
                                    </p:cTn>
                                  </p:par>
                                  <p:par>
                                    <p:cTn id="41" presetID="2" presetClass="entr" presetSubtype="3" fill="hold" grpId="0" nodeType="withEffect">
                                      <p:stCondLst>
                                        <p:cond delay="0"/>
                                      </p:stCondLst>
                                      <p:childTnLst>
                                        <p:set>
                                          <p:cBhvr>
                                            <p:cTn id="42" dur="1" fill="hold">
                                              <p:stCondLst>
                                                <p:cond delay="0"/>
                                              </p:stCondLst>
                                            </p:cTn>
                                            <p:tgtEl>
                                              <p:spTgt spid="37"/>
                                            </p:tgtEl>
                                            <p:attrNameLst>
                                              <p:attrName>style.visibility</p:attrName>
                                            </p:attrNameLst>
                                          </p:cBhvr>
                                          <p:to>
                                            <p:strVal val="visible"/>
                                          </p:to>
                                        </p:set>
                                        <p:anim calcmode="lin" valueType="num">
                                          <p:cBhvr additive="base">
                                            <p:cTn id="43" dur="4500" fill="hold"/>
                                            <p:tgtEl>
                                              <p:spTgt spid="37"/>
                                            </p:tgtEl>
                                            <p:attrNameLst>
                                              <p:attrName>ppt_x</p:attrName>
                                            </p:attrNameLst>
                                          </p:cBhvr>
                                          <p:tavLst>
                                            <p:tav tm="0">
                                              <p:val>
                                                <p:strVal val="1+#ppt_w/2"/>
                                              </p:val>
                                            </p:tav>
                                            <p:tav tm="100000">
                                              <p:val>
                                                <p:strVal val="#ppt_x"/>
                                              </p:val>
                                            </p:tav>
                                          </p:tavLst>
                                        </p:anim>
                                        <p:anim calcmode="lin" valueType="num">
                                          <p:cBhvr additive="base">
                                            <p:cTn id="44" dur="4500" fill="hold"/>
                                            <p:tgtEl>
                                              <p:spTgt spid="37"/>
                                            </p:tgtEl>
                                            <p:attrNameLst>
                                              <p:attrName>ppt_y</p:attrName>
                                            </p:attrNameLst>
                                          </p:cBhvr>
                                          <p:tavLst>
                                            <p:tav tm="0">
                                              <p:val>
                                                <p:strVal val="0-#ppt_h/2"/>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anim calcmode="lin" valueType="num">
                                          <p:cBhvr additive="base">
                                            <p:cTn id="47" dur="4500" fill="hold"/>
                                            <p:tgtEl>
                                              <p:spTgt spid="34"/>
                                            </p:tgtEl>
                                            <p:attrNameLst>
                                              <p:attrName>ppt_x</p:attrName>
                                            </p:attrNameLst>
                                          </p:cBhvr>
                                          <p:tavLst>
                                            <p:tav tm="0">
                                              <p:val>
                                                <p:strVal val="1+#ppt_w/2"/>
                                              </p:val>
                                            </p:tav>
                                            <p:tav tm="100000">
                                              <p:val>
                                                <p:strVal val="#ppt_x"/>
                                              </p:val>
                                            </p:tav>
                                          </p:tavLst>
                                        </p:anim>
                                        <p:anim calcmode="lin" valueType="num">
                                          <p:cBhvr additive="base">
                                            <p:cTn id="48" dur="4500" fill="hold"/>
                                            <p:tgtEl>
                                              <p:spTgt spid="34"/>
                                            </p:tgtEl>
                                            <p:attrNameLst>
                                              <p:attrName>ppt_y</p:attrName>
                                            </p:attrNameLst>
                                          </p:cBhvr>
                                          <p:tavLst>
                                            <p:tav tm="0">
                                              <p:val>
                                                <p:strVal val="#ppt_y"/>
                                              </p:val>
                                            </p:tav>
                                            <p:tav tm="100000">
                                              <p:val>
                                                <p:strVal val="#ppt_y"/>
                                              </p:val>
                                            </p:tav>
                                          </p:tavLst>
                                        </p:anim>
                                      </p:childTnLst>
                                    </p:cTn>
                                  </p:par>
                                  <p:par>
                                    <p:cTn id="49" presetID="2" presetClass="entr" presetSubtype="6"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anim calcmode="lin" valueType="num">
                                          <p:cBhvr additive="base">
                                            <p:cTn id="51" dur="4500" fill="hold"/>
                                            <p:tgtEl>
                                              <p:spTgt spid="33"/>
                                            </p:tgtEl>
                                            <p:attrNameLst>
                                              <p:attrName>ppt_x</p:attrName>
                                            </p:attrNameLst>
                                          </p:cBhvr>
                                          <p:tavLst>
                                            <p:tav tm="0">
                                              <p:val>
                                                <p:strVal val="1+#ppt_w/2"/>
                                              </p:val>
                                            </p:tav>
                                            <p:tav tm="100000">
                                              <p:val>
                                                <p:strVal val="#ppt_x"/>
                                              </p:val>
                                            </p:tav>
                                          </p:tavLst>
                                        </p:anim>
                                        <p:anim calcmode="lin" valueType="num">
                                          <p:cBhvr additive="base">
                                            <p:cTn id="52" dur="4500" fill="hold"/>
                                            <p:tgtEl>
                                              <p:spTgt spid="33"/>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6"/>
                                            </p:tgtEl>
                                            <p:attrNameLst>
                                              <p:attrName>style.visibility</p:attrName>
                                            </p:attrNameLst>
                                          </p:cBhvr>
                                          <p:to>
                                            <p:strVal val="visible"/>
                                          </p:to>
                                        </p:set>
                                        <p:anim calcmode="lin" valueType="num">
                                          <p:cBhvr additive="base">
                                            <p:cTn id="55" dur="4500" fill="hold"/>
                                            <p:tgtEl>
                                              <p:spTgt spid="36"/>
                                            </p:tgtEl>
                                            <p:attrNameLst>
                                              <p:attrName>ppt_x</p:attrName>
                                            </p:attrNameLst>
                                          </p:cBhvr>
                                          <p:tavLst>
                                            <p:tav tm="0">
                                              <p:val>
                                                <p:strVal val="#ppt_x"/>
                                              </p:val>
                                            </p:tav>
                                            <p:tav tm="100000">
                                              <p:val>
                                                <p:strVal val="#ppt_x"/>
                                              </p:val>
                                            </p:tav>
                                          </p:tavLst>
                                        </p:anim>
                                        <p:anim calcmode="lin" valueType="num">
                                          <p:cBhvr additive="base">
                                            <p:cTn id="56" dur="4500" fill="hold"/>
                                            <p:tgtEl>
                                              <p:spTgt spid="36"/>
                                            </p:tgtEl>
                                            <p:attrNameLst>
                                              <p:attrName>ppt_y</p:attrName>
                                            </p:attrNameLst>
                                          </p:cBhvr>
                                          <p:tavLst>
                                            <p:tav tm="0">
                                              <p:val>
                                                <p:strVal val="1+#ppt_h/2"/>
                                              </p:val>
                                            </p:tav>
                                            <p:tav tm="100000">
                                              <p:val>
                                                <p:strVal val="#ppt_y"/>
                                              </p:val>
                                            </p:tav>
                                          </p:tavLst>
                                        </p:anim>
                                      </p:childTnLst>
                                    </p:cTn>
                                  </p:par>
                                </p:childTnLst>
                              </p:cTn>
                            </p:par>
                            <p:par>
                              <p:cTn id="57" fill="hold">
                                <p:stCondLst>
                                  <p:cond delay="4500"/>
                                </p:stCondLst>
                                <p:childTnLst>
                                  <p:par>
                                    <p:cTn id="58" presetID="23" presetClass="entr" presetSubtype="16" fill="hold" grpId="0" nodeType="afterEffect">
                                      <p:stCondLst>
                                        <p:cond delay="0"/>
                                      </p:stCondLst>
                                      <p:iterate type="lt">
                                        <p:tmPct val="10000"/>
                                      </p:iterate>
                                      <p:childTnLst>
                                        <p:set>
                                          <p:cBhvr>
                                            <p:cTn id="59" dur="1" fill="hold">
                                              <p:stCondLst>
                                                <p:cond delay="0"/>
                                              </p:stCondLst>
                                            </p:cTn>
                                            <p:tgtEl>
                                              <p:spTgt spid="23"/>
                                            </p:tgtEl>
                                            <p:attrNameLst>
                                              <p:attrName>style.visibility</p:attrName>
                                            </p:attrNameLst>
                                          </p:cBhvr>
                                          <p:to>
                                            <p:strVal val="visible"/>
                                          </p:to>
                                        </p:set>
                                        <p:anim calcmode="lin" valueType="num">
                                          <p:cBhvr>
                                            <p:cTn id="60" dur="750" fill="hold"/>
                                            <p:tgtEl>
                                              <p:spTgt spid="23"/>
                                            </p:tgtEl>
                                            <p:attrNameLst>
                                              <p:attrName>ppt_w</p:attrName>
                                            </p:attrNameLst>
                                          </p:cBhvr>
                                          <p:tavLst>
                                            <p:tav tm="0">
                                              <p:val>
                                                <p:fltVal val="0"/>
                                              </p:val>
                                            </p:tav>
                                            <p:tav tm="100000">
                                              <p:val>
                                                <p:strVal val="#ppt_w"/>
                                              </p:val>
                                            </p:tav>
                                          </p:tavLst>
                                        </p:anim>
                                        <p:anim calcmode="lin" valueType="num">
                                          <p:cBhvr>
                                            <p:cTn id="61" dur="750" fill="hold"/>
                                            <p:tgtEl>
                                              <p:spTgt spid="23"/>
                                            </p:tgtEl>
                                            <p:attrNameLst>
                                              <p:attrName>ppt_h</p:attrName>
                                            </p:attrNameLst>
                                          </p:cBhvr>
                                          <p:tavLst>
                                            <p:tav tm="0">
                                              <p:val>
                                                <p:fltVal val="0"/>
                                              </p:val>
                                            </p:tav>
                                            <p:tav tm="100000">
                                              <p:val>
                                                <p:strVal val="#ppt_h"/>
                                              </p:val>
                                            </p:tav>
                                          </p:tavLst>
                                        </p:anim>
                                      </p:childTnLst>
                                    </p:cTn>
                                  </p:par>
                                </p:childTnLst>
                              </p:cTn>
                            </p:par>
                            <p:par>
                              <p:cTn id="62" fill="hold">
                                <p:stCondLst>
                                  <p:cond delay="6225"/>
                                </p:stCondLst>
                                <p:childTnLst>
                                  <p:par>
                                    <p:cTn id="63" presetID="2" presetClass="entr" presetSubtype="4" fill="hold" grpId="0" nodeType="afterEffect">
                                      <p:stCondLst>
                                        <p:cond delay="0"/>
                                      </p:stCondLst>
                                      <p:iterate type="lt">
                                        <p:tmPct val="10000"/>
                                      </p:iterate>
                                      <p:childTnLst>
                                        <p:set>
                                          <p:cBhvr>
                                            <p:cTn id="64" dur="1" fill="hold">
                                              <p:stCondLst>
                                                <p:cond delay="0"/>
                                              </p:stCondLst>
                                            </p:cTn>
                                            <p:tgtEl>
                                              <p:spTgt spid="24"/>
                                            </p:tgtEl>
                                            <p:attrNameLst>
                                              <p:attrName>style.visibility</p:attrName>
                                            </p:attrNameLst>
                                          </p:cBhvr>
                                          <p:to>
                                            <p:strVal val="visible"/>
                                          </p:to>
                                        </p:set>
                                        <p:anim calcmode="lin" valueType="num">
                                          <p:cBhvr additive="base">
                                            <p:cTn id="65" dur="750" fill="hold"/>
                                            <p:tgtEl>
                                              <p:spTgt spid="24"/>
                                            </p:tgtEl>
                                            <p:attrNameLst>
                                              <p:attrName>ppt_x</p:attrName>
                                            </p:attrNameLst>
                                          </p:cBhvr>
                                          <p:tavLst>
                                            <p:tav tm="0">
                                              <p:val>
                                                <p:strVal val="#ppt_x"/>
                                              </p:val>
                                            </p:tav>
                                            <p:tav tm="100000">
                                              <p:val>
                                                <p:strVal val="#ppt_x"/>
                                              </p:val>
                                            </p:tav>
                                          </p:tavLst>
                                        </p:anim>
                                        <p:anim calcmode="lin" valueType="num">
                                          <p:cBhvr additive="base">
                                            <p:cTn id="66" dur="750" fill="hold"/>
                                            <p:tgtEl>
                                              <p:spTgt spid="24"/>
                                            </p:tgtEl>
                                            <p:attrNameLst>
                                              <p:attrName>ppt_y</p:attrName>
                                            </p:attrNameLst>
                                          </p:cBhvr>
                                          <p:tavLst>
                                            <p:tav tm="0">
                                              <p:val>
                                                <p:strVal val="1+#ppt_h/2"/>
                                              </p:val>
                                            </p:tav>
                                            <p:tav tm="100000">
                                              <p:val>
                                                <p:strVal val="#ppt_y"/>
                                              </p:val>
                                            </p:tav>
                                          </p:tavLst>
                                        </p:anim>
                                      </p:childTnLst>
                                    </p:cTn>
                                  </p:par>
                                </p:childTnLst>
                              </p:cTn>
                            </p:par>
                            <p:par>
                              <p:cTn id="67" fill="hold">
                                <p:stCondLst>
                                  <p:cond delay="7500"/>
                                </p:stCondLst>
                                <p:childTnLst>
                                  <p:par>
                                    <p:cTn id="68" presetID="41" presetClass="entr" presetSubtype="0" fill="hold" grpId="0" nodeType="afterEffect">
                                      <p:stCondLst>
                                        <p:cond delay="0"/>
                                      </p:stCondLst>
                                      <p:iterate type="lt">
                                        <p:tmPct val="10000"/>
                                      </p:iterate>
                                      <p:childTnLst>
                                        <p:set>
                                          <p:cBhvr>
                                            <p:cTn id="69" dur="1" fill="hold">
                                              <p:stCondLst>
                                                <p:cond delay="0"/>
                                              </p:stCondLst>
                                            </p:cTn>
                                            <p:tgtEl>
                                              <p:spTgt spid="38"/>
                                            </p:tgtEl>
                                            <p:attrNameLst>
                                              <p:attrName>style.visibility</p:attrName>
                                            </p:attrNameLst>
                                          </p:cBhvr>
                                          <p:to>
                                            <p:strVal val="visible"/>
                                          </p:to>
                                        </p:set>
                                        <p:anim calcmode="lin" valueType="num">
                                          <p:cBhvr>
                                            <p:cTn id="70" dur="250" fill="hold"/>
                                            <p:tgtEl>
                                              <p:spTgt spid="38"/>
                                            </p:tgtEl>
                                            <p:attrNameLst>
                                              <p:attrName>ppt_x</p:attrName>
                                            </p:attrNameLst>
                                          </p:cBhvr>
                                          <p:tavLst>
                                            <p:tav tm="0">
                                              <p:val>
                                                <p:strVal val="#ppt_x"/>
                                              </p:val>
                                            </p:tav>
                                            <p:tav tm="50000">
                                              <p:val>
                                                <p:strVal val="#ppt_x+.1"/>
                                              </p:val>
                                            </p:tav>
                                            <p:tav tm="100000">
                                              <p:val>
                                                <p:strVal val="#ppt_x"/>
                                              </p:val>
                                            </p:tav>
                                          </p:tavLst>
                                        </p:anim>
                                        <p:anim calcmode="lin" valueType="num">
                                          <p:cBhvr>
                                            <p:cTn id="71" dur="250" fill="hold"/>
                                            <p:tgtEl>
                                              <p:spTgt spid="38"/>
                                            </p:tgtEl>
                                            <p:attrNameLst>
                                              <p:attrName>ppt_y</p:attrName>
                                            </p:attrNameLst>
                                          </p:cBhvr>
                                          <p:tavLst>
                                            <p:tav tm="0">
                                              <p:val>
                                                <p:strVal val="#ppt_y"/>
                                              </p:val>
                                            </p:tav>
                                            <p:tav tm="100000">
                                              <p:val>
                                                <p:strVal val="#ppt_y"/>
                                              </p:val>
                                            </p:tav>
                                          </p:tavLst>
                                        </p:anim>
                                        <p:anim calcmode="lin" valueType="num">
                                          <p:cBhvr>
                                            <p:cTn id="72" dur="250" fill="hold"/>
                                            <p:tgtEl>
                                              <p:spTgt spid="38"/>
                                            </p:tgtEl>
                                            <p:attrNameLst>
                                              <p:attrName>ppt_h</p:attrName>
                                            </p:attrNameLst>
                                          </p:cBhvr>
                                          <p:tavLst>
                                            <p:tav tm="0">
                                              <p:val>
                                                <p:strVal val="#ppt_h/10"/>
                                              </p:val>
                                            </p:tav>
                                            <p:tav tm="50000">
                                              <p:val>
                                                <p:strVal val="#ppt_h+.01"/>
                                              </p:val>
                                            </p:tav>
                                            <p:tav tm="100000">
                                              <p:val>
                                                <p:strVal val="#ppt_h"/>
                                              </p:val>
                                            </p:tav>
                                          </p:tavLst>
                                        </p:anim>
                                        <p:anim calcmode="lin" valueType="num">
                                          <p:cBhvr>
                                            <p:cTn id="73" dur="250" fill="hold"/>
                                            <p:tgtEl>
                                              <p:spTgt spid="38"/>
                                            </p:tgtEl>
                                            <p:attrNameLst>
                                              <p:attrName>ppt_w</p:attrName>
                                            </p:attrNameLst>
                                          </p:cBhvr>
                                          <p:tavLst>
                                            <p:tav tm="0">
                                              <p:val>
                                                <p:strVal val="#ppt_w/10"/>
                                              </p:val>
                                            </p:tav>
                                            <p:tav tm="50000">
                                              <p:val>
                                                <p:strVal val="#ppt_w+.01"/>
                                              </p:val>
                                            </p:tav>
                                            <p:tav tm="100000">
                                              <p:val>
                                                <p:strVal val="#ppt_w"/>
                                              </p:val>
                                            </p:tav>
                                          </p:tavLst>
                                        </p:anim>
                                        <p:animEffect transition="in" filter="fade">
                                          <p:cBhvr>
                                            <p:cTn id="74" dur="250" tmFilter="0,0; .5, 1; 1, 1"/>
                                            <p:tgtEl>
                                              <p:spTgt spid="38"/>
                                            </p:tgtEl>
                                          </p:cBhvr>
                                        </p:animEffect>
                                      </p:childTnLst>
                                    </p:cTn>
                                  </p:par>
                                </p:childTnLst>
                              </p:cTn>
                            </p:par>
                            <p:par>
                              <p:cTn id="75" fill="hold">
                                <p:stCondLst>
                                  <p:cond delay="8000"/>
                                </p:stCondLst>
                                <p:childTnLst>
                                  <p:par>
                                    <p:cTn id="76" presetID="16" presetClass="entr" presetSubtype="21" fill="hold" nodeType="afterEffect">
                                      <p:stCondLst>
                                        <p:cond delay="0"/>
                                      </p:stCondLst>
                                      <p:childTnLst>
                                        <p:set>
                                          <p:cBhvr>
                                            <p:cTn id="77" dur="1" fill="hold">
                                              <p:stCondLst>
                                                <p:cond delay="0"/>
                                              </p:stCondLst>
                                            </p:cTn>
                                            <p:tgtEl>
                                              <p:spTgt spid="26"/>
                                            </p:tgtEl>
                                            <p:attrNameLst>
                                              <p:attrName>style.visibility</p:attrName>
                                            </p:attrNameLst>
                                          </p:cBhvr>
                                          <p:to>
                                            <p:strVal val="visible"/>
                                          </p:to>
                                        </p:set>
                                        <p:animEffect transition="in" filter="barn(inVertical)">
                                          <p:cBhvr>
                                            <p:cTn id="78" dur="500"/>
                                            <p:tgtEl>
                                              <p:spTgt spid="26"/>
                                            </p:tgtEl>
                                          </p:cBhvr>
                                        </p:animEffect>
                                      </p:childTnLst>
                                    </p:cTn>
                                  </p:par>
                                  <p:par>
                                    <p:cTn id="79" presetID="16" presetClass="entr" presetSubtype="21" fill="hold" nodeType="withEffect">
                                      <p:stCondLst>
                                        <p:cond delay="0"/>
                                      </p:stCondLst>
                                      <p:childTnLst>
                                        <p:set>
                                          <p:cBhvr>
                                            <p:cTn id="80" dur="1" fill="hold">
                                              <p:stCondLst>
                                                <p:cond delay="0"/>
                                              </p:stCondLst>
                                            </p:cTn>
                                            <p:tgtEl>
                                              <p:spTgt spid="27"/>
                                            </p:tgtEl>
                                            <p:attrNameLst>
                                              <p:attrName>style.visibility</p:attrName>
                                            </p:attrNameLst>
                                          </p:cBhvr>
                                          <p:to>
                                            <p:strVal val="visible"/>
                                          </p:to>
                                        </p:set>
                                        <p:animEffect transition="in" filter="barn(inVertical)">
                                          <p:cBhvr>
                                            <p:cTn id="8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32" grpId="0" animBg="1"/>
          <p:bldP spid="33" grpId="0" animBg="1"/>
          <p:bldP spid="34" grpId="0" animBg="1"/>
          <p:bldP spid="35" grpId="0" animBg="1"/>
          <p:bldP spid="36" grpId="0" animBg="1"/>
          <p:bldP spid="37" grpId="0" animBg="1"/>
          <p:bldP spid="38" grpId="0"/>
          <p:bldP spid="39" grpId="0" animBg="1"/>
          <p:bldP spid="22" grpId="0" animBg="1"/>
          <p:bldP spid="22" grpId="1" animBg="1"/>
          <p:bldP spid="22" grpId="2" animBg="1"/>
          <p:bldP spid="25" grpId="0" animBg="1"/>
          <p:bldP spid="25" grpId="1" animBg="1"/>
          <p:bldP spid="25" grpId="2" animBg="1"/>
          <p:bldP spid="43" grpId="0" animBg="1"/>
        </p:bldLst>
      </p:timing>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3"/>
          <p:cNvSpPr/>
          <p:nvPr/>
        </p:nvSpPr>
        <p:spPr>
          <a:xfrm rot="198227">
            <a:off x="-916" y="2013866"/>
            <a:ext cx="9192052" cy="649290"/>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0C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5" name="任意多边形 4"/>
          <p:cNvSpPr/>
          <p:nvPr/>
        </p:nvSpPr>
        <p:spPr>
          <a:xfrm rot="21338589" flipV="1">
            <a:off x="-916" y="2030450"/>
            <a:ext cx="9192052" cy="325553"/>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4B5E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6" name="矩形 5"/>
          <p:cNvSpPr/>
          <p:nvPr/>
        </p:nvSpPr>
        <p:spPr>
          <a:xfrm>
            <a:off x="338288" y="3033563"/>
            <a:ext cx="2339103"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科研财务助理制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7" name="矩形 6"/>
          <p:cNvSpPr/>
          <p:nvPr/>
        </p:nvSpPr>
        <p:spPr>
          <a:xfrm>
            <a:off x="3258590" y="2927486"/>
            <a:ext cx="992580"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善理财</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8" name="矩形 7"/>
          <p:cNvSpPr/>
          <p:nvPr/>
        </p:nvSpPr>
        <p:spPr>
          <a:xfrm>
            <a:off x="5207672" y="2912434"/>
            <a:ext cx="992579"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管好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9" name="矩形 8"/>
          <p:cNvSpPr/>
          <p:nvPr/>
        </p:nvSpPr>
        <p:spPr>
          <a:xfrm>
            <a:off x="7183308" y="2885660"/>
            <a:ext cx="723276"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其他</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10" name="文本框 3"/>
          <p:cNvSpPr txBox="1"/>
          <p:nvPr/>
        </p:nvSpPr>
        <p:spPr>
          <a:xfrm>
            <a:off x="-321961" y="42263"/>
            <a:ext cx="2362389" cy="715581"/>
          </a:xfrm>
          <a:prstGeom prst="rect">
            <a:avLst/>
          </a:prstGeom>
          <a:noFill/>
          <a:effectLst/>
        </p:spPr>
        <p:txBody>
          <a:bodyPr wrap="square" rtlCol="0">
            <a:spAutoFit/>
          </a:bodyPr>
          <a:lstStyle/>
          <a:p>
            <a:pPr algn="ctr"/>
            <a:r>
              <a:rPr lang="zh-CN" altLang="en-US" sz="4050" b="1" dirty="0">
                <a:gradFill flip="none" rotWithShape="1">
                  <a:gsLst>
                    <a:gs pos="0">
                      <a:srgbClr val="04B5EC"/>
                    </a:gs>
                    <a:gs pos="100000">
                      <a:srgbClr val="00C88A"/>
                    </a:gs>
                  </a:gsLst>
                  <a:lin ang="0" scaled="1"/>
                  <a:tileRect/>
                </a:gradFill>
                <a:latin typeface="微软雅黑" pitchFamily="34" charset="-122"/>
                <a:ea typeface="微软雅黑" pitchFamily="34" charset="-122"/>
              </a:rPr>
              <a:t>内容</a:t>
            </a:r>
          </a:p>
        </p:txBody>
      </p:sp>
      <p:grpSp>
        <p:nvGrpSpPr>
          <p:cNvPr id="12" name="组合 11"/>
          <p:cNvGrpSpPr/>
          <p:nvPr/>
        </p:nvGrpSpPr>
        <p:grpSpPr>
          <a:xfrm>
            <a:off x="1093065" y="1765399"/>
            <a:ext cx="973049" cy="963364"/>
            <a:chOff x="1486694" y="2665507"/>
            <a:chExt cx="1297399" cy="1284485"/>
          </a:xfrm>
        </p:grpSpPr>
        <p:sp>
          <p:nvSpPr>
            <p:cNvPr id="13" name="Freeform 5"/>
            <p:cNvSpPr>
              <a:spLocks/>
            </p:cNvSpPr>
            <p:nvPr/>
          </p:nvSpPr>
          <p:spPr bwMode="auto">
            <a:xfrm rot="5400000">
              <a:off x="1476182"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4" name="矩形 13"/>
            <p:cNvSpPr/>
            <p:nvPr/>
          </p:nvSpPr>
          <p:spPr>
            <a:xfrm>
              <a:off x="1486694" y="3047437"/>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chemeClr val="bg1"/>
                  </a:solidFill>
                  <a:latin typeface="微软雅黑" pitchFamily="34" charset="-122"/>
                  <a:ea typeface="微软雅黑" pitchFamily="34" charset="-122"/>
                </a:rPr>
                <a:t>01</a:t>
              </a:r>
              <a:endParaRPr lang="zh-CN" altLang="en-US" sz="2100" b="1" dirty="0">
                <a:solidFill>
                  <a:schemeClr val="bg1"/>
                </a:solidFill>
                <a:latin typeface="微软雅黑" pitchFamily="34" charset="-122"/>
                <a:ea typeface="微软雅黑" pitchFamily="34" charset="-122"/>
              </a:endParaRPr>
            </a:p>
          </p:txBody>
        </p:sp>
      </p:grpSp>
      <p:grpSp>
        <p:nvGrpSpPr>
          <p:cNvPr id="15" name="组合 14"/>
          <p:cNvGrpSpPr/>
          <p:nvPr/>
        </p:nvGrpSpPr>
        <p:grpSpPr>
          <a:xfrm>
            <a:off x="3145293" y="1765399"/>
            <a:ext cx="973049" cy="963364"/>
            <a:chOff x="4222998" y="2665507"/>
            <a:chExt cx="1297399" cy="1284485"/>
          </a:xfrm>
        </p:grpSpPr>
        <p:sp>
          <p:nvSpPr>
            <p:cNvPr id="16" name="Freeform 5"/>
            <p:cNvSpPr>
              <a:spLocks/>
            </p:cNvSpPr>
            <p:nvPr/>
          </p:nvSpPr>
          <p:spPr bwMode="auto">
            <a:xfrm rot="5400000">
              <a:off x="4226425"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7" name="矩形 16"/>
            <p:cNvSpPr/>
            <p:nvPr/>
          </p:nvSpPr>
          <p:spPr>
            <a:xfrm>
              <a:off x="4222998" y="3078969"/>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rgbClr val="FF0000"/>
                  </a:solidFill>
                  <a:latin typeface="微软雅黑" pitchFamily="34" charset="-122"/>
                  <a:ea typeface="微软雅黑" pitchFamily="34" charset="-122"/>
                </a:rPr>
                <a:t>02</a:t>
              </a:r>
              <a:endParaRPr lang="zh-CN" altLang="en-US" sz="2100" b="1" dirty="0">
                <a:solidFill>
                  <a:srgbClr val="FF0000"/>
                </a:solidFill>
                <a:latin typeface="微软雅黑" pitchFamily="34" charset="-122"/>
                <a:ea typeface="微软雅黑" pitchFamily="34" charset="-122"/>
              </a:endParaRPr>
            </a:p>
          </p:txBody>
        </p:sp>
      </p:grpSp>
      <p:grpSp>
        <p:nvGrpSpPr>
          <p:cNvPr id="18" name="组合 17"/>
          <p:cNvGrpSpPr/>
          <p:nvPr/>
        </p:nvGrpSpPr>
        <p:grpSpPr>
          <a:xfrm>
            <a:off x="5197521" y="1783388"/>
            <a:ext cx="973049" cy="963364"/>
            <a:chOff x="6959302" y="2689493"/>
            <a:chExt cx="1297399" cy="1284485"/>
          </a:xfrm>
        </p:grpSpPr>
        <p:sp>
          <p:nvSpPr>
            <p:cNvPr id="19" name="Freeform 5"/>
            <p:cNvSpPr>
              <a:spLocks/>
            </p:cNvSpPr>
            <p:nvPr/>
          </p:nvSpPr>
          <p:spPr bwMode="auto">
            <a:xfrm rot="5400000">
              <a:off x="6967655" y="2752168"/>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0" name="矩形 19"/>
            <p:cNvSpPr/>
            <p:nvPr/>
          </p:nvSpPr>
          <p:spPr>
            <a:xfrm>
              <a:off x="6959302" y="3068303"/>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3</a:t>
              </a:r>
              <a:endParaRPr lang="zh-CN" altLang="en-US" sz="2100" b="1" dirty="0">
                <a:latin typeface="微软雅黑" pitchFamily="34" charset="-122"/>
                <a:ea typeface="微软雅黑" pitchFamily="34" charset="-122"/>
              </a:endParaRPr>
            </a:p>
          </p:txBody>
        </p:sp>
      </p:grpSp>
      <p:grpSp>
        <p:nvGrpSpPr>
          <p:cNvPr id="21" name="组合 20"/>
          <p:cNvGrpSpPr/>
          <p:nvPr/>
        </p:nvGrpSpPr>
        <p:grpSpPr>
          <a:xfrm>
            <a:off x="7087731" y="1868795"/>
            <a:ext cx="973049" cy="963364"/>
            <a:chOff x="9479582" y="2562069"/>
            <a:chExt cx="1297399" cy="1284485"/>
          </a:xfrm>
        </p:grpSpPr>
        <p:sp>
          <p:nvSpPr>
            <p:cNvPr id="22" name="Freeform 5"/>
            <p:cNvSpPr>
              <a:spLocks/>
            </p:cNvSpPr>
            <p:nvPr/>
          </p:nvSpPr>
          <p:spPr bwMode="auto">
            <a:xfrm rot="5400000">
              <a:off x="9456528" y="2624744"/>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3" name="矩形 22"/>
            <p:cNvSpPr/>
            <p:nvPr/>
          </p:nvSpPr>
          <p:spPr>
            <a:xfrm>
              <a:off x="9479582" y="2996952"/>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4</a:t>
              </a:r>
              <a:endParaRPr lang="zh-CN" altLang="en-US" sz="2100" b="1" dirty="0">
                <a:latin typeface="微软雅黑" pitchFamily="34" charset="-122"/>
                <a:ea typeface="微软雅黑" pitchFamily="34" charset="-122"/>
              </a:endParaRPr>
            </a:p>
          </p:txBody>
        </p:sp>
      </p:gr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3355374" y="641104"/>
            <a:ext cx="552886" cy="703818"/>
          </a:xfrm>
          <a:prstGeom prst="rect">
            <a:avLst/>
          </a:prstGeom>
        </p:spPr>
      </p:pic>
    </p:spTree>
    <p:extLst>
      <p:ext uri="{BB962C8B-B14F-4D97-AF65-F5344CB8AC3E}">
        <p14:creationId xmlns:p14="http://schemas.microsoft.com/office/powerpoint/2010/main" val="125960059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14" name="矩形 13"/>
          <p:cNvSpPr/>
          <p:nvPr/>
        </p:nvSpPr>
        <p:spPr>
          <a:xfrm>
            <a:off x="596" y="3003798"/>
            <a:ext cx="9142810" cy="2139702"/>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sp>
        <p:nvSpPr>
          <p:cNvPr id="4" name="文本框 3"/>
          <p:cNvSpPr txBox="1"/>
          <p:nvPr/>
        </p:nvSpPr>
        <p:spPr>
          <a:xfrm>
            <a:off x="-151905" y="162174"/>
            <a:ext cx="4507279" cy="507831"/>
          </a:xfrm>
          <a:prstGeom prst="rect">
            <a:avLst/>
          </a:prstGeom>
          <a:noFill/>
          <a:effectLst/>
        </p:spPr>
        <p:txBody>
          <a:bodyPr wrap="square" rtlCol="0">
            <a:spAutoFit/>
          </a:bodyPr>
          <a:lstStyle/>
          <a:p>
            <a:pPr algn="ctr"/>
            <a:r>
              <a:rPr lang="zh-CN" altLang="en-US" sz="2400" b="1" dirty="0" smtClean="0">
                <a:latin typeface="微软雅黑" pitchFamily="34" charset="-122"/>
                <a:ea typeface="微软雅黑" pitchFamily="34" charset="-122"/>
              </a:rPr>
              <a:t>善理财</a:t>
            </a:r>
            <a:r>
              <a:rPr lang="en-US" altLang="zh-CN" sz="2700" b="1" dirty="0">
                <a:gradFill flip="none" rotWithShape="1">
                  <a:gsLst>
                    <a:gs pos="0">
                      <a:srgbClr val="04B5EC"/>
                    </a:gs>
                    <a:gs pos="100000">
                      <a:srgbClr val="00C88A"/>
                    </a:gs>
                  </a:gsLst>
                  <a:lin ang="0" scaled="1"/>
                  <a:tileRect/>
                </a:gradFill>
                <a:latin typeface="微软雅黑" pitchFamily="34" charset="-122"/>
                <a:ea typeface="微软雅黑" pitchFamily="34" charset="-122"/>
              </a:rPr>
              <a:t> </a:t>
            </a:r>
            <a:r>
              <a:rPr lang="en-US" altLang="zh-CN"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      </a:t>
            </a:r>
            <a:r>
              <a:rPr lang="zh-CN" altLang="en-US" sz="24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预算编制的重要性</a:t>
            </a:r>
            <a:endParaRPr lang="zh-CN" altLang="en-US" sz="24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 name="矩形 15"/>
          <p:cNvSpPr/>
          <p:nvPr/>
        </p:nvSpPr>
        <p:spPr>
          <a:xfrm>
            <a:off x="602034" y="846009"/>
            <a:ext cx="8370515" cy="3820277"/>
          </a:xfrm>
          <a:prstGeom prst="rect">
            <a:avLst/>
          </a:prstGeom>
        </p:spPr>
        <p:txBody>
          <a:bodyPr wrap="square">
            <a:spAutoFit/>
          </a:bodyPr>
          <a:lstStyle/>
          <a:p>
            <a:pPr>
              <a:lnSpc>
                <a:spcPct val="150000"/>
              </a:lnSpc>
            </a:pPr>
            <a:r>
              <a:rPr lang="zh-CN" altLang="zh-CN" sz="2000" b="1" dirty="0">
                <a:solidFill>
                  <a:srgbClr val="FF0000"/>
                </a:solidFill>
                <a:latin typeface="方正粗雅宋_GBK" pitchFamily="2" charset="-122"/>
                <a:ea typeface="方正粗雅宋_GBK" pitchFamily="2" charset="-122"/>
              </a:rPr>
              <a:t>善理财者</a:t>
            </a:r>
            <a:r>
              <a:rPr lang="zh-CN" altLang="zh-CN" b="1" dirty="0">
                <a:ln w="3175">
                  <a:solidFill>
                    <a:schemeClr val="tx1"/>
                  </a:solidFill>
                </a:ln>
                <a:latin typeface="方正风雅宋简体" pitchFamily="2" charset="-122"/>
                <a:ea typeface="方正风雅宋简体" pitchFamily="2" charset="-122"/>
              </a:rPr>
              <a:t>，不加赋而国用足，意思是善理财的，安排好收支，通过不增百姓的赋税而可以达到国富民强的目的。</a:t>
            </a:r>
            <a:endParaRPr lang="en-US" altLang="zh-CN" b="1" dirty="0">
              <a:ln w="3175">
                <a:solidFill>
                  <a:schemeClr val="tx1"/>
                </a:solidFill>
              </a:ln>
              <a:latin typeface="方正风雅宋简体" pitchFamily="2" charset="-122"/>
              <a:ea typeface="方正风雅宋简体" pitchFamily="2" charset="-122"/>
            </a:endParaRPr>
          </a:p>
          <a:p>
            <a:pPr>
              <a:lnSpc>
                <a:spcPct val="150000"/>
              </a:lnSpc>
            </a:pPr>
            <a:r>
              <a:rPr lang="zh-CN" altLang="zh-CN" sz="2000" b="1" dirty="0">
                <a:solidFill>
                  <a:srgbClr val="FF0000"/>
                </a:solidFill>
                <a:latin typeface="方正粗雅宋_GBK" pitchFamily="2" charset="-122"/>
                <a:ea typeface="方正粗雅宋_GBK" pitchFamily="2" charset="-122"/>
              </a:rPr>
              <a:t>所谓预算</a:t>
            </a:r>
            <a:r>
              <a:rPr lang="zh-CN" altLang="zh-CN" b="1" dirty="0">
                <a:ln w="3175">
                  <a:solidFill>
                    <a:schemeClr val="tx1"/>
                  </a:solidFill>
                </a:ln>
                <a:latin typeface="方正风雅宋简体" pitchFamily="2" charset="-122"/>
                <a:ea typeface="方正风雅宋简体" pitchFamily="2" charset="-122"/>
              </a:rPr>
              <a:t>，是管理会计的重要内容，就定义而言，预算是一数量化方式表达的对某一主体或项目的一个未来时期的计划或预测，是设定目标、促进对后续业绩评价的活动。财务预算管理是单位为实现既定的经济目标，通过编制预算、内部控制、考核业绩所进行的一系列财务管理活动，它贯穿于单位财务预算编制和执行全过程，预算管理的质量直接关系到单位总体目标的实现</a:t>
            </a:r>
            <a:r>
              <a:rPr lang="zh-CN" altLang="zh-CN" b="1" dirty="0" smtClean="0">
                <a:ln w="3175">
                  <a:solidFill>
                    <a:schemeClr val="tx1"/>
                  </a:solidFill>
                </a:ln>
                <a:latin typeface="方正风雅宋简体" pitchFamily="2" charset="-122"/>
                <a:ea typeface="方正风雅宋简体" pitchFamily="2" charset="-122"/>
              </a:rPr>
              <a:t>。</a:t>
            </a:r>
            <a:endParaRPr lang="en-US" altLang="zh-CN" b="1" dirty="0" smtClean="0">
              <a:ln w="3175">
                <a:solidFill>
                  <a:schemeClr val="tx1"/>
                </a:solidFill>
              </a:ln>
              <a:latin typeface="方正风雅宋简体" pitchFamily="2" charset="-122"/>
              <a:ea typeface="方正风雅宋简体" pitchFamily="2" charset="-122"/>
            </a:endParaRPr>
          </a:p>
          <a:p>
            <a:pPr>
              <a:lnSpc>
                <a:spcPct val="150000"/>
              </a:lnSpc>
            </a:pPr>
            <a:r>
              <a:rPr lang="zh-CN" altLang="zh-CN" b="1" dirty="0" smtClean="0">
                <a:ln w="3175">
                  <a:solidFill>
                    <a:schemeClr val="tx1"/>
                  </a:solidFill>
                </a:ln>
                <a:latin typeface="方正风雅宋简体" pitchFamily="2" charset="-122"/>
                <a:ea typeface="方正风雅宋简体" pitchFamily="2" charset="-122"/>
              </a:rPr>
              <a:t>常言道</a:t>
            </a:r>
            <a:r>
              <a:rPr lang="zh-CN" altLang="zh-CN" b="1" dirty="0">
                <a:ln w="3175">
                  <a:solidFill>
                    <a:schemeClr val="tx1"/>
                  </a:solidFill>
                </a:ln>
                <a:latin typeface="方正风雅宋简体" pitchFamily="2" charset="-122"/>
                <a:ea typeface="方正风雅宋简体" pitchFamily="2" charset="-122"/>
              </a:rPr>
              <a:t>，凡事预则立，不预则废。同样经费管理更应该有计划，有</a:t>
            </a:r>
            <a:r>
              <a:rPr lang="zh-CN" altLang="zh-CN" b="1" dirty="0" smtClean="0">
                <a:ln w="3175">
                  <a:solidFill>
                    <a:schemeClr val="tx1"/>
                  </a:solidFill>
                </a:ln>
                <a:latin typeface="方正风雅宋简体" pitchFamily="2" charset="-122"/>
                <a:ea typeface="方正风雅宋简体" pitchFamily="2" charset="-122"/>
              </a:rPr>
              <a:t>预算</a:t>
            </a:r>
            <a:r>
              <a:rPr lang="zh-CN" altLang="en-US" b="1" dirty="0" smtClean="0">
                <a:ln w="3175">
                  <a:solidFill>
                    <a:schemeClr val="tx1"/>
                  </a:solidFill>
                </a:ln>
                <a:latin typeface="方正风雅宋简体" pitchFamily="2" charset="-122"/>
                <a:ea typeface="方正风雅宋简体" pitchFamily="2" charset="-122"/>
              </a:rPr>
              <a:t>：</a:t>
            </a:r>
            <a:endParaRPr lang="en-US" altLang="zh-CN" b="1" dirty="0" smtClean="0">
              <a:ln w="3175">
                <a:solidFill>
                  <a:schemeClr val="tx1"/>
                </a:solidFill>
              </a:ln>
              <a:latin typeface="方正风雅宋简体" pitchFamily="2" charset="-122"/>
              <a:ea typeface="方正风雅宋简体" pitchFamily="2" charset="-122"/>
            </a:endParaRPr>
          </a:p>
          <a:p>
            <a:pPr>
              <a:lnSpc>
                <a:spcPct val="150000"/>
              </a:lnSpc>
            </a:pPr>
            <a:r>
              <a:rPr lang="zh-CN" altLang="zh-CN" b="1" dirty="0" smtClean="0">
                <a:ln w="3175">
                  <a:solidFill>
                    <a:schemeClr val="tx1"/>
                  </a:solidFill>
                </a:ln>
                <a:latin typeface="方正风雅宋简体" pitchFamily="2" charset="-122"/>
                <a:ea typeface="方正风雅宋简体" pitchFamily="2" charset="-122"/>
              </a:rPr>
              <a:t>首先</a:t>
            </a:r>
            <a:r>
              <a:rPr lang="zh-CN" altLang="en-US" b="1" dirty="0" smtClean="0">
                <a:ln w="3175">
                  <a:solidFill>
                    <a:schemeClr val="tx1"/>
                  </a:solidFill>
                </a:ln>
                <a:latin typeface="方正风雅宋简体" pitchFamily="2" charset="-122"/>
                <a:ea typeface="方正风雅宋简体" pitchFamily="2" charset="-122"/>
              </a:rPr>
              <a:t>，</a:t>
            </a:r>
            <a:r>
              <a:rPr lang="zh-CN" altLang="zh-CN" b="1" dirty="0" smtClean="0">
                <a:ln w="3175">
                  <a:solidFill>
                    <a:schemeClr val="tx1"/>
                  </a:solidFill>
                </a:ln>
                <a:latin typeface="方正风雅宋简体" pitchFamily="2" charset="-122"/>
                <a:ea typeface="方正风雅宋简体" pitchFamily="2" charset="-122"/>
              </a:rPr>
              <a:t>通过</a:t>
            </a:r>
            <a:r>
              <a:rPr lang="zh-CN" altLang="zh-CN" b="1" dirty="0">
                <a:ln w="3175">
                  <a:solidFill>
                    <a:schemeClr val="tx1"/>
                  </a:solidFill>
                </a:ln>
                <a:latin typeface="方正风雅宋简体" pitchFamily="2" charset="-122"/>
                <a:ea typeface="方正风雅宋简体" pitchFamily="2" charset="-122"/>
              </a:rPr>
              <a:t>对未来</a:t>
            </a:r>
            <a:r>
              <a:rPr lang="zh-CN" altLang="zh-CN" b="1" dirty="0">
                <a:solidFill>
                  <a:srgbClr val="FF0000"/>
                </a:solidFill>
                <a:latin typeface="方正粗雅宋_GBK" pitchFamily="2" charset="-122"/>
                <a:ea typeface="方正粗雅宋_GBK" pitchFamily="2" charset="-122"/>
              </a:rPr>
              <a:t>一段时间</a:t>
            </a:r>
            <a:r>
              <a:rPr lang="zh-CN" altLang="zh-CN" b="1" dirty="0">
                <a:ln w="3175">
                  <a:solidFill>
                    <a:schemeClr val="tx1"/>
                  </a:solidFill>
                </a:ln>
                <a:latin typeface="方正风雅宋简体" pitchFamily="2" charset="-122"/>
                <a:ea typeface="方正风雅宋简体" pitchFamily="2" charset="-122"/>
              </a:rPr>
              <a:t>内收支</a:t>
            </a:r>
            <a:r>
              <a:rPr lang="zh-CN" altLang="zh-CN" b="1" dirty="0" smtClean="0">
                <a:ln w="3175">
                  <a:solidFill>
                    <a:schemeClr val="tx1"/>
                  </a:solidFill>
                </a:ln>
                <a:latin typeface="方正风雅宋简体" pitchFamily="2" charset="-122"/>
                <a:ea typeface="方正风雅宋简体" pitchFamily="2" charset="-122"/>
              </a:rPr>
              <a:t>情况前瞻性</a:t>
            </a:r>
            <a:r>
              <a:rPr lang="zh-CN" altLang="zh-CN" b="1" dirty="0">
                <a:ln w="3175">
                  <a:solidFill>
                    <a:schemeClr val="tx1"/>
                  </a:solidFill>
                </a:ln>
                <a:latin typeface="方正风雅宋简体" pitchFamily="2" charset="-122"/>
                <a:ea typeface="方正风雅宋简体" pitchFamily="2" charset="-122"/>
              </a:rPr>
              <a:t>预测，采取措施</a:t>
            </a:r>
            <a:r>
              <a:rPr lang="zh-CN" altLang="zh-CN" b="1" dirty="0" smtClean="0">
                <a:ln w="3175">
                  <a:solidFill>
                    <a:schemeClr val="tx1"/>
                  </a:solidFill>
                </a:ln>
                <a:latin typeface="方正风雅宋简体" pitchFamily="2" charset="-122"/>
                <a:ea typeface="方正风雅宋简体" pitchFamily="2" charset="-122"/>
              </a:rPr>
              <a:t>保证目标</a:t>
            </a:r>
            <a:r>
              <a:rPr lang="zh-CN" altLang="zh-CN" b="1" dirty="0">
                <a:ln w="3175">
                  <a:solidFill>
                    <a:schemeClr val="tx1"/>
                  </a:solidFill>
                </a:ln>
                <a:latin typeface="方正风雅宋简体" pitchFamily="2" charset="-122"/>
                <a:ea typeface="方正风雅宋简体" pitchFamily="2" charset="-122"/>
              </a:rPr>
              <a:t>的实现</a:t>
            </a:r>
            <a:r>
              <a:rPr lang="zh-CN" altLang="zh-CN" b="1" dirty="0" smtClean="0">
                <a:ln w="3175">
                  <a:solidFill>
                    <a:schemeClr val="tx1"/>
                  </a:solidFill>
                </a:ln>
                <a:latin typeface="方正风雅宋简体" pitchFamily="2" charset="-122"/>
                <a:ea typeface="方正风雅宋简体" pitchFamily="2" charset="-122"/>
              </a:rPr>
              <a:t>。</a:t>
            </a:r>
            <a:endParaRPr lang="en-US" altLang="zh-CN" b="1" dirty="0" smtClean="0">
              <a:ln w="3175">
                <a:solidFill>
                  <a:schemeClr val="tx1"/>
                </a:solidFill>
              </a:ln>
              <a:latin typeface="方正风雅宋简体" pitchFamily="2" charset="-122"/>
              <a:ea typeface="方正风雅宋简体" pitchFamily="2" charset="-122"/>
            </a:endParaRPr>
          </a:p>
          <a:p>
            <a:pPr>
              <a:lnSpc>
                <a:spcPct val="150000"/>
              </a:lnSpc>
            </a:pPr>
            <a:r>
              <a:rPr lang="zh-CN" altLang="zh-CN" b="1" dirty="0" smtClean="0">
                <a:ln w="3175">
                  <a:solidFill>
                    <a:schemeClr val="tx1"/>
                  </a:solidFill>
                </a:ln>
                <a:latin typeface="方正风雅宋简体" pitchFamily="2" charset="-122"/>
                <a:ea typeface="方正风雅宋简体" pitchFamily="2" charset="-122"/>
              </a:rPr>
              <a:t>其次</a:t>
            </a:r>
            <a:r>
              <a:rPr lang="zh-CN" altLang="en-US" b="1" dirty="0" smtClean="0">
                <a:ln w="3175">
                  <a:solidFill>
                    <a:schemeClr val="tx1"/>
                  </a:solidFill>
                </a:ln>
                <a:latin typeface="方正风雅宋简体" pitchFamily="2" charset="-122"/>
                <a:ea typeface="方正风雅宋简体" pitchFamily="2" charset="-122"/>
              </a:rPr>
              <a:t>，</a:t>
            </a:r>
            <a:r>
              <a:rPr lang="zh-CN" altLang="zh-CN" b="1" dirty="0" smtClean="0">
                <a:ln w="3175">
                  <a:solidFill>
                    <a:schemeClr val="tx1"/>
                  </a:solidFill>
                </a:ln>
                <a:latin typeface="方正风雅宋简体" pitchFamily="2" charset="-122"/>
                <a:ea typeface="方正风雅宋简体" pitchFamily="2" charset="-122"/>
              </a:rPr>
              <a:t>通过</a:t>
            </a:r>
            <a:r>
              <a:rPr lang="zh-CN" altLang="zh-CN" b="1" dirty="0">
                <a:ln w="3175">
                  <a:solidFill>
                    <a:schemeClr val="tx1"/>
                  </a:solidFill>
                </a:ln>
                <a:latin typeface="方正风雅宋简体" pitchFamily="2" charset="-122"/>
                <a:ea typeface="方正风雅宋简体" pitchFamily="2" charset="-122"/>
              </a:rPr>
              <a:t>过程中的控制预算，限制偏差，保证预期目标的实现</a:t>
            </a:r>
            <a:r>
              <a:rPr lang="zh-CN" altLang="zh-CN" b="1" dirty="0" smtClean="0">
                <a:ln w="3175">
                  <a:solidFill>
                    <a:schemeClr val="tx1"/>
                  </a:solidFill>
                </a:ln>
                <a:latin typeface="方正风雅宋简体" pitchFamily="2" charset="-122"/>
                <a:ea typeface="方正风雅宋简体" pitchFamily="2" charset="-122"/>
              </a:rPr>
              <a:t>。</a:t>
            </a:r>
            <a:endParaRPr lang="en-US" altLang="zh-CN" b="1" dirty="0" smtClean="0">
              <a:ln w="3175">
                <a:solidFill>
                  <a:schemeClr val="tx1"/>
                </a:solidFill>
              </a:ln>
              <a:latin typeface="方正风雅宋简体" pitchFamily="2" charset="-122"/>
              <a:ea typeface="方正风雅宋简体" pitchFamily="2" charset="-122"/>
            </a:endParaRPr>
          </a:p>
          <a:p>
            <a:pPr>
              <a:lnSpc>
                <a:spcPct val="150000"/>
              </a:lnSpc>
            </a:pPr>
            <a:r>
              <a:rPr lang="zh-CN" altLang="zh-CN" b="1" dirty="0" smtClean="0">
                <a:ln w="3175">
                  <a:solidFill>
                    <a:schemeClr val="tx1"/>
                  </a:solidFill>
                </a:ln>
                <a:latin typeface="方正风雅宋简体" pitchFamily="2" charset="-122"/>
                <a:ea typeface="方正风雅宋简体" pitchFamily="2" charset="-122"/>
              </a:rPr>
              <a:t>最后</a:t>
            </a:r>
            <a:r>
              <a:rPr lang="zh-CN" altLang="en-US" b="1" dirty="0" smtClean="0">
                <a:ln w="3175">
                  <a:solidFill>
                    <a:schemeClr val="tx1"/>
                  </a:solidFill>
                </a:ln>
                <a:latin typeface="方正风雅宋简体" pitchFamily="2" charset="-122"/>
                <a:ea typeface="方正风雅宋简体" pitchFamily="2" charset="-122"/>
              </a:rPr>
              <a:t>，</a:t>
            </a:r>
            <a:r>
              <a:rPr lang="zh-CN" altLang="zh-CN" b="1" dirty="0" smtClean="0">
                <a:ln w="3175">
                  <a:solidFill>
                    <a:schemeClr val="tx1"/>
                  </a:solidFill>
                </a:ln>
                <a:latin typeface="方正风雅宋简体" pitchFamily="2" charset="-122"/>
                <a:ea typeface="方正风雅宋简体" pitchFamily="2" charset="-122"/>
              </a:rPr>
              <a:t>通过</a:t>
            </a:r>
            <a:r>
              <a:rPr lang="zh-CN" altLang="zh-CN" b="1" dirty="0">
                <a:ln w="3175">
                  <a:solidFill>
                    <a:schemeClr val="tx1"/>
                  </a:solidFill>
                </a:ln>
                <a:latin typeface="方正风雅宋简体" pitchFamily="2" charset="-122"/>
                <a:ea typeface="方正风雅宋简体" pitchFamily="2" charset="-122"/>
              </a:rPr>
              <a:t>各分项预算协调，统筹兼顾，确保总预算目标的实现</a:t>
            </a:r>
            <a:r>
              <a:rPr lang="zh-CN" altLang="zh-CN" b="1" dirty="0" smtClean="0">
                <a:ln w="3175">
                  <a:solidFill>
                    <a:schemeClr val="tx1"/>
                  </a:solidFill>
                </a:ln>
                <a:latin typeface="方正风雅宋简体" pitchFamily="2" charset="-122"/>
                <a:ea typeface="方正风雅宋简体" pitchFamily="2" charset="-122"/>
              </a:rPr>
              <a:t>。</a:t>
            </a:r>
            <a:endParaRPr lang="en-US" altLang="zh-CN" b="1" dirty="0" smtClean="0">
              <a:ln w="3175">
                <a:solidFill>
                  <a:schemeClr val="tx1"/>
                </a:solidFill>
              </a:ln>
              <a:latin typeface="方正风雅宋简体" pitchFamily="2" charset="-122"/>
              <a:ea typeface="方正风雅宋简体" pitchFamily="2" charset="-122"/>
            </a:endParaRPr>
          </a:p>
          <a:p>
            <a:pPr>
              <a:lnSpc>
                <a:spcPct val="150000"/>
              </a:lnSpc>
            </a:pPr>
            <a:r>
              <a:rPr lang="zh-CN" altLang="zh-CN" b="1" dirty="0" smtClean="0">
                <a:ln w="3175">
                  <a:solidFill>
                    <a:schemeClr val="tx1"/>
                  </a:solidFill>
                </a:ln>
                <a:latin typeface="方正风雅宋简体" pitchFamily="2" charset="-122"/>
                <a:ea typeface="方正风雅宋简体" pitchFamily="2" charset="-122"/>
              </a:rPr>
              <a:t>也就是说</a:t>
            </a:r>
            <a:r>
              <a:rPr lang="zh-CN" altLang="zh-CN" b="1" dirty="0">
                <a:ln w="3175">
                  <a:solidFill>
                    <a:schemeClr val="tx1"/>
                  </a:solidFill>
                </a:ln>
                <a:latin typeface="方正风雅宋简体" pitchFamily="2" charset="-122"/>
                <a:ea typeface="方正风雅宋简体" pitchFamily="2" charset="-122"/>
              </a:rPr>
              <a:t>要根据收入总量确定支出规模，有多少钱办多少事，做到以收定支，收支平衡，略有结余。</a:t>
            </a:r>
            <a:endParaRPr lang="zh-CN" altLang="en-US" b="1" dirty="0">
              <a:ln w="3175">
                <a:solidFill>
                  <a:schemeClr val="tx1"/>
                </a:solidFill>
              </a:ln>
              <a:latin typeface="方正风雅宋简体" pitchFamily="2" charset="-122"/>
              <a:ea typeface="方正风雅宋简体" pitchFamily="2" charset="-122"/>
            </a:endParaRPr>
          </a:p>
        </p:txBody>
      </p:sp>
    </p:spTree>
    <p:extLst>
      <p:ext uri="{BB962C8B-B14F-4D97-AF65-F5344CB8AC3E}">
        <p14:creationId xmlns:p14="http://schemas.microsoft.com/office/powerpoint/2010/main" val="22005403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9"/>
          <p:cNvGrpSpPr>
            <a:grpSpLocks/>
          </p:cNvGrpSpPr>
          <p:nvPr/>
        </p:nvGrpSpPr>
        <p:grpSpPr bwMode="auto">
          <a:xfrm>
            <a:off x="160338" y="1316215"/>
            <a:ext cx="5420295" cy="630943"/>
            <a:chOff x="1366533" y="4321812"/>
            <a:chExt cx="5841072" cy="882004"/>
          </a:xfrm>
        </p:grpSpPr>
        <p:sp>
          <p:nvSpPr>
            <p:cNvPr id="6" name="矩形 5"/>
            <p:cNvSpPr/>
            <p:nvPr/>
          </p:nvSpPr>
          <p:spPr bwMode="auto">
            <a:xfrm>
              <a:off x="1377646" y="4321812"/>
              <a:ext cx="5643691" cy="882004"/>
            </a:xfrm>
            <a:prstGeom prst="rect">
              <a:avLst/>
            </a:prstGeom>
          </p:spPr>
          <p:txBody>
            <a:bodyPr wrap="square">
              <a:spAutoFit/>
            </a:bodyPr>
            <a:lstStyle/>
            <a:p>
              <a:pPr algn="just" fontAlgn="auto">
                <a:lnSpc>
                  <a:spcPct val="250000"/>
                </a:lnSpc>
                <a:spcBef>
                  <a:spcPts val="0"/>
                </a:spcBef>
                <a:spcAft>
                  <a:spcPts val="0"/>
                </a:spcAft>
                <a:buClr>
                  <a:srgbClr val="FFFF00"/>
                </a:buClr>
                <a:defRPr/>
              </a:pPr>
              <a:r>
                <a:rPr lang="zh-CN" altLang="en-US" sz="1400" b="1" dirty="0" smtClean="0">
                  <a:ln w="3175">
                    <a:solidFill>
                      <a:schemeClr val="tx1"/>
                    </a:solidFill>
                  </a:ln>
                  <a:latin typeface="方正风雅宋简体" pitchFamily="2" charset="-122"/>
                  <a:ea typeface="方正风雅宋简体" pitchFamily="2" charset="-122"/>
                </a:rPr>
                <a:t>承诺书</a:t>
              </a:r>
              <a:r>
                <a:rPr lang="en-US" altLang="zh-CN" sz="1400" b="1" dirty="0" smtClean="0">
                  <a:ln w="3175">
                    <a:solidFill>
                      <a:schemeClr val="tx1"/>
                    </a:solidFill>
                  </a:ln>
                  <a:latin typeface="方正风雅宋简体" pitchFamily="2" charset="-122"/>
                  <a:ea typeface="方正风雅宋简体" pitchFamily="2" charset="-122"/>
                </a:rPr>
                <a:t>    </a:t>
              </a:r>
              <a:r>
                <a:rPr lang="zh-CN" altLang="en-US" sz="1400" b="1" dirty="0" smtClean="0">
                  <a:ln w="3175">
                    <a:solidFill>
                      <a:schemeClr val="tx1"/>
                    </a:solidFill>
                  </a:ln>
                  <a:latin typeface="方正风雅宋简体" pitchFamily="2" charset="-122"/>
                  <a:ea typeface="方正风雅宋简体" pitchFamily="2" charset="-122"/>
                </a:rPr>
                <a:t>题</a:t>
              </a:r>
              <a:r>
                <a:rPr lang="zh-CN" altLang="en-US" sz="1400" b="1" dirty="0">
                  <a:ln w="3175">
                    <a:solidFill>
                      <a:schemeClr val="tx1"/>
                    </a:solidFill>
                  </a:ln>
                  <a:latin typeface="方正风雅宋简体" pitchFamily="2" charset="-122"/>
                  <a:ea typeface="方正风雅宋简体" pitchFamily="2" charset="-122"/>
                </a:rPr>
                <a:t>预算表</a:t>
              </a:r>
              <a:r>
                <a:rPr lang="en-US" altLang="zh-CN" sz="1400" b="1" dirty="0">
                  <a:ln w="3175">
                    <a:solidFill>
                      <a:schemeClr val="tx1"/>
                    </a:solidFill>
                  </a:ln>
                  <a:latin typeface="方正风雅宋简体" pitchFamily="2" charset="-122"/>
                  <a:ea typeface="方正风雅宋简体" pitchFamily="2" charset="-122"/>
                </a:rPr>
                <a:t>   </a:t>
              </a:r>
              <a:r>
                <a:rPr lang="zh-CN" altLang="en-US" sz="1400" b="1" dirty="0" smtClean="0">
                  <a:ln w="3175">
                    <a:solidFill>
                      <a:schemeClr val="tx1"/>
                    </a:solidFill>
                  </a:ln>
                  <a:latin typeface="方正风雅宋简体" pitchFamily="2" charset="-122"/>
                  <a:ea typeface="方正风雅宋简体" pitchFamily="2" charset="-122"/>
                </a:rPr>
                <a:t>课题</a:t>
              </a:r>
              <a:r>
                <a:rPr lang="zh-CN" altLang="en-US" sz="1400" b="1" dirty="0">
                  <a:ln w="3175">
                    <a:solidFill>
                      <a:schemeClr val="tx1"/>
                    </a:solidFill>
                  </a:ln>
                  <a:latin typeface="方正风雅宋简体" pitchFamily="2" charset="-122"/>
                  <a:ea typeface="方正风雅宋简体" pitchFamily="2" charset="-122"/>
                </a:rPr>
                <a:t>预算说明书</a:t>
              </a:r>
              <a:r>
                <a:rPr lang="en-US" altLang="zh-CN" sz="1400" b="1" dirty="0">
                  <a:ln w="3175">
                    <a:solidFill>
                      <a:schemeClr val="tx1"/>
                    </a:solidFill>
                  </a:ln>
                  <a:latin typeface="方正风雅宋简体" pitchFamily="2" charset="-122"/>
                  <a:ea typeface="方正风雅宋简体" pitchFamily="2" charset="-122"/>
                </a:rPr>
                <a:t>   </a:t>
              </a:r>
              <a:r>
                <a:rPr lang="zh-CN" altLang="en-US" sz="1400" b="1" dirty="0" smtClean="0">
                  <a:ln w="3175">
                    <a:solidFill>
                      <a:schemeClr val="tx1"/>
                    </a:solidFill>
                  </a:ln>
                  <a:latin typeface="方正风雅宋简体" pitchFamily="2" charset="-122"/>
                  <a:ea typeface="方正风雅宋简体" pitchFamily="2" charset="-122"/>
                </a:rPr>
                <a:t>相关</a:t>
              </a:r>
              <a:r>
                <a:rPr lang="zh-CN" altLang="en-US" sz="1400" b="1" dirty="0">
                  <a:ln w="3175">
                    <a:solidFill>
                      <a:schemeClr val="tx1"/>
                    </a:solidFill>
                  </a:ln>
                  <a:latin typeface="方正风雅宋简体" pitchFamily="2" charset="-122"/>
                  <a:ea typeface="方正风雅宋简体" pitchFamily="2" charset="-122"/>
                </a:rPr>
                <a:t>补充说明材料</a:t>
              </a:r>
              <a:endParaRPr lang="en-US" altLang="zh-CN" sz="1400" b="1" dirty="0">
                <a:ln w="3175">
                  <a:solidFill>
                    <a:schemeClr val="tx1"/>
                  </a:solidFill>
                </a:ln>
                <a:latin typeface="方正风雅宋简体" pitchFamily="2" charset="-122"/>
                <a:ea typeface="方正风雅宋简体" pitchFamily="2" charset="-122"/>
              </a:endParaRPr>
            </a:p>
          </p:txBody>
        </p:sp>
        <p:cxnSp>
          <p:nvCxnSpPr>
            <p:cNvPr id="7" name="直接连接符 6"/>
            <p:cNvCxnSpPr/>
            <p:nvPr/>
          </p:nvCxnSpPr>
          <p:spPr bwMode="auto">
            <a:xfrm>
              <a:off x="1366533" y="4588066"/>
              <a:ext cx="5841072" cy="0"/>
            </a:xfrm>
            <a:prstGeom prst="line">
              <a:avLst/>
            </a:prstGeom>
            <a:ln>
              <a:solidFill>
                <a:schemeClr val="tx1">
                  <a:lumMod val="95000"/>
                  <a:lumOff val="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8" name="TextBox 7"/>
          <p:cNvSpPr txBox="1"/>
          <p:nvPr/>
        </p:nvSpPr>
        <p:spPr>
          <a:xfrm>
            <a:off x="1937751" y="973255"/>
            <a:ext cx="2100849" cy="400110"/>
          </a:xfrm>
          <a:prstGeom prst="rect">
            <a:avLst/>
          </a:prstGeom>
          <a:noFill/>
        </p:spPr>
        <p:txBody>
          <a:bodyPr wrap="square">
            <a:spAutoFit/>
          </a:bodyPr>
          <a:lstStyle/>
          <a:p>
            <a:pPr algn="ctr" fontAlgn="auto">
              <a:spcBef>
                <a:spcPts val="0"/>
              </a:spcBef>
              <a:spcAft>
                <a:spcPts val="0"/>
              </a:spcAft>
              <a:defRPr/>
            </a:pPr>
            <a:r>
              <a:rPr lang="zh-CN" altLang="en-US" sz="2000" b="1" dirty="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课题预算申报书</a:t>
            </a:r>
          </a:p>
        </p:txBody>
      </p:sp>
      <p:graphicFrame>
        <p:nvGraphicFramePr>
          <p:cNvPr id="9" name="图示 8"/>
          <p:cNvGraphicFramePr/>
          <p:nvPr>
            <p:extLst>
              <p:ext uri="{D42A27DB-BD31-4B8C-83A1-F6EECF244321}">
                <p14:modId xmlns:p14="http://schemas.microsoft.com/office/powerpoint/2010/main" val="2776553765"/>
              </p:ext>
            </p:extLst>
          </p:nvPr>
        </p:nvGraphicFramePr>
        <p:xfrm>
          <a:off x="-135607" y="2133600"/>
          <a:ext cx="6079207" cy="25576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图片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54007" y="1116160"/>
            <a:ext cx="3870968" cy="3599695"/>
          </a:xfrm>
          <a:prstGeom prst="rect">
            <a:avLst/>
          </a:prstGeom>
          <a:effectLst>
            <a:reflection blurRad="6350" stA="52000" endA="300" endPos="35000" dir="5400000" sy="-100000" algn="bl" rotWithShape="0"/>
          </a:effectLst>
        </p:spPr>
      </p:pic>
      <p:sp>
        <p:nvSpPr>
          <p:cNvPr id="12" name="TextBox 11"/>
          <p:cNvSpPr txBox="1"/>
          <p:nvPr/>
        </p:nvSpPr>
        <p:spPr>
          <a:xfrm>
            <a:off x="5817603" y="1684862"/>
            <a:ext cx="3069221" cy="1815882"/>
          </a:xfrm>
          <a:prstGeom prst="rect">
            <a:avLst/>
          </a:prstGeom>
          <a:noFill/>
        </p:spPr>
        <p:txBody>
          <a:bodyPr wrap="square" rtlCol="0">
            <a:spAutoFit/>
          </a:bodyPr>
          <a:lstStyle/>
          <a:p>
            <a:r>
              <a:rPr lang="zh-CN" altLang="en-US" sz="1600" b="1" dirty="0">
                <a:solidFill>
                  <a:schemeClr val="bg1"/>
                </a:solidFill>
                <a:latin typeface="微软雅黑" pitchFamily="34" charset="-122"/>
                <a:ea typeface="微软雅黑" pitchFamily="34" charset="-122"/>
              </a:rPr>
              <a:t>项目（课题）预算是确定科技计划项目（课题）预算期内经费安排的依据，是课题各任务合理分配和使用资源的基础。经过评估评审后的项目（课题）预算，将作为预算执行、监督检查和财务验收的重要依据。</a:t>
            </a:r>
          </a:p>
        </p:txBody>
      </p:sp>
      <p:pic>
        <p:nvPicPr>
          <p:cNvPr id="11" name="图片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13" name="文本框 3"/>
          <p:cNvSpPr txBox="1"/>
          <p:nvPr/>
        </p:nvSpPr>
        <p:spPr>
          <a:xfrm>
            <a:off x="-771030" y="162174"/>
            <a:ext cx="4507279" cy="507831"/>
          </a:xfrm>
          <a:prstGeom prst="rect">
            <a:avLst/>
          </a:prstGeom>
          <a:noFill/>
          <a:effectLst/>
        </p:spPr>
        <p:txBody>
          <a:bodyPr wrap="square" rtlCol="0">
            <a:spAutoFit/>
          </a:bodyPr>
          <a:lstStyle/>
          <a:p>
            <a:pPr algn="ctr"/>
            <a:r>
              <a:rPr lang="zh-CN" altLang="en-US" sz="2400" b="1" dirty="0" smtClean="0">
                <a:latin typeface="微软雅黑" pitchFamily="34" charset="-122"/>
                <a:ea typeface="微软雅黑" pitchFamily="34" charset="-122"/>
              </a:rPr>
              <a:t>善理财</a:t>
            </a:r>
            <a:r>
              <a:rPr lang="en-US" altLang="zh-CN" sz="2700" b="1" dirty="0">
                <a:gradFill flip="none" rotWithShape="1">
                  <a:gsLst>
                    <a:gs pos="0">
                      <a:srgbClr val="04B5EC"/>
                    </a:gs>
                    <a:gs pos="100000">
                      <a:srgbClr val="00C88A"/>
                    </a:gs>
                  </a:gsLst>
                  <a:lin ang="0" scaled="1"/>
                  <a:tileRect/>
                </a:gradFill>
                <a:latin typeface="微软雅黑" pitchFamily="34" charset="-122"/>
                <a:ea typeface="微软雅黑" pitchFamily="34" charset="-122"/>
              </a:rPr>
              <a:t> </a:t>
            </a:r>
            <a:r>
              <a:rPr lang="en-US" altLang="zh-CN"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      </a:t>
            </a:r>
            <a:r>
              <a:rPr lang="zh-CN" altLang="en-US" sz="24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预算编制</a:t>
            </a:r>
            <a:endParaRPr lang="zh-CN" altLang="en-US" sz="24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88011041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randombar(horizontal)">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057525" y="562469"/>
            <a:ext cx="3573276" cy="400110"/>
          </a:xfrm>
          <a:prstGeom prst="rect">
            <a:avLst/>
          </a:prstGeom>
          <a:noFill/>
        </p:spPr>
        <p:txBody>
          <a:bodyPr wrap="square">
            <a:spAutoFit/>
          </a:bodyPr>
          <a:lstStyle/>
          <a:p>
            <a:pPr algn="ctr" fontAlgn="auto">
              <a:spcBef>
                <a:spcPts val="0"/>
              </a:spcBef>
              <a:spcAft>
                <a:spcPts val="0"/>
              </a:spcAft>
              <a:defRPr/>
            </a:pPr>
            <a:r>
              <a:rPr lang="zh-CN" altLang="en-US" sz="2000" b="1" dirty="0" smtClean="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经费管理办法</a:t>
            </a:r>
            <a:endParaRPr lang="zh-CN" altLang="en-US" sz="2000" b="1" dirty="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endParaRPr>
          </a:p>
        </p:txBody>
      </p:sp>
      <p:sp>
        <p:nvSpPr>
          <p:cNvPr id="25" name="矩形 24"/>
          <p:cNvSpPr/>
          <p:nvPr/>
        </p:nvSpPr>
        <p:spPr bwMode="auto">
          <a:xfrm>
            <a:off x="1967607" y="836542"/>
            <a:ext cx="7050544" cy="2162135"/>
          </a:xfrm>
          <a:prstGeom prst="rect">
            <a:avLst/>
          </a:prstGeom>
        </p:spPr>
        <p:txBody>
          <a:bodyPr>
            <a:spAutoFit/>
          </a:bodyPr>
          <a:lstStyle/>
          <a:p>
            <a:pPr marL="352425" indent="-352425" fontAlgn="auto">
              <a:lnSpc>
                <a:spcPct val="250000"/>
              </a:lnSpc>
              <a:spcBef>
                <a:spcPts val="0"/>
              </a:spcBef>
              <a:spcAft>
                <a:spcPts val="0"/>
              </a:spcAft>
              <a:buClr>
                <a:srgbClr val="FFFF00"/>
              </a:buClr>
              <a:buFont typeface="Wingdings" pitchFamily="2" charset="2"/>
              <a:buChar char="n"/>
              <a:defRPr/>
            </a:pPr>
            <a:r>
              <a:rPr lang="en-US" altLang="zh-CN" sz="1100" b="1" dirty="0" smtClean="0">
                <a:ln w="3175">
                  <a:solidFill>
                    <a:schemeClr val="tx1"/>
                  </a:solidFill>
                </a:ln>
                <a:solidFill>
                  <a:srgbClr val="FF0000"/>
                </a:solidFill>
                <a:latin typeface="+mn-ea"/>
                <a:ea typeface="+mn-ea"/>
              </a:rPr>
              <a:t>《</a:t>
            </a:r>
            <a:r>
              <a:rPr lang="zh-CN" altLang="en-US" sz="1100" b="1" dirty="0" smtClean="0">
                <a:ln w="3175">
                  <a:solidFill>
                    <a:schemeClr val="tx1"/>
                  </a:solidFill>
                </a:ln>
                <a:solidFill>
                  <a:srgbClr val="FF0000"/>
                </a:solidFill>
                <a:latin typeface="+mn-ea"/>
                <a:ea typeface="+mn-ea"/>
              </a:rPr>
              <a:t>国家重点研发计划资金管理办法</a:t>
            </a:r>
            <a:r>
              <a:rPr lang="en-US" altLang="zh-CN" sz="1100" b="1" dirty="0">
                <a:ln w="3175">
                  <a:solidFill>
                    <a:schemeClr val="tx1"/>
                  </a:solidFill>
                </a:ln>
                <a:solidFill>
                  <a:srgbClr val="FF0000"/>
                </a:solidFill>
                <a:latin typeface="+mn-ea"/>
                <a:ea typeface="+mn-ea"/>
              </a:rPr>
              <a:t>》</a:t>
            </a:r>
            <a:r>
              <a:rPr lang="zh-CN" altLang="en-US" sz="1100" b="1" dirty="0" smtClean="0">
                <a:ln w="3175">
                  <a:solidFill>
                    <a:schemeClr val="tx1"/>
                  </a:solidFill>
                </a:ln>
                <a:solidFill>
                  <a:srgbClr val="FF0000"/>
                </a:solidFill>
                <a:latin typeface="+mn-ea"/>
                <a:ea typeface="+mn-ea"/>
              </a:rPr>
              <a:t>（</a:t>
            </a:r>
            <a:r>
              <a:rPr lang="zh-CN" altLang="en-US" sz="1100" b="1" dirty="0">
                <a:ln w="3175">
                  <a:solidFill>
                    <a:schemeClr val="tx1"/>
                  </a:solidFill>
                </a:ln>
                <a:solidFill>
                  <a:srgbClr val="FF0000"/>
                </a:solidFill>
                <a:latin typeface="+mn-ea"/>
                <a:ea typeface="+mn-ea"/>
              </a:rPr>
              <a:t>财教科</a:t>
            </a:r>
            <a:r>
              <a:rPr lang="en-US" altLang="zh-CN" sz="1100" b="1" dirty="0">
                <a:ln w="3175">
                  <a:solidFill>
                    <a:schemeClr val="tx1"/>
                  </a:solidFill>
                </a:ln>
                <a:solidFill>
                  <a:srgbClr val="FF0000"/>
                </a:solidFill>
                <a:latin typeface="+mn-ea"/>
                <a:ea typeface="+mn-ea"/>
              </a:rPr>
              <a:t>[</a:t>
            </a:r>
            <a:r>
              <a:rPr lang="en-US" altLang="zh-CN" sz="1100" b="1" dirty="0" smtClean="0">
                <a:ln w="3175">
                  <a:solidFill>
                    <a:schemeClr val="tx1"/>
                  </a:solidFill>
                </a:ln>
                <a:solidFill>
                  <a:srgbClr val="FF0000"/>
                </a:solidFill>
                <a:latin typeface="+mn-ea"/>
                <a:ea typeface="+mn-ea"/>
              </a:rPr>
              <a:t>2016]113</a:t>
            </a:r>
          </a:p>
          <a:p>
            <a:pPr marL="352425" indent="-352425" fontAlgn="auto">
              <a:lnSpc>
                <a:spcPct val="250000"/>
              </a:lnSpc>
              <a:spcBef>
                <a:spcPts val="0"/>
              </a:spcBef>
              <a:spcAft>
                <a:spcPts val="0"/>
              </a:spcAft>
              <a:buClr>
                <a:srgbClr val="FFFF00"/>
              </a:buClr>
              <a:buFont typeface="Wingdings" pitchFamily="2" charset="2"/>
              <a:buChar char="n"/>
              <a:defRPr/>
            </a:pPr>
            <a:r>
              <a:rPr lang="en-US" altLang="zh-CN" sz="1100" b="1" dirty="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国家科技重大专项（民口）资金管理办法</a:t>
            </a:r>
            <a:r>
              <a:rPr lang="en-US" altLang="zh-CN" sz="1100" b="1" dirty="0">
                <a:ln w="3175">
                  <a:solidFill>
                    <a:schemeClr val="tx1"/>
                  </a:solidFill>
                </a:ln>
                <a:latin typeface="方正风雅宋简体" pitchFamily="2" charset="-122"/>
                <a:ea typeface="方正风雅宋简体" pitchFamily="2" charset="-122"/>
              </a:rPr>
              <a:t>》</a:t>
            </a:r>
            <a:endParaRPr lang="zh-CN" altLang="en-US" sz="1100" b="1" dirty="0">
              <a:ln w="3175">
                <a:solidFill>
                  <a:schemeClr val="tx1"/>
                </a:solidFill>
              </a:ln>
              <a:latin typeface="方正风雅宋简体" pitchFamily="2" charset="-122"/>
              <a:ea typeface="方正风雅宋简体" pitchFamily="2" charset="-122"/>
            </a:endParaRPr>
          </a:p>
          <a:p>
            <a:pPr marL="352425" indent="-352425" fontAlgn="auto">
              <a:lnSpc>
                <a:spcPct val="250000"/>
              </a:lnSpc>
              <a:spcBef>
                <a:spcPts val="0"/>
              </a:spcBef>
              <a:spcAft>
                <a:spcPts val="0"/>
              </a:spcAft>
              <a:buClr>
                <a:srgbClr val="FFFF00"/>
              </a:buClr>
              <a:buFont typeface="Wingdings" pitchFamily="2" charset="2"/>
              <a:buChar char="n"/>
              <a:defRPr/>
            </a:pPr>
            <a:r>
              <a:rPr lang="en-US" altLang="zh-CN" sz="1100" b="1" dirty="0" smtClean="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中央级公益性科研院所基本科研业务费专项资金管理办法</a:t>
            </a:r>
            <a:r>
              <a:rPr lang="en-US" altLang="zh-CN" sz="1100" b="1" dirty="0" smtClean="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财教</a:t>
            </a:r>
            <a:r>
              <a:rPr lang="en-US" altLang="zh-CN" sz="1100" b="1" dirty="0">
                <a:ln w="3175">
                  <a:solidFill>
                    <a:schemeClr val="tx1"/>
                  </a:solidFill>
                </a:ln>
                <a:latin typeface="方正风雅宋简体" pitchFamily="2" charset="-122"/>
                <a:ea typeface="方正风雅宋简体" pitchFamily="2" charset="-122"/>
              </a:rPr>
              <a:t>[2016]268</a:t>
            </a:r>
            <a:r>
              <a:rPr lang="zh-CN" altLang="en-US" sz="1100" b="1" dirty="0" smtClean="0">
                <a:ln w="3175">
                  <a:solidFill>
                    <a:schemeClr val="tx1"/>
                  </a:solidFill>
                </a:ln>
                <a:latin typeface="方正风雅宋简体" pitchFamily="2" charset="-122"/>
                <a:ea typeface="方正风雅宋简体" pitchFamily="2" charset="-122"/>
              </a:rPr>
              <a:t>号）</a:t>
            </a:r>
            <a:endParaRPr lang="en-US" altLang="zh-CN" sz="1100" b="1" dirty="0">
              <a:ln w="3175">
                <a:solidFill>
                  <a:schemeClr val="tx1"/>
                </a:solidFill>
              </a:ln>
              <a:latin typeface="方正风雅宋简体" pitchFamily="2" charset="-122"/>
              <a:ea typeface="方正风雅宋简体" pitchFamily="2" charset="-122"/>
            </a:endParaRPr>
          </a:p>
          <a:p>
            <a:pPr marL="352425" indent="-352425" fontAlgn="auto">
              <a:lnSpc>
                <a:spcPct val="250000"/>
              </a:lnSpc>
              <a:spcBef>
                <a:spcPts val="0"/>
              </a:spcBef>
              <a:spcAft>
                <a:spcPts val="0"/>
              </a:spcAft>
              <a:buClr>
                <a:srgbClr val="FFFF00"/>
              </a:buClr>
              <a:buFont typeface="Wingdings" pitchFamily="2" charset="2"/>
              <a:buChar char="n"/>
              <a:defRPr/>
            </a:pPr>
            <a:r>
              <a:rPr lang="en-US" altLang="zh-CN" sz="1100" b="1" dirty="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关于调整国家科技计划和公益性行业科研专项经费管理办法若干规定的通知</a:t>
            </a:r>
            <a:r>
              <a:rPr lang="en-US" altLang="zh-CN" sz="1100" b="1" dirty="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财教</a:t>
            </a:r>
            <a:r>
              <a:rPr lang="en-US" altLang="zh-CN" sz="1100" b="1" dirty="0">
                <a:ln w="3175">
                  <a:solidFill>
                    <a:schemeClr val="tx1"/>
                  </a:solidFill>
                </a:ln>
                <a:latin typeface="方正风雅宋简体" pitchFamily="2" charset="-122"/>
                <a:ea typeface="方正风雅宋简体" pitchFamily="2" charset="-122"/>
              </a:rPr>
              <a:t>[2011]434</a:t>
            </a:r>
            <a:r>
              <a:rPr lang="zh-CN" altLang="en-US" sz="1100" b="1" dirty="0">
                <a:ln w="3175">
                  <a:solidFill>
                    <a:schemeClr val="tx1"/>
                  </a:solidFill>
                </a:ln>
                <a:latin typeface="方正风雅宋简体" pitchFamily="2" charset="-122"/>
                <a:ea typeface="方正风雅宋简体" pitchFamily="2" charset="-122"/>
              </a:rPr>
              <a:t>号</a:t>
            </a:r>
            <a:r>
              <a:rPr lang="zh-CN" altLang="en-US" sz="1100" b="1" dirty="0" smtClean="0">
                <a:ln w="3175">
                  <a:solidFill>
                    <a:schemeClr val="tx1"/>
                  </a:solidFill>
                </a:ln>
                <a:latin typeface="方正风雅宋简体" pitchFamily="2" charset="-122"/>
                <a:ea typeface="方正风雅宋简体" pitchFamily="2" charset="-122"/>
              </a:rPr>
              <a:t>）</a:t>
            </a:r>
            <a:endParaRPr lang="en-US" altLang="zh-CN" sz="1100" b="1" dirty="0">
              <a:ln w="3175">
                <a:solidFill>
                  <a:schemeClr val="tx1"/>
                </a:solidFill>
              </a:ln>
              <a:latin typeface="方正风雅宋简体" pitchFamily="2" charset="-122"/>
              <a:ea typeface="方正风雅宋简体" pitchFamily="2" charset="-122"/>
            </a:endParaRPr>
          </a:p>
          <a:p>
            <a:pPr marL="352425" indent="-352425" fontAlgn="auto">
              <a:lnSpc>
                <a:spcPct val="250000"/>
              </a:lnSpc>
              <a:spcBef>
                <a:spcPts val="0"/>
              </a:spcBef>
              <a:spcAft>
                <a:spcPts val="0"/>
              </a:spcAft>
              <a:buClr>
                <a:srgbClr val="FFFF00"/>
              </a:buClr>
              <a:buFont typeface="Wingdings" pitchFamily="2" charset="2"/>
              <a:buChar char="n"/>
              <a:defRPr/>
            </a:pPr>
            <a:r>
              <a:rPr lang="en-US" altLang="zh-CN" sz="1100" b="1" dirty="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中国科学院院级科研项目经费管理办法</a:t>
            </a:r>
            <a:r>
              <a:rPr lang="en-US" altLang="zh-CN" sz="1100" b="1" dirty="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包括先导</a:t>
            </a:r>
            <a:r>
              <a:rPr lang="en-US" altLang="zh-CN" sz="1100" b="1" dirty="0">
                <a:ln w="3175">
                  <a:solidFill>
                    <a:schemeClr val="tx1"/>
                  </a:solidFill>
                </a:ln>
                <a:latin typeface="方正风雅宋简体" pitchFamily="2" charset="-122"/>
                <a:ea typeface="方正风雅宋简体" pitchFamily="2" charset="-122"/>
              </a:rPr>
              <a:t>A\B</a:t>
            </a:r>
            <a:r>
              <a:rPr lang="zh-CN" altLang="en-US" sz="1100" b="1" dirty="0">
                <a:ln w="3175">
                  <a:solidFill>
                    <a:schemeClr val="tx1"/>
                  </a:solidFill>
                </a:ln>
                <a:latin typeface="方正风雅宋简体" pitchFamily="2" charset="-122"/>
                <a:ea typeface="方正风雅宋简体" pitchFamily="2" charset="-122"/>
              </a:rPr>
              <a:t>）</a:t>
            </a:r>
          </a:p>
          <a:p>
            <a:pPr marL="352425" indent="-352425" fontAlgn="auto">
              <a:lnSpc>
                <a:spcPct val="250000"/>
              </a:lnSpc>
              <a:spcBef>
                <a:spcPts val="0"/>
              </a:spcBef>
              <a:spcAft>
                <a:spcPts val="0"/>
              </a:spcAft>
              <a:buClr>
                <a:srgbClr val="FFFF00"/>
              </a:buClr>
              <a:buFont typeface="Wingdings" pitchFamily="2" charset="2"/>
              <a:buChar char="n"/>
              <a:defRPr/>
            </a:pPr>
            <a:r>
              <a:rPr lang="en-US" altLang="zh-CN" sz="1100" b="1" dirty="0" smtClean="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国家重点实验室专项经费管理办法</a:t>
            </a:r>
            <a:r>
              <a:rPr lang="en-US" altLang="zh-CN" sz="1100" b="1" dirty="0">
                <a:ln w="3175">
                  <a:solidFill>
                    <a:schemeClr val="tx1"/>
                  </a:solidFill>
                </a:ln>
                <a:latin typeface="方正风雅宋简体" pitchFamily="2" charset="-122"/>
                <a:ea typeface="方正风雅宋简体" pitchFamily="2" charset="-122"/>
              </a:rPr>
              <a:t>》</a:t>
            </a:r>
          </a:p>
          <a:p>
            <a:pPr marL="352425" indent="-352425" fontAlgn="auto">
              <a:lnSpc>
                <a:spcPct val="250000"/>
              </a:lnSpc>
              <a:spcBef>
                <a:spcPts val="0"/>
              </a:spcBef>
              <a:spcAft>
                <a:spcPts val="0"/>
              </a:spcAft>
              <a:buClr>
                <a:srgbClr val="FFFF00"/>
              </a:buClr>
              <a:buFont typeface="Wingdings" pitchFamily="2" charset="2"/>
              <a:buChar char="n"/>
              <a:defRPr/>
            </a:pPr>
            <a:r>
              <a:rPr lang="en-US" altLang="zh-CN" sz="1100" b="1" dirty="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国家自然科学基金资助项目资金管理办法</a:t>
            </a:r>
            <a:r>
              <a:rPr lang="en-US" altLang="zh-CN" sz="1100" b="1" dirty="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 </a:t>
            </a:r>
          </a:p>
          <a:p>
            <a:pPr marL="352425" indent="-352425" fontAlgn="auto">
              <a:lnSpc>
                <a:spcPct val="250000"/>
              </a:lnSpc>
              <a:spcBef>
                <a:spcPts val="0"/>
              </a:spcBef>
              <a:spcAft>
                <a:spcPts val="0"/>
              </a:spcAft>
              <a:buClr>
                <a:srgbClr val="FFFF00"/>
              </a:buClr>
              <a:buFont typeface="Wingdings" pitchFamily="2" charset="2"/>
              <a:buChar char="n"/>
              <a:defRPr/>
            </a:pPr>
            <a:r>
              <a:rPr lang="en-US" altLang="zh-CN" sz="1100" b="1" dirty="0" smtClean="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国防科技工业科研经费管理暂行办法</a:t>
            </a:r>
            <a:r>
              <a:rPr lang="en-US" altLang="zh-CN" sz="1100" b="1" dirty="0">
                <a:ln w="3175">
                  <a:solidFill>
                    <a:schemeClr val="tx1"/>
                  </a:solidFill>
                </a:ln>
                <a:latin typeface="方正风雅宋简体" pitchFamily="2" charset="-122"/>
                <a:ea typeface="方正风雅宋简体" pitchFamily="2" charset="-122"/>
              </a:rPr>
              <a:t>》 </a:t>
            </a:r>
            <a:r>
              <a:rPr lang="zh-CN" altLang="en-US" sz="1100" b="1" dirty="0">
                <a:ln w="3175">
                  <a:solidFill>
                    <a:schemeClr val="tx1"/>
                  </a:solidFill>
                </a:ln>
                <a:latin typeface="方正风雅宋简体" pitchFamily="2" charset="-122"/>
                <a:ea typeface="方正风雅宋简体" pitchFamily="2" charset="-122"/>
              </a:rPr>
              <a:t>（财防</a:t>
            </a:r>
            <a:r>
              <a:rPr lang="en-US" altLang="zh-CN" sz="1100" b="1" dirty="0">
                <a:ln w="3175">
                  <a:solidFill>
                    <a:schemeClr val="tx1"/>
                  </a:solidFill>
                </a:ln>
                <a:latin typeface="方正风雅宋简体" pitchFamily="2" charset="-122"/>
                <a:ea typeface="方正风雅宋简体" pitchFamily="2" charset="-122"/>
              </a:rPr>
              <a:t>[2008]11</a:t>
            </a:r>
            <a:r>
              <a:rPr lang="zh-CN" altLang="en-US" sz="1100" b="1" dirty="0">
                <a:ln w="3175">
                  <a:solidFill>
                    <a:schemeClr val="tx1"/>
                  </a:solidFill>
                </a:ln>
                <a:latin typeface="方正风雅宋简体" pitchFamily="2" charset="-122"/>
                <a:ea typeface="方正风雅宋简体" pitchFamily="2" charset="-122"/>
              </a:rPr>
              <a:t>号） </a:t>
            </a:r>
          </a:p>
          <a:p>
            <a:pPr marL="352425" indent="-352425" fontAlgn="auto">
              <a:lnSpc>
                <a:spcPct val="250000"/>
              </a:lnSpc>
              <a:spcBef>
                <a:spcPts val="0"/>
              </a:spcBef>
              <a:spcAft>
                <a:spcPts val="0"/>
              </a:spcAft>
              <a:buClr>
                <a:srgbClr val="FFFF00"/>
              </a:buClr>
              <a:buFont typeface="Wingdings" pitchFamily="2" charset="2"/>
              <a:buChar char="n"/>
              <a:defRPr/>
            </a:pPr>
            <a:r>
              <a:rPr lang="en-US" altLang="zh-CN" sz="1100" b="1" dirty="0" smtClean="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上海市科研计划专项经费管理办法</a:t>
            </a:r>
            <a:r>
              <a:rPr lang="en-US" altLang="zh-CN" sz="1100" b="1" dirty="0">
                <a:ln w="3175">
                  <a:solidFill>
                    <a:schemeClr val="tx1"/>
                  </a:solidFill>
                </a:ln>
                <a:latin typeface="方正风雅宋简体" pitchFamily="2" charset="-122"/>
                <a:ea typeface="方正风雅宋简体" pitchFamily="2" charset="-122"/>
              </a:rPr>
              <a:t>》</a:t>
            </a:r>
            <a:r>
              <a:rPr lang="zh-CN" altLang="en-US" sz="1100" b="1" dirty="0">
                <a:ln w="3175">
                  <a:solidFill>
                    <a:schemeClr val="tx1"/>
                  </a:solidFill>
                </a:ln>
                <a:latin typeface="方正风雅宋简体" pitchFamily="2" charset="-122"/>
                <a:ea typeface="方正风雅宋简体" pitchFamily="2" charset="-122"/>
              </a:rPr>
              <a:t>（沪财教</a:t>
            </a:r>
            <a:r>
              <a:rPr lang="en-US" altLang="zh-CN" sz="1100" b="1" dirty="0">
                <a:ln w="3175">
                  <a:solidFill>
                    <a:schemeClr val="tx1"/>
                  </a:solidFill>
                </a:ln>
                <a:latin typeface="方正风雅宋简体" pitchFamily="2" charset="-122"/>
                <a:ea typeface="方正风雅宋简体" pitchFamily="2" charset="-122"/>
              </a:rPr>
              <a:t>【2015】95</a:t>
            </a:r>
            <a:r>
              <a:rPr lang="zh-CN" altLang="en-US" sz="1100" b="1" dirty="0">
                <a:ln w="3175">
                  <a:solidFill>
                    <a:schemeClr val="tx1"/>
                  </a:solidFill>
                </a:ln>
                <a:latin typeface="方正风雅宋简体" pitchFamily="2" charset="-122"/>
                <a:ea typeface="方正风雅宋简体" pitchFamily="2" charset="-122"/>
              </a:rPr>
              <a:t>号）</a:t>
            </a:r>
          </a:p>
          <a:p>
            <a:pPr marL="352425" indent="-352425" fontAlgn="auto">
              <a:lnSpc>
                <a:spcPct val="250000"/>
              </a:lnSpc>
              <a:spcBef>
                <a:spcPts val="0"/>
              </a:spcBef>
              <a:spcAft>
                <a:spcPts val="0"/>
              </a:spcAft>
              <a:buClr>
                <a:srgbClr val="FFFF00"/>
              </a:buClr>
              <a:buFont typeface="Wingdings" pitchFamily="2" charset="2"/>
              <a:buChar char="n"/>
              <a:defRPr/>
            </a:pPr>
            <a:r>
              <a:rPr lang="zh-CN" altLang="en-US" sz="1100" b="1" dirty="0">
                <a:ln w="3175">
                  <a:solidFill>
                    <a:schemeClr val="tx1"/>
                  </a:solidFill>
                </a:ln>
                <a:latin typeface="方正风雅宋简体" pitchFamily="2" charset="-122"/>
                <a:ea typeface="方正风雅宋简体" pitchFamily="2" charset="-122"/>
              </a:rPr>
              <a:t> 国家其他财经制度规定</a:t>
            </a:r>
            <a:endParaRPr lang="en-US" altLang="zh-CN" sz="2200" b="1" dirty="0">
              <a:ln w="3175">
                <a:solidFill>
                  <a:schemeClr val="tx1"/>
                </a:solidFill>
              </a:ln>
              <a:latin typeface="方正风雅宋简体" pitchFamily="2" charset="-122"/>
              <a:ea typeface="方正风雅宋简体" pitchFamily="2" charset="-122"/>
            </a:endParaRP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9" y="2181224"/>
            <a:ext cx="1966798" cy="1467231"/>
          </a:xfrm>
          <a:prstGeom prst="rect">
            <a:avLst/>
          </a:prstGeom>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文本框 3"/>
          <p:cNvSpPr txBox="1"/>
          <p:nvPr/>
        </p:nvSpPr>
        <p:spPr>
          <a:xfrm>
            <a:off x="-151905" y="181224"/>
            <a:ext cx="1352055" cy="461665"/>
          </a:xfrm>
          <a:prstGeom prst="rect">
            <a:avLst/>
          </a:prstGeom>
          <a:noFill/>
          <a:effectLst/>
        </p:spPr>
        <p:txBody>
          <a:bodyPr wrap="square" rtlCol="0">
            <a:spAutoFit/>
          </a:bodyPr>
          <a:lstStyle/>
          <a:p>
            <a:pPr algn="ctr"/>
            <a:r>
              <a:rPr lang="zh-CN" altLang="en-US" sz="2400" b="1" dirty="0" smtClean="0">
                <a:latin typeface="微软雅黑" pitchFamily="34" charset="-122"/>
                <a:ea typeface="微软雅黑" pitchFamily="34" charset="-122"/>
              </a:rPr>
              <a:t>善理财</a:t>
            </a:r>
            <a:endParaRPr lang="zh-CN" altLang="en-US" sz="24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419840748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圆角矩形 53"/>
          <p:cNvSpPr/>
          <p:nvPr/>
        </p:nvSpPr>
        <p:spPr>
          <a:xfrm>
            <a:off x="971600" y="908720"/>
            <a:ext cx="7056784" cy="2880320"/>
          </a:xfrm>
          <a:prstGeom prst="roundRect">
            <a:avLst>
              <a:gd name="adj" fmla="val 9960"/>
            </a:avLst>
          </a:prstGeom>
          <a:gradFill flip="none" rotWithShape="1">
            <a:gsLst>
              <a:gs pos="0">
                <a:sysClr val="window" lastClr="FFFFFF">
                  <a:lumMod val="95000"/>
                </a:sysClr>
              </a:gs>
              <a:gs pos="100000">
                <a:sysClr val="window" lastClr="FFFFFF"/>
              </a:gs>
            </a:gsLst>
            <a:lin ang="5400000" scaled="1"/>
            <a:tileRect/>
          </a:gradFill>
          <a:ln w="9525" cap="flat" cmpd="sng" algn="ctr">
            <a:solidFill>
              <a:sysClr val="window" lastClr="FFFFFF"/>
            </a:solidFill>
            <a:prstDash val="solid"/>
          </a:ln>
          <a:effectLst>
            <a:outerShdw blurRad="571500" dist="2413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5" name="圆角矩形 54"/>
          <p:cNvSpPr/>
          <p:nvPr/>
        </p:nvSpPr>
        <p:spPr>
          <a:xfrm>
            <a:off x="1573422" y="2881041"/>
            <a:ext cx="812173" cy="1421303"/>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6" name="圆角矩形 55"/>
          <p:cNvSpPr/>
          <p:nvPr/>
        </p:nvSpPr>
        <p:spPr>
          <a:xfrm>
            <a:off x="2588638" y="3388727"/>
            <a:ext cx="812173" cy="1421303"/>
          </a:xfrm>
          <a:prstGeom prst="roundRect">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w="25400" cap="flat" cmpd="sng" algn="ctr">
            <a:solidFill>
              <a:srgbClr val="FFC000"/>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7" name="圆角矩形 56"/>
          <p:cNvSpPr/>
          <p:nvPr/>
        </p:nvSpPr>
        <p:spPr>
          <a:xfrm>
            <a:off x="3608733" y="2881041"/>
            <a:ext cx="812173" cy="1421303"/>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8" name="圆角矩形 57"/>
          <p:cNvSpPr/>
          <p:nvPr/>
        </p:nvSpPr>
        <p:spPr>
          <a:xfrm>
            <a:off x="4594861" y="2881041"/>
            <a:ext cx="812173" cy="1421303"/>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9" name="圆角矩形 58"/>
          <p:cNvSpPr/>
          <p:nvPr/>
        </p:nvSpPr>
        <p:spPr>
          <a:xfrm>
            <a:off x="5566607" y="2881041"/>
            <a:ext cx="812173" cy="1421303"/>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0" name="圆角矩形 59"/>
          <p:cNvSpPr/>
          <p:nvPr/>
        </p:nvSpPr>
        <p:spPr>
          <a:xfrm>
            <a:off x="6514142" y="2881041"/>
            <a:ext cx="812173" cy="1421303"/>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1" name="圆角矩形 60"/>
          <p:cNvSpPr/>
          <p:nvPr/>
        </p:nvSpPr>
        <p:spPr>
          <a:xfrm>
            <a:off x="1187624" y="1124744"/>
            <a:ext cx="6624736" cy="2376264"/>
          </a:xfrm>
          <a:prstGeom prst="roundRect">
            <a:avLst/>
          </a:prstGeom>
          <a:solidFill>
            <a:sysClr val="window" lastClr="FFFFFF"/>
          </a:solidFill>
          <a:ln w="25400" cap="flat" cmpd="sng" algn="ctr">
            <a:solidFill>
              <a:sysClr val="window" lastClr="FFFFFF">
                <a:lumMod val="95000"/>
              </a:sysClr>
            </a:solidFill>
            <a:prstDash val="solid"/>
          </a:ln>
          <a:effectLst>
            <a:outerShdw blurRad="279400" dist="101600" dir="5400000" algn="t" rotWithShape="0">
              <a:prstClr val="black">
                <a:alpha val="3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2" name="TextBox 61"/>
          <p:cNvSpPr txBox="1"/>
          <p:nvPr/>
        </p:nvSpPr>
        <p:spPr>
          <a:xfrm>
            <a:off x="1844695" y="1692088"/>
            <a:ext cx="1287145" cy="1323439"/>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4000" b="1" i="0" u="none" strike="noStrike" kern="0" cap="none" spc="0" normalizeH="0" baseline="0" noProof="0" dirty="0" smtClean="0">
                <a:ln w="18415" cmpd="sng">
                  <a:noFill/>
                  <a:prstDash val="solid"/>
                </a:ln>
                <a:solidFill>
                  <a:sysClr val="window" lastClr="FFFFFF">
                    <a:lumMod val="50000"/>
                  </a:sysClr>
                </a:solidFill>
                <a:effectLst/>
                <a:uLnTx/>
                <a:uFillTx/>
                <a:latin typeface="Agency FB" pitchFamily="34" charset="0"/>
                <a:ea typeface="微软雅黑" pitchFamily="34" charset="-122"/>
              </a:rPr>
              <a:t>直接费用</a:t>
            </a:r>
            <a:endParaRPr kumimoji="0" lang="zh-CN" altLang="en-US" sz="4000" b="1" i="0" u="none" strike="noStrike" kern="0" cap="none" spc="0" normalizeH="0" baseline="0" noProof="0" dirty="0">
              <a:ln w="18415" cmpd="sng">
                <a:noFill/>
                <a:prstDash val="solid"/>
              </a:ln>
              <a:solidFill>
                <a:sysClr val="window" lastClr="FFFFFF">
                  <a:lumMod val="50000"/>
                </a:sysClr>
              </a:solidFill>
              <a:effectLst/>
              <a:uLnTx/>
              <a:uFillTx/>
              <a:latin typeface="Agency FB" pitchFamily="34" charset="0"/>
              <a:ea typeface="微软雅黑" pitchFamily="34" charset="-122"/>
            </a:endParaRPr>
          </a:p>
        </p:txBody>
      </p:sp>
      <p:sp>
        <p:nvSpPr>
          <p:cNvPr id="63" name="TextBox 62"/>
          <p:cNvSpPr txBox="1"/>
          <p:nvPr/>
        </p:nvSpPr>
        <p:spPr>
          <a:xfrm>
            <a:off x="3337667" y="1628800"/>
            <a:ext cx="4186661" cy="1169551"/>
          </a:xfrm>
          <a:prstGeom prst="rect">
            <a:avLst/>
          </a:prstGeom>
          <a:noFill/>
        </p:spPr>
        <p:txBody>
          <a:bodyPr wrap="square" rtlCol="0">
            <a:spAutoFit/>
          </a:bodyPr>
          <a:lstStyle/>
          <a:p>
            <a:pPr lvl="0" defTabSz="914400">
              <a:defRPr/>
            </a:pPr>
            <a:r>
              <a:rPr lang="zh-CN" altLang="en-US" sz="1400" b="1" kern="0" dirty="0" smtClean="0">
                <a:solidFill>
                  <a:sysClr val="windowText" lastClr="000000">
                    <a:lumMod val="65000"/>
                    <a:lumOff val="35000"/>
                  </a:sysClr>
                </a:solidFill>
                <a:latin typeface="Arial" pitchFamily="34" charset="0"/>
                <a:ea typeface="微软雅黑" pitchFamily="34" charset="-122"/>
                <a:cs typeface="Arial" pitchFamily="34" charset="0"/>
              </a:rPr>
              <a:t>       指</a:t>
            </a:r>
            <a:r>
              <a:rPr lang="zh-CN" altLang="en-US" sz="1400" b="1" kern="0" dirty="0">
                <a:solidFill>
                  <a:sysClr val="windowText" lastClr="000000">
                    <a:lumMod val="65000"/>
                    <a:lumOff val="35000"/>
                  </a:sysClr>
                </a:solidFill>
                <a:latin typeface="Arial" pitchFamily="34" charset="0"/>
                <a:ea typeface="微软雅黑" pitchFamily="34" charset="-122"/>
                <a:cs typeface="Arial" pitchFamily="34" charset="0"/>
              </a:rPr>
              <a:t>在项目实施过程中发生的与之直接相关的费用，主要包括设备费、材料费、测试化验加工费、燃料动力费、差旅费、会议费、国际合作与交流费、出版</a:t>
            </a:r>
            <a:r>
              <a:rPr lang="en-US" altLang="zh-CN" sz="1400" b="1" kern="0" dirty="0">
                <a:solidFill>
                  <a:sysClr val="windowText" lastClr="000000">
                    <a:lumMod val="65000"/>
                    <a:lumOff val="35000"/>
                  </a:sysClr>
                </a:solidFill>
                <a:latin typeface="Arial" pitchFamily="34" charset="0"/>
                <a:ea typeface="微软雅黑" pitchFamily="34" charset="-122"/>
                <a:cs typeface="Arial" pitchFamily="34" charset="0"/>
              </a:rPr>
              <a:t>/</a:t>
            </a:r>
            <a:r>
              <a:rPr lang="zh-CN" altLang="en-US" sz="1400" b="1" kern="0" dirty="0">
                <a:solidFill>
                  <a:sysClr val="windowText" lastClr="000000">
                    <a:lumMod val="65000"/>
                    <a:lumOff val="35000"/>
                  </a:sysClr>
                </a:solidFill>
                <a:latin typeface="Arial" pitchFamily="34" charset="0"/>
                <a:ea typeface="微软雅黑" pitchFamily="34" charset="-122"/>
                <a:cs typeface="Arial" pitchFamily="34" charset="0"/>
              </a:rPr>
              <a:t>文献</a:t>
            </a:r>
            <a:r>
              <a:rPr lang="en-US" altLang="zh-CN" sz="1400" b="1" kern="0" dirty="0">
                <a:solidFill>
                  <a:sysClr val="windowText" lastClr="000000">
                    <a:lumMod val="65000"/>
                    <a:lumOff val="35000"/>
                  </a:sysClr>
                </a:solidFill>
                <a:latin typeface="Arial" pitchFamily="34" charset="0"/>
                <a:ea typeface="微软雅黑" pitchFamily="34" charset="-122"/>
                <a:cs typeface="Arial" pitchFamily="34" charset="0"/>
              </a:rPr>
              <a:t>/</a:t>
            </a:r>
            <a:r>
              <a:rPr lang="zh-CN" altLang="en-US" sz="1400" b="1" kern="0" dirty="0">
                <a:solidFill>
                  <a:sysClr val="windowText" lastClr="000000">
                    <a:lumMod val="65000"/>
                    <a:lumOff val="35000"/>
                  </a:sysClr>
                </a:solidFill>
                <a:latin typeface="Arial" pitchFamily="34" charset="0"/>
                <a:ea typeface="微软雅黑" pitchFamily="34" charset="-122"/>
                <a:cs typeface="Arial" pitchFamily="34" charset="0"/>
              </a:rPr>
              <a:t>信息传播</a:t>
            </a:r>
            <a:r>
              <a:rPr lang="en-US" altLang="zh-CN" sz="1400" b="1" kern="0" dirty="0">
                <a:solidFill>
                  <a:sysClr val="windowText" lastClr="000000">
                    <a:lumMod val="65000"/>
                    <a:lumOff val="35000"/>
                  </a:sysClr>
                </a:solidFill>
                <a:latin typeface="Arial" pitchFamily="34" charset="0"/>
                <a:ea typeface="微软雅黑" pitchFamily="34" charset="-122"/>
                <a:cs typeface="Arial" pitchFamily="34" charset="0"/>
              </a:rPr>
              <a:t>/</a:t>
            </a:r>
            <a:r>
              <a:rPr lang="zh-CN" altLang="en-US" sz="1400" b="1" kern="0" dirty="0">
                <a:solidFill>
                  <a:sysClr val="windowText" lastClr="000000">
                    <a:lumMod val="65000"/>
                    <a:lumOff val="35000"/>
                  </a:sysClr>
                </a:solidFill>
                <a:latin typeface="Arial" pitchFamily="34" charset="0"/>
                <a:ea typeface="微软雅黑" pitchFamily="34" charset="-122"/>
                <a:cs typeface="Arial" pitchFamily="34" charset="0"/>
              </a:rPr>
              <a:t>知识产权事务费、劳务费、专家咨询费和其他支出等十一个支出科目</a:t>
            </a:r>
          </a:p>
        </p:txBody>
      </p:sp>
      <p:sp>
        <p:nvSpPr>
          <p:cNvPr id="64" name="TextBox 63"/>
          <p:cNvSpPr txBox="1"/>
          <p:nvPr/>
        </p:nvSpPr>
        <p:spPr>
          <a:xfrm>
            <a:off x="1501414" y="3714309"/>
            <a:ext cx="936104"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设备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5" name="TextBox 64"/>
          <p:cNvSpPr txBox="1"/>
          <p:nvPr/>
        </p:nvSpPr>
        <p:spPr>
          <a:xfrm>
            <a:off x="2522405" y="4099378"/>
            <a:ext cx="936104"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材料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6" name="TextBox 65"/>
          <p:cNvSpPr txBox="1"/>
          <p:nvPr/>
        </p:nvSpPr>
        <p:spPr>
          <a:xfrm>
            <a:off x="3551009" y="3714309"/>
            <a:ext cx="936104"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差旅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7" name="TextBox 66"/>
          <p:cNvSpPr txBox="1"/>
          <p:nvPr/>
        </p:nvSpPr>
        <p:spPr>
          <a:xfrm>
            <a:off x="4532895" y="3714309"/>
            <a:ext cx="936104"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会议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8" name="TextBox 67"/>
          <p:cNvSpPr txBox="1"/>
          <p:nvPr/>
        </p:nvSpPr>
        <p:spPr>
          <a:xfrm>
            <a:off x="5514781" y="3714309"/>
            <a:ext cx="936104"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劳务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9" name="TextBox 68"/>
          <p:cNvSpPr txBox="1"/>
          <p:nvPr/>
        </p:nvSpPr>
        <p:spPr>
          <a:xfrm>
            <a:off x="6470909" y="3628584"/>
            <a:ext cx="936104" cy="38779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24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a:t>
            </a:r>
            <a:endParaRPr kumimoji="0" lang="zh-CN" altLang="en-US" sz="24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pic>
        <p:nvPicPr>
          <p:cNvPr id="19" name="图片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20" name="文本框 3"/>
          <p:cNvSpPr txBox="1"/>
          <p:nvPr/>
        </p:nvSpPr>
        <p:spPr>
          <a:xfrm>
            <a:off x="-151905" y="162174"/>
            <a:ext cx="4507279" cy="507831"/>
          </a:xfrm>
          <a:prstGeom prst="rect">
            <a:avLst/>
          </a:prstGeom>
          <a:noFill/>
          <a:effectLst/>
        </p:spPr>
        <p:txBody>
          <a:bodyPr wrap="square" rtlCol="0">
            <a:spAutoFit/>
          </a:bodyPr>
          <a:lstStyle/>
          <a:p>
            <a:pPr algn="ctr"/>
            <a:r>
              <a:rPr lang="zh-CN" altLang="en-US" sz="2400" b="1" dirty="0" smtClean="0">
                <a:latin typeface="微软雅黑" pitchFamily="34" charset="-122"/>
                <a:ea typeface="微软雅黑" pitchFamily="34" charset="-122"/>
              </a:rPr>
              <a:t>善理财              </a:t>
            </a:r>
            <a:r>
              <a:rPr lang="en-US" altLang="zh-CN"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       </a:t>
            </a:r>
            <a:r>
              <a:rPr lang="zh-CN" altLang="en-US" sz="24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预算编制</a:t>
            </a:r>
            <a:endParaRPr lang="zh-CN" altLang="en-US" sz="24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413979086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83664" y="811330"/>
            <a:ext cx="546348" cy="434169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TextBox 6"/>
          <p:cNvSpPr txBox="1"/>
          <p:nvPr/>
        </p:nvSpPr>
        <p:spPr>
          <a:xfrm>
            <a:off x="4210948" y="1061988"/>
            <a:ext cx="591934" cy="461665"/>
          </a:xfrm>
          <a:prstGeom prst="rect">
            <a:avLst/>
          </a:prstGeom>
          <a:noFill/>
        </p:spPr>
        <p:txBody>
          <a:bodyPr wrap="square" rtlCol="0">
            <a:spAutoFit/>
          </a:bodyPr>
          <a:lstStyle/>
          <a:p>
            <a:r>
              <a:rPr lang="en-US" altLang="zh-CN" sz="2400" b="1" dirty="0" smtClean="0">
                <a:solidFill>
                  <a:schemeClr val="bg1"/>
                </a:solidFill>
                <a:latin typeface="MS PMincho" pitchFamily="18" charset="-128"/>
                <a:ea typeface="MS PMincho" pitchFamily="18" charset="-128"/>
              </a:rPr>
              <a:t>01</a:t>
            </a:r>
            <a:endParaRPr lang="zh-CN" altLang="en-US" sz="2400" b="1" dirty="0" smtClean="0">
              <a:solidFill>
                <a:schemeClr val="bg1"/>
              </a:solidFill>
              <a:latin typeface="MS PMincho" pitchFamily="18" charset="-128"/>
              <a:ea typeface="MS PMincho" pitchFamily="18" charset="-128"/>
            </a:endParaRPr>
          </a:p>
        </p:txBody>
      </p:sp>
      <p:cxnSp>
        <p:nvCxnSpPr>
          <p:cNvPr id="8" name="直接连接符 7"/>
          <p:cNvCxnSpPr>
            <a:stCxn id="10" idx="3"/>
          </p:cNvCxnSpPr>
          <p:nvPr/>
        </p:nvCxnSpPr>
        <p:spPr>
          <a:xfrm flipV="1">
            <a:off x="2847862" y="1322282"/>
            <a:ext cx="1328094" cy="1138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4175956" y="1272704"/>
            <a:ext cx="68294" cy="81696"/>
          </a:xfrm>
          <a:prstGeom prst="ellipse">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1564430" y="1196509"/>
            <a:ext cx="1283432" cy="27430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latin typeface="微软雅黑" pitchFamily="34" charset="-122"/>
                <a:ea typeface="微软雅黑" pitchFamily="34" charset="-122"/>
              </a:rPr>
              <a:t>设备费</a:t>
            </a:r>
          </a:p>
        </p:txBody>
      </p:sp>
      <p:sp>
        <p:nvSpPr>
          <p:cNvPr id="12" name="TextBox 11"/>
          <p:cNvSpPr txBox="1"/>
          <p:nvPr/>
        </p:nvSpPr>
        <p:spPr>
          <a:xfrm>
            <a:off x="562592" y="1548759"/>
            <a:ext cx="2760813" cy="1052596"/>
          </a:xfrm>
          <a:prstGeom prst="rect">
            <a:avLst/>
          </a:prstGeom>
          <a:noFill/>
        </p:spPr>
        <p:txBody>
          <a:bodyPr wrap="square" rtlCol="0">
            <a:spAutoFit/>
          </a:bodyPr>
          <a:lstStyle/>
          <a:p>
            <a:pPr>
              <a:lnSpc>
                <a:spcPct val="130000"/>
              </a:lnSpc>
            </a:pPr>
            <a:r>
              <a:rPr lang="zh-CN" altLang="en-US" sz="1200" dirty="0" smtClean="0">
                <a:latin typeface="微软雅黑" pitchFamily="34" charset="-122"/>
                <a:ea typeface="微软雅黑" pitchFamily="34" charset="-122"/>
              </a:rPr>
              <a:t>是</a:t>
            </a:r>
            <a:r>
              <a:rPr lang="zh-CN" altLang="en-US" sz="1200" dirty="0">
                <a:latin typeface="微软雅黑" pitchFamily="34" charset="-122"/>
                <a:ea typeface="微软雅黑" pitchFamily="34" charset="-122"/>
              </a:rPr>
              <a:t>指在项目实施过程中购置或试制专用仪器设备，对现有仪器设备进行升级改造，以及租赁外单位仪器设备而发生的费用</a:t>
            </a:r>
          </a:p>
        </p:txBody>
      </p:sp>
      <p:cxnSp>
        <p:nvCxnSpPr>
          <p:cNvPr id="14" name="直接连接符 13"/>
          <p:cNvCxnSpPr/>
          <p:nvPr/>
        </p:nvCxnSpPr>
        <p:spPr>
          <a:xfrm flipH="1">
            <a:off x="5793556" y="2727316"/>
            <a:ext cx="34746"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5" name="椭圆 14"/>
          <p:cNvSpPr/>
          <p:nvPr/>
        </p:nvSpPr>
        <p:spPr>
          <a:xfrm flipH="1">
            <a:off x="4661718" y="2658154"/>
            <a:ext cx="68294" cy="81696"/>
          </a:xfrm>
          <a:prstGeom prst="ellipse">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flipH="1">
            <a:off x="5606860" y="2582493"/>
            <a:ext cx="1796960" cy="27430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微软雅黑" pitchFamily="34" charset="-122"/>
                <a:ea typeface="微软雅黑" pitchFamily="34" charset="-122"/>
              </a:rPr>
              <a:t>测试化验加工费</a:t>
            </a:r>
            <a:endParaRPr lang="zh-CN" altLang="en-US" sz="1600" dirty="0">
              <a:latin typeface="微软雅黑" pitchFamily="34" charset="-122"/>
              <a:ea typeface="微软雅黑" pitchFamily="34" charset="-122"/>
            </a:endParaRPr>
          </a:p>
        </p:txBody>
      </p:sp>
      <p:sp>
        <p:nvSpPr>
          <p:cNvPr id="17" name="TextBox 16"/>
          <p:cNvSpPr txBox="1"/>
          <p:nvPr/>
        </p:nvSpPr>
        <p:spPr>
          <a:xfrm>
            <a:off x="5537132" y="3138406"/>
            <a:ext cx="2882968" cy="812530"/>
          </a:xfrm>
          <a:prstGeom prst="rect">
            <a:avLst/>
          </a:prstGeom>
          <a:noFill/>
        </p:spPr>
        <p:txBody>
          <a:bodyPr wrap="square" rtlCol="0">
            <a:spAutoFit/>
          </a:bodyPr>
          <a:lstStyle/>
          <a:p>
            <a:pPr>
              <a:lnSpc>
                <a:spcPct val="130000"/>
              </a:lnSpc>
            </a:pPr>
            <a:r>
              <a:rPr lang="zh-CN" altLang="en-US" sz="1200" dirty="0">
                <a:latin typeface="微软雅黑" pitchFamily="34" charset="-122"/>
                <a:ea typeface="微软雅黑" pitchFamily="34" charset="-122"/>
              </a:rPr>
              <a:t>是指在项目实施过程中支付给外单位（包括承担单位</a:t>
            </a:r>
            <a:r>
              <a:rPr lang="zh-CN" altLang="en-US" sz="1200" dirty="0">
                <a:solidFill>
                  <a:srgbClr val="FF0000"/>
                </a:solidFill>
                <a:latin typeface="微软雅黑" pitchFamily="34" charset="-122"/>
                <a:ea typeface="微软雅黑" pitchFamily="34" charset="-122"/>
              </a:rPr>
              <a:t>内部独立经济核算单位</a:t>
            </a:r>
            <a:r>
              <a:rPr lang="zh-CN" altLang="en-US" sz="1200" dirty="0">
                <a:latin typeface="微软雅黑" pitchFamily="34" charset="-122"/>
                <a:ea typeface="微软雅黑" pitchFamily="34" charset="-122"/>
              </a:rPr>
              <a:t>）的检验、测试、化验及加工等费用</a:t>
            </a:r>
          </a:p>
        </p:txBody>
      </p:sp>
      <p:cxnSp>
        <p:nvCxnSpPr>
          <p:cNvPr id="19" name="直接连接符 18"/>
          <p:cNvCxnSpPr>
            <a:stCxn id="21" idx="3"/>
          </p:cNvCxnSpPr>
          <p:nvPr/>
        </p:nvCxnSpPr>
        <p:spPr>
          <a:xfrm>
            <a:off x="3299355" y="3985208"/>
            <a:ext cx="876601"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椭圆 19"/>
          <p:cNvSpPr/>
          <p:nvPr/>
        </p:nvSpPr>
        <p:spPr>
          <a:xfrm>
            <a:off x="4183664" y="3934668"/>
            <a:ext cx="68294" cy="81696"/>
          </a:xfrm>
          <a:prstGeom prst="ellipse">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2015923" y="3848055"/>
            <a:ext cx="1283432" cy="27430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微软雅黑" pitchFamily="34" charset="-122"/>
                <a:ea typeface="微软雅黑" pitchFamily="34" charset="-122"/>
              </a:rPr>
              <a:t>材料费</a:t>
            </a:r>
            <a:endParaRPr lang="zh-CN" altLang="en-US" sz="1600" dirty="0">
              <a:latin typeface="微软雅黑" pitchFamily="34" charset="-122"/>
              <a:ea typeface="微软雅黑" pitchFamily="34" charset="-122"/>
            </a:endParaRPr>
          </a:p>
        </p:txBody>
      </p:sp>
      <p:sp>
        <p:nvSpPr>
          <p:cNvPr id="22" name="TextBox 21"/>
          <p:cNvSpPr txBox="1"/>
          <p:nvPr/>
        </p:nvSpPr>
        <p:spPr>
          <a:xfrm>
            <a:off x="444232" y="4172784"/>
            <a:ext cx="2575193" cy="812530"/>
          </a:xfrm>
          <a:prstGeom prst="rect">
            <a:avLst/>
          </a:prstGeom>
          <a:noFill/>
        </p:spPr>
        <p:txBody>
          <a:bodyPr wrap="square" rtlCol="0">
            <a:spAutoFit/>
          </a:bodyPr>
          <a:lstStyle/>
          <a:p>
            <a:pPr>
              <a:lnSpc>
                <a:spcPct val="130000"/>
              </a:lnSpc>
            </a:pPr>
            <a:r>
              <a:rPr lang="zh-CN" altLang="en-US" sz="1200" dirty="0">
                <a:latin typeface="微软雅黑" pitchFamily="34" charset="-122"/>
                <a:ea typeface="微软雅黑" pitchFamily="34" charset="-122"/>
              </a:rPr>
              <a:t>是指在项目实施过程中消耗的各种原材料、辅助材料等低值易耗品的</a:t>
            </a:r>
            <a:r>
              <a:rPr lang="zh-CN" altLang="en-US" sz="1200" dirty="0">
                <a:solidFill>
                  <a:srgbClr val="FF0000"/>
                </a:solidFill>
                <a:latin typeface="微软雅黑" pitchFamily="34" charset="-122"/>
                <a:ea typeface="微软雅黑" pitchFamily="34" charset="-122"/>
              </a:rPr>
              <a:t>采购及运输、装卸、整理</a:t>
            </a:r>
            <a:r>
              <a:rPr lang="zh-CN" altLang="en-US" sz="1200" dirty="0">
                <a:latin typeface="微软雅黑" pitchFamily="34" charset="-122"/>
                <a:ea typeface="微软雅黑" pitchFamily="34" charset="-122"/>
              </a:rPr>
              <a:t>等费用</a:t>
            </a:r>
          </a:p>
        </p:txBody>
      </p:sp>
      <p:cxnSp>
        <p:nvCxnSpPr>
          <p:cNvPr id="37" name="直接连接符 36"/>
          <p:cNvCxnSpPr/>
          <p:nvPr/>
        </p:nvCxnSpPr>
        <p:spPr>
          <a:xfrm flipH="1">
            <a:off x="4730012" y="2711693"/>
            <a:ext cx="864096"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233328" y="2423361"/>
            <a:ext cx="591934" cy="461665"/>
          </a:xfrm>
          <a:prstGeom prst="rect">
            <a:avLst/>
          </a:prstGeom>
          <a:noFill/>
        </p:spPr>
        <p:txBody>
          <a:bodyPr wrap="square" rtlCol="0">
            <a:spAutoFit/>
          </a:bodyPr>
          <a:lstStyle/>
          <a:p>
            <a:r>
              <a:rPr lang="en-US" altLang="zh-CN" sz="2400" b="1" dirty="0" smtClean="0">
                <a:solidFill>
                  <a:schemeClr val="bg1"/>
                </a:solidFill>
                <a:latin typeface="MS PMincho" pitchFamily="18" charset="-128"/>
                <a:ea typeface="MS PMincho" pitchFamily="18" charset="-128"/>
              </a:rPr>
              <a:t>02</a:t>
            </a:r>
            <a:endParaRPr lang="zh-CN" altLang="en-US" sz="2400" b="1" dirty="0" smtClean="0">
              <a:solidFill>
                <a:schemeClr val="bg1"/>
              </a:solidFill>
              <a:latin typeface="MS PMincho" pitchFamily="18" charset="-128"/>
              <a:ea typeface="MS PMincho" pitchFamily="18" charset="-128"/>
            </a:endParaRPr>
          </a:p>
        </p:txBody>
      </p:sp>
      <p:sp>
        <p:nvSpPr>
          <p:cNvPr id="39" name="TextBox 38"/>
          <p:cNvSpPr txBox="1"/>
          <p:nvPr/>
        </p:nvSpPr>
        <p:spPr>
          <a:xfrm>
            <a:off x="4246386" y="3706584"/>
            <a:ext cx="591934" cy="461665"/>
          </a:xfrm>
          <a:prstGeom prst="rect">
            <a:avLst/>
          </a:prstGeom>
          <a:noFill/>
        </p:spPr>
        <p:txBody>
          <a:bodyPr wrap="square" rtlCol="0">
            <a:spAutoFit/>
          </a:bodyPr>
          <a:lstStyle/>
          <a:p>
            <a:r>
              <a:rPr lang="en-US" altLang="zh-CN" sz="2400" b="1" dirty="0" smtClean="0">
                <a:solidFill>
                  <a:schemeClr val="bg1"/>
                </a:solidFill>
                <a:latin typeface="MS PMincho" pitchFamily="18" charset="-128"/>
                <a:ea typeface="MS PMincho" pitchFamily="18" charset="-128"/>
              </a:rPr>
              <a:t>03</a:t>
            </a:r>
            <a:endParaRPr lang="zh-CN" altLang="en-US" sz="2400" b="1" dirty="0" smtClean="0">
              <a:solidFill>
                <a:schemeClr val="bg1"/>
              </a:solidFill>
              <a:latin typeface="MS PMincho" pitchFamily="18" charset="-128"/>
              <a:ea typeface="MS PMincho" pitchFamily="18" charset="-128"/>
            </a:endParaRPr>
          </a:p>
        </p:txBody>
      </p:sp>
      <p:pic>
        <p:nvPicPr>
          <p:cNvPr id="23" name="图片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24" name="文本框 3"/>
          <p:cNvSpPr txBox="1"/>
          <p:nvPr/>
        </p:nvSpPr>
        <p:spPr>
          <a:xfrm>
            <a:off x="-75704" y="162174"/>
            <a:ext cx="5409704" cy="507831"/>
          </a:xfrm>
          <a:prstGeom prst="rect">
            <a:avLst/>
          </a:prstGeom>
          <a:noFill/>
          <a:effectLst/>
        </p:spPr>
        <p:txBody>
          <a:bodyPr wrap="square" rtlCol="0">
            <a:spAutoFit/>
          </a:bodyPr>
          <a:lstStyle/>
          <a:p>
            <a:pPr algn="ctr"/>
            <a:r>
              <a:rPr lang="zh-CN" altLang="en-US" sz="2400" b="1" dirty="0" smtClean="0">
                <a:latin typeface="微软雅黑" pitchFamily="34" charset="-122"/>
                <a:ea typeface="微软雅黑" pitchFamily="34" charset="-122"/>
              </a:rPr>
              <a:t>善理财              </a:t>
            </a:r>
            <a:r>
              <a:rPr lang="en-US" altLang="zh-CN"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               </a:t>
            </a: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直接费用</a:t>
            </a:r>
            <a:endParaRPr lang="zh-CN" altLang="en-US" sz="24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72806952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37"/>
                                        </p:tgtEl>
                                        <p:attrNameLst>
                                          <p:attrName>style.visibility</p:attrName>
                                        </p:attrNameLst>
                                      </p:cBhvr>
                                      <p:to>
                                        <p:strVal val="visible"/>
                                      </p:to>
                                    </p:set>
                                    <p:anim calcmode="lin" valueType="num">
                                      <p:cBhvr additive="base">
                                        <p:cTn id="33" dur="500" fill="hold"/>
                                        <p:tgtEl>
                                          <p:spTgt spid="37"/>
                                        </p:tgtEl>
                                        <p:attrNameLst>
                                          <p:attrName>ppt_x</p:attrName>
                                        </p:attrNameLst>
                                      </p:cBhvr>
                                      <p:tavLst>
                                        <p:tav tm="0">
                                          <p:val>
                                            <p:strVal val="#ppt_x"/>
                                          </p:val>
                                        </p:tav>
                                        <p:tav tm="100000">
                                          <p:val>
                                            <p:strVal val="#ppt_x"/>
                                          </p:val>
                                        </p:tav>
                                      </p:tavLst>
                                    </p:anim>
                                    <p:anim calcmode="lin" valueType="num">
                                      <p:cBhvr additive="base">
                                        <p:cTn id="34"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anim calcmode="lin" valueType="num">
                                      <p:cBhvr additive="base">
                                        <p:cTn id="39" dur="500" fill="hold"/>
                                        <p:tgtEl>
                                          <p:spTgt spid="19"/>
                                        </p:tgtEl>
                                        <p:attrNameLst>
                                          <p:attrName>ppt_x</p:attrName>
                                        </p:attrNameLst>
                                      </p:cBhvr>
                                      <p:tavLst>
                                        <p:tav tm="0">
                                          <p:val>
                                            <p:strVal val="#ppt_x"/>
                                          </p:val>
                                        </p:tav>
                                        <p:tav tm="100000">
                                          <p:val>
                                            <p:strVal val="#ppt_x"/>
                                          </p:val>
                                        </p:tav>
                                      </p:tavLst>
                                    </p:anim>
                                    <p:anim calcmode="lin" valueType="num">
                                      <p:cBhvr additive="base">
                                        <p:cTn id="40" dur="500" fill="hold"/>
                                        <p:tgtEl>
                                          <p:spTgt spid="19"/>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ppt_x"/>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ppt_x"/>
                                          </p:val>
                                        </p:tav>
                                        <p:tav tm="100000">
                                          <p:val>
                                            <p:strVal val="#ppt_x"/>
                                          </p:val>
                                        </p:tav>
                                      </p:tavLst>
                                    </p:anim>
                                    <p:anim calcmode="lin" valueType="num">
                                      <p:cBhvr additive="base">
                                        <p:cTn id="4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p:bldP spid="16" grpId="0" animBg="1"/>
      <p:bldP spid="17" grpId="0"/>
      <p:bldP spid="21" grpId="0" animBg="1"/>
      <p:bldP spid="2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83664" y="811330"/>
            <a:ext cx="546348" cy="434169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TextBox 6"/>
          <p:cNvSpPr txBox="1"/>
          <p:nvPr/>
        </p:nvSpPr>
        <p:spPr>
          <a:xfrm>
            <a:off x="4210948" y="1061988"/>
            <a:ext cx="591934" cy="461665"/>
          </a:xfrm>
          <a:prstGeom prst="rect">
            <a:avLst/>
          </a:prstGeom>
          <a:noFill/>
        </p:spPr>
        <p:txBody>
          <a:bodyPr wrap="square" rtlCol="0">
            <a:spAutoFit/>
          </a:bodyPr>
          <a:lstStyle/>
          <a:p>
            <a:r>
              <a:rPr lang="en-US" altLang="zh-CN" sz="2400" b="1" dirty="0" smtClean="0">
                <a:solidFill>
                  <a:schemeClr val="bg1"/>
                </a:solidFill>
                <a:latin typeface="MS PMincho" pitchFamily="18" charset="-128"/>
                <a:ea typeface="MS PMincho" pitchFamily="18" charset="-128"/>
              </a:rPr>
              <a:t>04</a:t>
            </a:r>
            <a:endParaRPr lang="zh-CN" altLang="en-US" sz="2400" b="1" dirty="0" smtClean="0">
              <a:solidFill>
                <a:schemeClr val="bg1"/>
              </a:solidFill>
              <a:latin typeface="MS PMincho" pitchFamily="18" charset="-128"/>
              <a:ea typeface="MS PMincho" pitchFamily="18" charset="-128"/>
            </a:endParaRPr>
          </a:p>
        </p:txBody>
      </p:sp>
      <p:cxnSp>
        <p:nvCxnSpPr>
          <p:cNvPr id="8" name="直接连接符 7"/>
          <p:cNvCxnSpPr>
            <a:stCxn id="10" idx="3"/>
          </p:cNvCxnSpPr>
          <p:nvPr/>
        </p:nvCxnSpPr>
        <p:spPr>
          <a:xfrm flipV="1">
            <a:off x="2847862" y="1322282"/>
            <a:ext cx="1328094" cy="1138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4175956" y="1272704"/>
            <a:ext cx="68294" cy="81696"/>
          </a:xfrm>
          <a:prstGeom prst="ellipse">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1564430" y="1196509"/>
            <a:ext cx="1283432" cy="27430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微软雅黑" pitchFamily="34" charset="-122"/>
                <a:ea typeface="微软雅黑" pitchFamily="34" charset="-122"/>
              </a:rPr>
              <a:t>燃料动力费</a:t>
            </a:r>
            <a:endParaRPr lang="zh-CN" altLang="en-US" sz="1600" dirty="0">
              <a:latin typeface="微软雅黑" pitchFamily="34" charset="-122"/>
              <a:ea typeface="微软雅黑" pitchFamily="34" charset="-122"/>
            </a:endParaRPr>
          </a:p>
        </p:txBody>
      </p:sp>
      <p:sp>
        <p:nvSpPr>
          <p:cNvPr id="12" name="TextBox 11"/>
          <p:cNvSpPr txBox="1"/>
          <p:nvPr/>
        </p:nvSpPr>
        <p:spPr>
          <a:xfrm>
            <a:off x="562592" y="1548759"/>
            <a:ext cx="2760813" cy="1532727"/>
          </a:xfrm>
          <a:prstGeom prst="rect">
            <a:avLst/>
          </a:prstGeom>
          <a:noFill/>
        </p:spPr>
        <p:txBody>
          <a:bodyPr wrap="square" rtlCol="0">
            <a:spAutoFit/>
          </a:bodyPr>
          <a:lstStyle/>
          <a:p>
            <a:pPr>
              <a:lnSpc>
                <a:spcPct val="130000"/>
              </a:lnSpc>
            </a:pPr>
            <a:r>
              <a:rPr lang="zh-CN" altLang="en-US" sz="1200" dirty="0">
                <a:latin typeface="微软雅黑" pitchFamily="34" charset="-122"/>
                <a:ea typeface="微软雅黑" pitchFamily="34" charset="-122"/>
              </a:rPr>
              <a:t>是指在项目实施过程中</a:t>
            </a:r>
            <a:r>
              <a:rPr lang="zh-CN" altLang="en-US" sz="1200" dirty="0">
                <a:solidFill>
                  <a:srgbClr val="FF0000"/>
                </a:solidFill>
                <a:latin typeface="微软雅黑" pitchFamily="34" charset="-122"/>
                <a:ea typeface="微软雅黑" pitchFamily="34" charset="-122"/>
              </a:rPr>
              <a:t>直接使用</a:t>
            </a:r>
            <a:r>
              <a:rPr lang="zh-CN" altLang="en-US" sz="1200" dirty="0">
                <a:latin typeface="微软雅黑" pitchFamily="34" charset="-122"/>
                <a:ea typeface="微软雅黑" pitchFamily="34" charset="-122"/>
              </a:rPr>
              <a:t>的相关仪器设备、科学装置等运行发生的水、电、气、燃料消耗费用等</a:t>
            </a:r>
          </a:p>
          <a:p>
            <a:pPr>
              <a:lnSpc>
                <a:spcPct val="130000"/>
              </a:lnSpc>
            </a:pPr>
            <a:r>
              <a:rPr lang="zh-CN" altLang="en-US" sz="1200" dirty="0">
                <a:solidFill>
                  <a:srgbClr val="FF0000"/>
                </a:solidFill>
                <a:latin typeface="微软雅黑" pitchFamily="34" charset="-122"/>
                <a:ea typeface="微软雅黑" pitchFamily="34" charset="-122"/>
              </a:rPr>
              <a:t>院项目经费管理办法规定：本科目支出在编制预算时不超过经费总额</a:t>
            </a:r>
            <a:r>
              <a:rPr lang="en-US" altLang="zh-CN" sz="1200" dirty="0">
                <a:solidFill>
                  <a:srgbClr val="FF0000"/>
                </a:solidFill>
                <a:latin typeface="微软雅黑" pitchFamily="34" charset="-122"/>
                <a:ea typeface="微软雅黑" pitchFamily="34" charset="-122"/>
              </a:rPr>
              <a:t>5%</a:t>
            </a:r>
            <a:r>
              <a:rPr lang="zh-CN" altLang="en-US" sz="1200" dirty="0">
                <a:solidFill>
                  <a:srgbClr val="FF0000"/>
                </a:solidFill>
                <a:latin typeface="微软雅黑" pitchFamily="34" charset="-122"/>
                <a:ea typeface="微软雅黑" pitchFamily="34" charset="-122"/>
              </a:rPr>
              <a:t>的，不需要编制测算依据</a:t>
            </a:r>
          </a:p>
        </p:txBody>
      </p:sp>
      <p:cxnSp>
        <p:nvCxnSpPr>
          <p:cNvPr id="14" name="直接连接符 13"/>
          <p:cNvCxnSpPr/>
          <p:nvPr/>
        </p:nvCxnSpPr>
        <p:spPr>
          <a:xfrm flipH="1">
            <a:off x="5793556" y="2727316"/>
            <a:ext cx="34746"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5" name="椭圆 14"/>
          <p:cNvSpPr/>
          <p:nvPr/>
        </p:nvSpPr>
        <p:spPr>
          <a:xfrm flipH="1">
            <a:off x="4661718" y="2658154"/>
            <a:ext cx="68294" cy="81696"/>
          </a:xfrm>
          <a:prstGeom prst="ellipse">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flipH="1">
            <a:off x="5606860" y="2582493"/>
            <a:ext cx="2889440" cy="27430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latin typeface="微软雅黑" pitchFamily="34" charset="-122"/>
                <a:ea typeface="微软雅黑" pitchFamily="34" charset="-122"/>
              </a:rPr>
              <a:t>差旅费</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差旅</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国际合作交流费</a:t>
            </a:r>
          </a:p>
        </p:txBody>
      </p:sp>
      <p:sp>
        <p:nvSpPr>
          <p:cNvPr id="17" name="TextBox 16"/>
          <p:cNvSpPr txBox="1"/>
          <p:nvPr/>
        </p:nvSpPr>
        <p:spPr>
          <a:xfrm>
            <a:off x="5537132" y="3138406"/>
            <a:ext cx="3244918" cy="1292662"/>
          </a:xfrm>
          <a:prstGeom prst="rect">
            <a:avLst/>
          </a:prstGeom>
          <a:noFill/>
        </p:spPr>
        <p:txBody>
          <a:bodyPr wrap="square" rtlCol="0">
            <a:spAutoFit/>
          </a:bodyPr>
          <a:lstStyle/>
          <a:p>
            <a:pPr>
              <a:lnSpc>
                <a:spcPct val="130000"/>
              </a:lnSpc>
            </a:pPr>
            <a:r>
              <a:rPr lang="zh-CN" altLang="en-US" sz="1200" dirty="0">
                <a:latin typeface="微软雅黑" pitchFamily="34" charset="-122"/>
                <a:ea typeface="微软雅黑" pitchFamily="34" charset="-122"/>
              </a:rPr>
              <a:t>是指在项目实施过程中发生的会议费、差旅费和国际合作交流费。在编制预算时，本科目支出预算不超过直接费用预算</a:t>
            </a:r>
            <a:r>
              <a:rPr lang="en-US" altLang="zh-CN" sz="1200" dirty="0">
                <a:latin typeface="微软雅黑" pitchFamily="34" charset="-122"/>
                <a:ea typeface="微软雅黑" pitchFamily="34" charset="-122"/>
              </a:rPr>
              <a:t>10%</a:t>
            </a:r>
            <a:r>
              <a:rPr lang="zh-CN" altLang="en-US" sz="1200" dirty="0">
                <a:latin typeface="微软雅黑" pitchFamily="34" charset="-122"/>
                <a:ea typeface="微软雅黑" pitchFamily="34" charset="-122"/>
              </a:rPr>
              <a:t>的，不需要编制测算依据。应当按照实事求是、精简高效、厉行节约的原则，统筹安排使用</a:t>
            </a:r>
          </a:p>
        </p:txBody>
      </p:sp>
      <p:cxnSp>
        <p:nvCxnSpPr>
          <p:cNvPr id="19" name="直接连接符 18"/>
          <p:cNvCxnSpPr>
            <a:stCxn id="21" idx="3"/>
          </p:cNvCxnSpPr>
          <p:nvPr/>
        </p:nvCxnSpPr>
        <p:spPr>
          <a:xfrm>
            <a:off x="3299356" y="3985208"/>
            <a:ext cx="876600"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椭圆 19"/>
          <p:cNvSpPr/>
          <p:nvPr/>
        </p:nvSpPr>
        <p:spPr>
          <a:xfrm>
            <a:off x="4183664" y="3934668"/>
            <a:ext cx="68294" cy="81696"/>
          </a:xfrm>
          <a:prstGeom prst="ellipse">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66675" y="3848055"/>
            <a:ext cx="3232681" cy="27430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latin typeface="微软雅黑" pitchFamily="34" charset="-122"/>
                <a:ea typeface="微软雅黑" pitchFamily="34" charset="-122"/>
              </a:rPr>
              <a:t>出版</a:t>
            </a: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文献</a:t>
            </a: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信息传播</a:t>
            </a: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知识产权事务费</a:t>
            </a:r>
          </a:p>
        </p:txBody>
      </p:sp>
      <p:sp>
        <p:nvSpPr>
          <p:cNvPr id="22" name="TextBox 21"/>
          <p:cNvSpPr txBox="1"/>
          <p:nvPr/>
        </p:nvSpPr>
        <p:spPr>
          <a:xfrm>
            <a:off x="444232" y="4172784"/>
            <a:ext cx="3293424" cy="812530"/>
          </a:xfrm>
          <a:prstGeom prst="rect">
            <a:avLst/>
          </a:prstGeom>
          <a:noFill/>
        </p:spPr>
        <p:txBody>
          <a:bodyPr wrap="square" rtlCol="0">
            <a:spAutoFit/>
          </a:bodyPr>
          <a:lstStyle/>
          <a:p>
            <a:pPr>
              <a:lnSpc>
                <a:spcPct val="130000"/>
              </a:lnSpc>
            </a:pPr>
            <a:r>
              <a:rPr lang="zh-CN" altLang="en-US" sz="1200" dirty="0">
                <a:latin typeface="微软雅黑" pitchFamily="34" charset="-122"/>
                <a:ea typeface="微软雅黑" pitchFamily="34" charset="-122"/>
              </a:rPr>
              <a:t>是指在项目实施过程中，需要支付的出版费、资料费、</a:t>
            </a:r>
            <a:r>
              <a:rPr lang="zh-CN" altLang="en-US" sz="1200" dirty="0">
                <a:solidFill>
                  <a:srgbClr val="FF0000"/>
                </a:solidFill>
                <a:latin typeface="微软雅黑" pitchFamily="34" charset="-122"/>
                <a:ea typeface="微软雅黑" pitchFamily="34" charset="-122"/>
              </a:rPr>
              <a:t>专用软件购买费</a:t>
            </a:r>
            <a:r>
              <a:rPr lang="zh-CN" altLang="en-US" sz="1200" dirty="0">
                <a:latin typeface="微软雅黑" pitchFamily="34" charset="-122"/>
                <a:ea typeface="微软雅黑" pitchFamily="34" charset="-122"/>
              </a:rPr>
              <a:t>、文献检索费、专业通信费、</a:t>
            </a:r>
            <a:r>
              <a:rPr lang="zh-CN" altLang="en-US" sz="1200" dirty="0">
                <a:solidFill>
                  <a:srgbClr val="FF0000"/>
                </a:solidFill>
                <a:latin typeface="微软雅黑" pitchFamily="34" charset="-122"/>
                <a:ea typeface="微软雅黑" pitchFamily="34" charset="-122"/>
              </a:rPr>
              <a:t>专利申请</a:t>
            </a:r>
            <a:r>
              <a:rPr lang="zh-CN" altLang="en-US" sz="1200" dirty="0">
                <a:latin typeface="微软雅黑" pitchFamily="34" charset="-122"/>
                <a:ea typeface="微软雅黑" pitchFamily="34" charset="-122"/>
              </a:rPr>
              <a:t>及其他知识产权事务等费用</a:t>
            </a:r>
          </a:p>
        </p:txBody>
      </p:sp>
      <p:cxnSp>
        <p:nvCxnSpPr>
          <p:cNvPr id="37" name="直接连接符 36"/>
          <p:cNvCxnSpPr/>
          <p:nvPr/>
        </p:nvCxnSpPr>
        <p:spPr>
          <a:xfrm flipH="1">
            <a:off x="4730012" y="2711693"/>
            <a:ext cx="864096"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233328" y="2423361"/>
            <a:ext cx="591934" cy="461665"/>
          </a:xfrm>
          <a:prstGeom prst="rect">
            <a:avLst/>
          </a:prstGeom>
          <a:noFill/>
        </p:spPr>
        <p:txBody>
          <a:bodyPr wrap="square" rtlCol="0">
            <a:spAutoFit/>
          </a:bodyPr>
          <a:lstStyle/>
          <a:p>
            <a:r>
              <a:rPr lang="en-US" altLang="zh-CN" sz="2400" b="1" dirty="0" smtClean="0">
                <a:solidFill>
                  <a:schemeClr val="bg1"/>
                </a:solidFill>
                <a:latin typeface="MS PMincho" pitchFamily="18" charset="-128"/>
                <a:ea typeface="MS PMincho" pitchFamily="18" charset="-128"/>
              </a:rPr>
              <a:t>05</a:t>
            </a:r>
            <a:endParaRPr lang="zh-CN" altLang="en-US" sz="2400" b="1" dirty="0" smtClean="0">
              <a:solidFill>
                <a:schemeClr val="bg1"/>
              </a:solidFill>
              <a:latin typeface="MS PMincho" pitchFamily="18" charset="-128"/>
              <a:ea typeface="MS PMincho" pitchFamily="18" charset="-128"/>
            </a:endParaRPr>
          </a:p>
        </p:txBody>
      </p:sp>
      <p:sp>
        <p:nvSpPr>
          <p:cNvPr id="39" name="TextBox 38"/>
          <p:cNvSpPr txBox="1"/>
          <p:nvPr/>
        </p:nvSpPr>
        <p:spPr>
          <a:xfrm>
            <a:off x="4246386" y="3706584"/>
            <a:ext cx="591934" cy="461665"/>
          </a:xfrm>
          <a:prstGeom prst="rect">
            <a:avLst/>
          </a:prstGeom>
          <a:noFill/>
        </p:spPr>
        <p:txBody>
          <a:bodyPr wrap="square" rtlCol="0">
            <a:spAutoFit/>
          </a:bodyPr>
          <a:lstStyle/>
          <a:p>
            <a:r>
              <a:rPr lang="en-US" altLang="zh-CN" sz="2400" b="1" dirty="0" smtClean="0">
                <a:solidFill>
                  <a:schemeClr val="bg1"/>
                </a:solidFill>
                <a:latin typeface="MS PMincho" pitchFamily="18" charset="-128"/>
                <a:ea typeface="MS PMincho" pitchFamily="18" charset="-128"/>
              </a:rPr>
              <a:t>06</a:t>
            </a:r>
            <a:endParaRPr lang="zh-CN" altLang="en-US" sz="2400" b="1" dirty="0" smtClean="0">
              <a:solidFill>
                <a:schemeClr val="bg1"/>
              </a:solidFill>
              <a:latin typeface="MS PMincho" pitchFamily="18" charset="-128"/>
              <a:ea typeface="MS PMincho" pitchFamily="18" charset="-128"/>
            </a:endParaRPr>
          </a:p>
        </p:txBody>
      </p:sp>
      <p:sp>
        <p:nvSpPr>
          <p:cNvPr id="23" name="矩形 22"/>
          <p:cNvSpPr/>
          <p:nvPr/>
        </p:nvSpPr>
        <p:spPr>
          <a:xfrm>
            <a:off x="5162060" y="754211"/>
            <a:ext cx="4042513" cy="1454244"/>
          </a:xfrm>
          <a:prstGeom prst="rect">
            <a:avLst/>
          </a:prstGeom>
        </p:spPr>
        <p:txBody>
          <a:bodyPr wrap="square">
            <a:spAutoFit/>
          </a:bodyPr>
          <a:lstStyle/>
          <a:p>
            <a:r>
              <a:rPr lang="zh-CN" altLang="en-US" dirty="0" smtClean="0">
                <a:solidFill>
                  <a:srgbClr val="FF0000"/>
                </a:solidFill>
              </a:rPr>
              <a:t>注意：</a:t>
            </a:r>
            <a:r>
              <a:rPr lang="en-US" altLang="zh-CN" dirty="0" smtClean="0">
                <a:solidFill>
                  <a:srgbClr val="FF0000"/>
                </a:solidFill>
              </a:rPr>
              <a:t>1</a:t>
            </a:r>
            <a:r>
              <a:rPr lang="zh-CN" altLang="en-US" dirty="0">
                <a:solidFill>
                  <a:srgbClr val="FF0000"/>
                </a:solidFill>
              </a:rPr>
              <a:t>、学术报告费用</a:t>
            </a:r>
            <a:endParaRPr lang="en-US" altLang="zh-CN" dirty="0">
              <a:solidFill>
                <a:srgbClr val="FF0000"/>
              </a:solidFill>
            </a:endParaRPr>
          </a:p>
          <a:p>
            <a:r>
              <a:rPr lang="en-US" altLang="zh-CN" dirty="0" smtClean="0">
                <a:solidFill>
                  <a:srgbClr val="FF0000"/>
                </a:solidFill>
              </a:rPr>
              <a:t>             2</a:t>
            </a:r>
            <a:r>
              <a:rPr lang="zh-CN" altLang="en-US" dirty="0">
                <a:solidFill>
                  <a:srgbClr val="FF0000"/>
                </a:solidFill>
              </a:rPr>
              <a:t>、国际合作</a:t>
            </a:r>
            <a:r>
              <a:rPr lang="zh-CN" altLang="en-US" dirty="0" smtClean="0">
                <a:solidFill>
                  <a:srgbClr val="FF0000"/>
                </a:solidFill>
              </a:rPr>
              <a:t>交流费（境外人员）：</a:t>
            </a:r>
            <a:r>
              <a:rPr lang="zh-CN" altLang="zh-CN" dirty="0" smtClean="0">
                <a:solidFill>
                  <a:srgbClr val="FF0000"/>
                </a:solidFill>
              </a:rPr>
              <a:t>外国</a:t>
            </a:r>
            <a:r>
              <a:rPr lang="zh-CN" altLang="zh-CN" dirty="0">
                <a:solidFill>
                  <a:srgbClr val="FF0000"/>
                </a:solidFill>
              </a:rPr>
              <a:t>专家来华及港澳台专家来</a:t>
            </a:r>
            <a:r>
              <a:rPr lang="zh-CN" altLang="zh-CN" sz="1600" b="1" dirty="0">
                <a:solidFill>
                  <a:srgbClr val="FF0000"/>
                </a:solidFill>
              </a:rPr>
              <a:t>内地工作</a:t>
            </a:r>
            <a:r>
              <a:rPr lang="zh-CN" altLang="zh-CN" dirty="0">
                <a:solidFill>
                  <a:srgbClr val="FF0000"/>
                </a:solidFill>
              </a:rPr>
              <a:t>的</a:t>
            </a:r>
            <a:r>
              <a:rPr lang="zh-CN" altLang="zh-CN" dirty="0" smtClean="0">
                <a:solidFill>
                  <a:srgbClr val="FF0000"/>
                </a:solidFill>
              </a:rPr>
              <a:t>费用</a:t>
            </a:r>
            <a:r>
              <a:rPr lang="zh-CN" altLang="en-US" dirty="0" smtClean="0">
                <a:solidFill>
                  <a:srgbClr val="FF0000"/>
                </a:solidFill>
              </a:rPr>
              <a:t>（基金委和民口重大专项）；</a:t>
            </a:r>
            <a:r>
              <a:rPr lang="zh-CN" altLang="zh-CN" dirty="0">
                <a:solidFill>
                  <a:srgbClr val="FF0000"/>
                </a:solidFill>
              </a:rPr>
              <a:t>外国专家来华及港澳台专家来</a:t>
            </a:r>
            <a:r>
              <a:rPr lang="zh-CN" altLang="zh-CN" sz="1600" b="1" dirty="0">
                <a:solidFill>
                  <a:srgbClr val="FF0000"/>
                </a:solidFill>
              </a:rPr>
              <a:t>内地开展学术合作与交流</a:t>
            </a:r>
            <a:r>
              <a:rPr lang="zh-CN" altLang="zh-CN" dirty="0">
                <a:solidFill>
                  <a:srgbClr val="FF0000"/>
                </a:solidFill>
              </a:rPr>
              <a:t>的</a:t>
            </a:r>
            <a:r>
              <a:rPr lang="zh-CN" altLang="zh-CN" dirty="0" smtClean="0">
                <a:solidFill>
                  <a:srgbClr val="FF0000"/>
                </a:solidFill>
              </a:rPr>
              <a:t>费用</a:t>
            </a:r>
            <a:r>
              <a:rPr lang="zh-CN" altLang="en-US" dirty="0" smtClean="0">
                <a:solidFill>
                  <a:srgbClr val="FF0000"/>
                </a:solidFill>
              </a:rPr>
              <a:t>（院）；重点研发只描述国际合作交流费</a:t>
            </a:r>
            <a:endParaRPr lang="zh-CN" altLang="en-US" dirty="0">
              <a:solidFill>
                <a:srgbClr val="FF0000"/>
              </a:solidFill>
            </a:endParaRPr>
          </a:p>
        </p:txBody>
      </p:sp>
      <p:sp>
        <p:nvSpPr>
          <p:cNvPr id="2" name="上箭头 1"/>
          <p:cNvSpPr/>
          <p:nvPr/>
        </p:nvSpPr>
        <p:spPr>
          <a:xfrm>
            <a:off x="6943725" y="2208455"/>
            <a:ext cx="107855" cy="29662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4" name="图片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25" name="文本框 3"/>
          <p:cNvSpPr txBox="1"/>
          <p:nvPr/>
        </p:nvSpPr>
        <p:spPr>
          <a:xfrm>
            <a:off x="-75704" y="162174"/>
            <a:ext cx="5409704" cy="507831"/>
          </a:xfrm>
          <a:prstGeom prst="rect">
            <a:avLst/>
          </a:prstGeom>
          <a:noFill/>
          <a:effectLst/>
        </p:spPr>
        <p:txBody>
          <a:bodyPr wrap="square" rtlCol="0">
            <a:spAutoFit/>
          </a:bodyPr>
          <a:lstStyle/>
          <a:p>
            <a:pPr algn="ctr"/>
            <a:r>
              <a:rPr lang="zh-CN" altLang="en-US" sz="2400" b="1" dirty="0" smtClean="0">
                <a:latin typeface="微软雅黑" pitchFamily="34" charset="-122"/>
                <a:ea typeface="微软雅黑" pitchFamily="34" charset="-122"/>
              </a:rPr>
              <a:t>善理财              </a:t>
            </a:r>
            <a:r>
              <a:rPr lang="en-US" altLang="zh-CN"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               </a:t>
            </a: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直接费用</a:t>
            </a:r>
            <a:endParaRPr lang="zh-CN" altLang="en-US" sz="24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157030332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 calcmode="lin" valueType="num">
                                      <p:cBhvr additive="base">
                                        <p:cTn id="33" dur="500" fill="hold"/>
                                        <p:tgtEl>
                                          <p:spTgt spid="23"/>
                                        </p:tgtEl>
                                        <p:attrNameLst>
                                          <p:attrName>ppt_x</p:attrName>
                                        </p:attrNameLst>
                                      </p:cBhvr>
                                      <p:tavLst>
                                        <p:tav tm="0">
                                          <p:val>
                                            <p:strVal val="#ppt_x"/>
                                          </p:val>
                                        </p:tav>
                                        <p:tav tm="100000">
                                          <p:val>
                                            <p:strVal val="#ppt_x"/>
                                          </p:val>
                                        </p:tav>
                                      </p:tavLst>
                                    </p:anim>
                                    <p:anim calcmode="lin" valueType="num">
                                      <p:cBhvr additive="base">
                                        <p:cTn id="34" dur="500" fill="hold"/>
                                        <p:tgtEl>
                                          <p:spTgt spid="23"/>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
                                        </p:tgtEl>
                                        <p:attrNameLst>
                                          <p:attrName>style.visibility</p:attrName>
                                        </p:attrNameLst>
                                      </p:cBhvr>
                                      <p:to>
                                        <p:strVal val="visible"/>
                                      </p:to>
                                    </p:set>
                                    <p:anim calcmode="lin" valueType="num">
                                      <p:cBhvr additive="base">
                                        <p:cTn id="37" dur="500" fill="hold"/>
                                        <p:tgtEl>
                                          <p:spTgt spid="2"/>
                                        </p:tgtEl>
                                        <p:attrNameLst>
                                          <p:attrName>ppt_x</p:attrName>
                                        </p:attrNameLst>
                                      </p:cBhvr>
                                      <p:tavLst>
                                        <p:tav tm="0">
                                          <p:val>
                                            <p:strVal val="#ppt_x"/>
                                          </p:val>
                                        </p:tav>
                                        <p:tav tm="100000">
                                          <p:val>
                                            <p:strVal val="#ppt_x"/>
                                          </p:val>
                                        </p:tav>
                                      </p:tavLst>
                                    </p:anim>
                                    <p:anim calcmode="lin" valueType="num">
                                      <p:cBhvr additive="base">
                                        <p:cTn id="38" dur="500" fill="hold"/>
                                        <p:tgtEl>
                                          <p:spTgt spid="2"/>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7"/>
                                        </p:tgtEl>
                                        <p:attrNameLst>
                                          <p:attrName>style.visibility</p:attrName>
                                        </p:attrNameLst>
                                      </p:cBhvr>
                                      <p:to>
                                        <p:strVal val="visible"/>
                                      </p:to>
                                    </p:set>
                                    <p:anim calcmode="lin" valueType="num">
                                      <p:cBhvr additive="base">
                                        <p:cTn id="41" dur="500" fill="hold"/>
                                        <p:tgtEl>
                                          <p:spTgt spid="37"/>
                                        </p:tgtEl>
                                        <p:attrNameLst>
                                          <p:attrName>ppt_x</p:attrName>
                                        </p:attrNameLst>
                                      </p:cBhvr>
                                      <p:tavLst>
                                        <p:tav tm="0">
                                          <p:val>
                                            <p:strVal val="#ppt_x"/>
                                          </p:val>
                                        </p:tav>
                                        <p:tav tm="100000">
                                          <p:val>
                                            <p:strVal val="#ppt_x"/>
                                          </p:val>
                                        </p:tav>
                                      </p:tavLst>
                                    </p:anim>
                                    <p:anim calcmode="lin" valueType="num">
                                      <p:cBhvr additive="base">
                                        <p:cTn id="42"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additive="base">
                                        <p:cTn id="47" dur="500" fill="hold"/>
                                        <p:tgtEl>
                                          <p:spTgt spid="19"/>
                                        </p:tgtEl>
                                        <p:attrNameLst>
                                          <p:attrName>ppt_x</p:attrName>
                                        </p:attrNameLst>
                                      </p:cBhvr>
                                      <p:tavLst>
                                        <p:tav tm="0">
                                          <p:val>
                                            <p:strVal val="#ppt_x"/>
                                          </p:val>
                                        </p:tav>
                                        <p:tav tm="100000">
                                          <p:val>
                                            <p:strVal val="#ppt_x"/>
                                          </p:val>
                                        </p:tav>
                                      </p:tavLst>
                                    </p:anim>
                                    <p:anim calcmode="lin" valueType="num">
                                      <p:cBhvr additive="base">
                                        <p:cTn id="48" dur="500" fill="hold"/>
                                        <p:tgtEl>
                                          <p:spTgt spid="1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anim calcmode="lin" valueType="num">
                                      <p:cBhvr additive="base">
                                        <p:cTn id="51" dur="500" fill="hold"/>
                                        <p:tgtEl>
                                          <p:spTgt spid="21"/>
                                        </p:tgtEl>
                                        <p:attrNameLst>
                                          <p:attrName>ppt_x</p:attrName>
                                        </p:attrNameLst>
                                      </p:cBhvr>
                                      <p:tavLst>
                                        <p:tav tm="0">
                                          <p:val>
                                            <p:strVal val="#ppt_x"/>
                                          </p:val>
                                        </p:tav>
                                        <p:tav tm="100000">
                                          <p:val>
                                            <p:strVal val="#ppt_x"/>
                                          </p:val>
                                        </p:tav>
                                      </p:tavLst>
                                    </p:anim>
                                    <p:anim calcmode="lin" valueType="num">
                                      <p:cBhvr additive="base">
                                        <p:cTn id="52" dur="500" fill="hold"/>
                                        <p:tgtEl>
                                          <p:spTgt spid="21"/>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 calcmode="lin" valueType="num">
                                      <p:cBhvr additive="base">
                                        <p:cTn id="55" dur="500" fill="hold"/>
                                        <p:tgtEl>
                                          <p:spTgt spid="22"/>
                                        </p:tgtEl>
                                        <p:attrNameLst>
                                          <p:attrName>ppt_x</p:attrName>
                                        </p:attrNameLst>
                                      </p:cBhvr>
                                      <p:tavLst>
                                        <p:tav tm="0">
                                          <p:val>
                                            <p:strVal val="#ppt_x"/>
                                          </p:val>
                                        </p:tav>
                                        <p:tav tm="100000">
                                          <p:val>
                                            <p:strVal val="#ppt_x"/>
                                          </p:val>
                                        </p:tav>
                                      </p:tavLst>
                                    </p:anim>
                                    <p:anim calcmode="lin" valueType="num">
                                      <p:cBhvr additive="base">
                                        <p:cTn id="5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p:bldP spid="16" grpId="0" animBg="1"/>
      <p:bldP spid="17" grpId="0"/>
      <p:bldP spid="21" grpId="0" animBg="1"/>
      <p:bldP spid="22" grpId="0"/>
      <p:bldP spid="23" grpId="0"/>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83664" y="811330"/>
            <a:ext cx="546348" cy="434169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TextBox 6"/>
          <p:cNvSpPr txBox="1"/>
          <p:nvPr/>
        </p:nvSpPr>
        <p:spPr>
          <a:xfrm>
            <a:off x="4210948" y="1061988"/>
            <a:ext cx="591934" cy="461665"/>
          </a:xfrm>
          <a:prstGeom prst="rect">
            <a:avLst/>
          </a:prstGeom>
          <a:noFill/>
        </p:spPr>
        <p:txBody>
          <a:bodyPr wrap="square" rtlCol="0">
            <a:spAutoFit/>
          </a:bodyPr>
          <a:lstStyle/>
          <a:p>
            <a:r>
              <a:rPr lang="en-US" altLang="zh-CN" sz="2400" b="1" dirty="0" smtClean="0">
                <a:solidFill>
                  <a:schemeClr val="bg1"/>
                </a:solidFill>
                <a:latin typeface="MS PMincho" pitchFamily="18" charset="-128"/>
                <a:ea typeface="MS PMincho" pitchFamily="18" charset="-128"/>
              </a:rPr>
              <a:t>07</a:t>
            </a:r>
            <a:endParaRPr lang="zh-CN" altLang="en-US" sz="2400" b="1" dirty="0" smtClean="0">
              <a:solidFill>
                <a:schemeClr val="bg1"/>
              </a:solidFill>
              <a:latin typeface="MS PMincho" pitchFamily="18" charset="-128"/>
              <a:ea typeface="MS PMincho" pitchFamily="18" charset="-128"/>
            </a:endParaRPr>
          </a:p>
        </p:txBody>
      </p:sp>
      <p:cxnSp>
        <p:nvCxnSpPr>
          <p:cNvPr id="8" name="直接连接符 7"/>
          <p:cNvCxnSpPr/>
          <p:nvPr/>
        </p:nvCxnSpPr>
        <p:spPr>
          <a:xfrm flipV="1">
            <a:off x="2846045" y="1325825"/>
            <a:ext cx="1328094" cy="1138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4175956" y="1272704"/>
            <a:ext cx="68294" cy="81696"/>
          </a:xfrm>
          <a:prstGeom prst="ellipse">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1564430" y="1196509"/>
            <a:ext cx="1283432" cy="27430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微软雅黑" pitchFamily="34" charset="-122"/>
                <a:ea typeface="微软雅黑" pitchFamily="34" charset="-122"/>
              </a:rPr>
              <a:t>专家咨询费</a:t>
            </a:r>
            <a:endParaRPr lang="zh-CN" altLang="en-US" sz="1600" dirty="0">
              <a:latin typeface="微软雅黑" pitchFamily="34" charset="-122"/>
              <a:ea typeface="微软雅黑" pitchFamily="34" charset="-122"/>
            </a:endParaRPr>
          </a:p>
        </p:txBody>
      </p:sp>
      <p:sp>
        <p:nvSpPr>
          <p:cNvPr id="12" name="TextBox 11"/>
          <p:cNvSpPr txBox="1"/>
          <p:nvPr/>
        </p:nvSpPr>
        <p:spPr>
          <a:xfrm>
            <a:off x="5334000" y="3683707"/>
            <a:ext cx="2949317" cy="1052596"/>
          </a:xfrm>
          <a:prstGeom prst="rect">
            <a:avLst/>
          </a:prstGeom>
          <a:noFill/>
        </p:spPr>
        <p:txBody>
          <a:bodyPr wrap="square" rtlCol="0">
            <a:spAutoFit/>
          </a:bodyPr>
          <a:lstStyle/>
          <a:p>
            <a:pPr>
              <a:lnSpc>
                <a:spcPct val="130000"/>
              </a:lnSpc>
            </a:pPr>
            <a:r>
              <a:rPr lang="zh-CN" altLang="en-US" sz="1200" dirty="0">
                <a:latin typeface="微软雅黑" pitchFamily="34" charset="-122"/>
                <a:ea typeface="微软雅黑" pitchFamily="34" charset="-122"/>
              </a:rPr>
              <a:t>是指在项目实施过程中支付给参与项目的研究生、博士后、访问学者以及项目聘用的研究人员、科研辅助人员等的劳务性费用（劳务费不设比例限制）</a:t>
            </a:r>
          </a:p>
        </p:txBody>
      </p:sp>
      <p:sp>
        <p:nvSpPr>
          <p:cNvPr id="15" name="椭圆 14"/>
          <p:cNvSpPr/>
          <p:nvPr/>
        </p:nvSpPr>
        <p:spPr>
          <a:xfrm flipH="1">
            <a:off x="4661718" y="2658154"/>
            <a:ext cx="68294" cy="81696"/>
          </a:xfrm>
          <a:prstGeom prst="ellipse">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flipH="1">
            <a:off x="5606860" y="3315918"/>
            <a:ext cx="1796960" cy="27430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微软雅黑" pitchFamily="34" charset="-122"/>
                <a:ea typeface="微软雅黑" pitchFamily="34" charset="-122"/>
              </a:rPr>
              <a:t>劳务费</a:t>
            </a:r>
            <a:endParaRPr lang="zh-CN" altLang="en-US" sz="1600" dirty="0">
              <a:latin typeface="微软雅黑" pitchFamily="34" charset="-122"/>
              <a:ea typeface="微软雅黑" pitchFamily="34" charset="-122"/>
            </a:endParaRPr>
          </a:p>
        </p:txBody>
      </p:sp>
      <p:sp>
        <p:nvSpPr>
          <p:cNvPr id="17" name="TextBox 16"/>
          <p:cNvSpPr txBox="1"/>
          <p:nvPr/>
        </p:nvSpPr>
        <p:spPr>
          <a:xfrm>
            <a:off x="150015" y="4210005"/>
            <a:ext cx="3216343" cy="812530"/>
          </a:xfrm>
          <a:prstGeom prst="rect">
            <a:avLst/>
          </a:prstGeom>
          <a:noFill/>
        </p:spPr>
        <p:txBody>
          <a:bodyPr wrap="square" rtlCol="0">
            <a:spAutoFit/>
          </a:bodyPr>
          <a:lstStyle/>
          <a:p>
            <a:pPr>
              <a:lnSpc>
                <a:spcPct val="130000"/>
              </a:lnSpc>
            </a:pPr>
            <a:r>
              <a:rPr lang="zh-CN" altLang="en-US" sz="1200" dirty="0">
                <a:latin typeface="微软雅黑" pitchFamily="34" charset="-122"/>
                <a:ea typeface="微软雅黑" pitchFamily="34" charset="-122"/>
              </a:rPr>
              <a:t>是指在项目实施过程中除上述支出范围之外的其他相关支出。其他支出应当在申请预算时详细说明</a:t>
            </a:r>
          </a:p>
        </p:txBody>
      </p:sp>
      <p:cxnSp>
        <p:nvCxnSpPr>
          <p:cNvPr id="19" name="直接连接符 18"/>
          <p:cNvCxnSpPr>
            <a:stCxn id="21" idx="3"/>
          </p:cNvCxnSpPr>
          <p:nvPr/>
        </p:nvCxnSpPr>
        <p:spPr>
          <a:xfrm>
            <a:off x="3299355" y="3985208"/>
            <a:ext cx="876601"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椭圆 19"/>
          <p:cNvSpPr/>
          <p:nvPr/>
        </p:nvSpPr>
        <p:spPr>
          <a:xfrm>
            <a:off x="4183664" y="3934668"/>
            <a:ext cx="68294" cy="81696"/>
          </a:xfrm>
          <a:prstGeom prst="ellipse">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2015923" y="3848055"/>
            <a:ext cx="1283432" cy="27430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微软雅黑" pitchFamily="34" charset="-122"/>
                <a:ea typeface="微软雅黑" pitchFamily="34" charset="-122"/>
              </a:rPr>
              <a:t>其他费用</a:t>
            </a:r>
            <a:endParaRPr lang="zh-CN" altLang="en-US" sz="1600" dirty="0">
              <a:latin typeface="微软雅黑" pitchFamily="34" charset="-122"/>
              <a:ea typeface="微软雅黑" pitchFamily="34" charset="-122"/>
            </a:endParaRPr>
          </a:p>
        </p:txBody>
      </p:sp>
      <p:sp>
        <p:nvSpPr>
          <p:cNvPr id="22" name="TextBox 21"/>
          <p:cNvSpPr txBox="1"/>
          <p:nvPr/>
        </p:nvSpPr>
        <p:spPr>
          <a:xfrm>
            <a:off x="724162" y="1523653"/>
            <a:ext cx="2575193" cy="1052596"/>
          </a:xfrm>
          <a:prstGeom prst="rect">
            <a:avLst/>
          </a:prstGeom>
          <a:noFill/>
        </p:spPr>
        <p:txBody>
          <a:bodyPr wrap="square" rtlCol="0">
            <a:spAutoFit/>
          </a:bodyPr>
          <a:lstStyle/>
          <a:p>
            <a:pPr>
              <a:lnSpc>
                <a:spcPct val="130000"/>
              </a:lnSpc>
            </a:pPr>
            <a:r>
              <a:rPr lang="zh-CN" altLang="en-US" sz="1200" dirty="0">
                <a:latin typeface="微软雅黑" pitchFamily="34" charset="-122"/>
                <a:ea typeface="微软雅黑" pitchFamily="34" charset="-122"/>
              </a:rPr>
              <a:t>是指在项目实施过程中支付给临时聘请的咨询专家的费用</a:t>
            </a:r>
            <a:r>
              <a:rPr lang="zh-CN" altLang="en-US" sz="1200" dirty="0" smtClean="0">
                <a:latin typeface="微软雅黑" pitchFamily="34" charset="-122"/>
                <a:ea typeface="微软雅黑" pitchFamily="34" charset="-122"/>
              </a:rPr>
              <a:t>。</a:t>
            </a:r>
            <a:endParaRPr lang="en-US" altLang="zh-CN" sz="1200" dirty="0" smtClean="0">
              <a:latin typeface="微软雅黑" pitchFamily="34" charset="-122"/>
              <a:ea typeface="微软雅黑" pitchFamily="34" charset="-122"/>
            </a:endParaRPr>
          </a:p>
          <a:p>
            <a:pPr>
              <a:lnSpc>
                <a:spcPct val="130000"/>
              </a:lnSpc>
            </a:pPr>
            <a:r>
              <a:rPr lang="zh-CN" altLang="en-US" sz="1200" dirty="0">
                <a:solidFill>
                  <a:srgbClr val="FF0000"/>
                </a:solidFill>
                <a:latin typeface="微软雅黑" pitchFamily="34" charset="-122"/>
                <a:ea typeface="微软雅黑" pitchFamily="34" charset="-122"/>
              </a:rPr>
              <a:t>注意：按新的咨询费标准（</a:t>
            </a:r>
            <a:r>
              <a:rPr lang="en-US" altLang="zh-CN" sz="1200" dirty="0">
                <a:solidFill>
                  <a:srgbClr val="FF0000"/>
                </a:solidFill>
                <a:latin typeface="微软雅黑" pitchFamily="34" charset="-122"/>
                <a:ea typeface="微软雅黑" pitchFamily="34" charset="-122"/>
              </a:rPr>
              <a:t>103</a:t>
            </a:r>
            <a:r>
              <a:rPr lang="zh-CN" altLang="en-US" sz="1200" dirty="0">
                <a:solidFill>
                  <a:srgbClr val="FF0000"/>
                </a:solidFill>
                <a:latin typeface="微软雅黑" pitchFamily="34" charset="-122"/>
                <a:ea typeface="微软雅黑" pitchFamily="34" charset="-122"/>
              </a:rPr>
              <a:t>页）</a:t>
            </a:r>
          </a:p>
          <a:p>
            <a:pPr>
              <a:lnSpc>
                <a:spcPct val="130000"/>
              </a:lnSpc>
            </a:pPr>
            <a:endParaRPr lang="zh-CN" altLang="en-US" sz="1200" dirty="0">
              <a:latin typeface="微软雅黑" pitchFamily="34" charset="-122"/>
              <a:ea typeface="微软雅黑" pitchFamily="34" charset="-122"/>
            </a:endParaRPr>
          </a:p>
        </p:txBody>
      </p:sp>
      <p:cxnSp>
        <p:nvCxnSpPr>
          <p:cNvPr id="37" name="直接连接符 36"/>
          <p:cNvCxnSpPr>
            <a:stCxn id="16" idx="3"/>
          </p:cNvCxnSpPr>
          <p:nvPr/>
        </p:nvCxnSpPr>
        <p:spPr>
          <a:xfrm flipH="1" flipV="1">
            <a:off x="4730013" y="2739850"/>
            <a:ext cx="876847" cy="713221"/>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233328" y="2423361"/>
            <a:ext cx="591934" cy="461665"/>
          </a:xfrm>
          <a:prstGeom prst="rect">
            <a:avLst/>
          </a:prstGeom>
          <a:noFill/>
        </p:spPr>
        <p:txBody>
          <a:bodyPr wrap="square" rtlCol="0">
            <a:spAutoFit/>
          </a:bodyPr>
          <a:lstStyle/>
          <a:p>
            <a:r>
              <a:rPr lang="en-US" altLang="zh-CN" sz="2400" b="1" dirty="0" smtClean="0">
                <a:solidFill>
                  <a:schemeClr val="bg1"/>
                </a:solidFill>
                <a:latin typeface="MS PMincho" pitchFamily="18" charset="-128"/>
                <a:ea typeface="MS PMincho" pitchFamily="18" charset="-128"/>
              </a:rPr>
              <a:t>08</a:t>
            </a:r>
            <a:endParaRPr lang="zh-CN" altLang="en-US" sz="2400" b="1" dirty="0" smtClean="0">
              <a:solidFill>
                <a:schemeClr val="bg1"/>
              </a:solidFill>
              <a:latin typeface="MS PMincho" pitchFamily="18" charset="-128"/>
              <a:ea typeface="MS PMincho" pitchFamily="18" charset="-128"/>
            </a:endParaRPr>
          </a:p>
        </p:txBody>
      </p:sp>
      <p:sp>
        <p:nvSpPr>
          <p:cNvPr id="39" name="TextBox 38"/>
          <p:cNvSpPr txBox="1"/>
          <p:nvPr/>
        </p:nvSpPr>
        <p:spPr>
          <a:xfrm>
            <a:off x="4246386" y="3706584"/>
            <a:ext cx="591934" cy="461665"/>
          </a:xfrm>
          <a:prstGeom prst="rect">
            <a:avLst/>
          </a:prstGeom>
          <a:noFill/>
        </p:spPr>
        <p:txBody>
          <a:bodyPr wrap="square" rtlCol="0">
            <a:spAutoFit/>
          </a:bodyPr>
          <a:lstStyle/>
          <a:p>
            <a:r>
              <a:rPr lang="en-US" altLang="zh-CN" sz="2400" b="1" dirty="0" smtClean="0">
                <a:solidFill>
                  <a:schemeClr val="bg1"/>
                </a:solidFill>
                <a:latin typeface="MS PMincho" pitchFamily="18" charset="-128"/>
                <a:ea typeface="MS PMincho" pitchFamily="18" charset="-128"/>
              </a:rPr>
              <a:t>09</a:t>
            </a:r>
            <a:endParaRPr lang="zh-CN" altLang="en-US" sz="2400" b="1" dirty="0" smtClean="0">
              <a:solidFill>
                <a:schemeClr val="bg1"/>
              </a:solidFill>
              <a:latin typeface="MS PMincho" pitchFamily="18" charset="-128"/>
              <a:ea typeface="MS PMincho" pitchFamily="18" charset="-128"/>
            </a:endParaRPr>
          </a:p>
        </p:txBody>
      </p:sp>
      <p:sp>
        <p:nvSpPr>
          <p:cNvPr id="2" name="矩形 1"/>
          <p:cNvSpPr/>
          <p:nvPr/>
        </p:nvSpPr>
        <p:spPr>
          <a:xfrm>
            <a:off x="60573" y="2657403"/>
            <a:ext cx="3958827" cy="1131079"/>
          </a:xfrm>
          <a:prstGeom prst="rect">
            <a:avLst/>
          </a:prstGeom>
        </p:spPr>
        <p:txBody>
          <a:bodyPr wrap="square">
            <a:spAutoFit/>
          </a:bodyPr>
          <a:lstStyle/>
          <a:p>
            <a:r>
              <a:rPr lang="zh-CN" altLang="en-US" dirty="0">
                <a:solidFill>
                  <a:srgbClr val="FF0000"/>
                </a:solidFill>
              </a:rPr>
              <a:t>中科院：是指项目实施过程中发生的除上述费用之外的对使用本单位现有仪器设备及房屋，日常水、电、气、暖的消耗补助支出，审计费用，经批准的实验设施和场地的小型维修改造、土地或场地租赁等支出。特殊事项应在申请预算时详细说明。</a:t>
            </a:r>
          </a:p>
        </p:txBody>
      </p:sp>
      <p:pic>
        <p:nvPicPr>
          <p:cNvPr id="23" name="图片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24" name="文本框 3"/>
          <p:cNvSpPr txBox="1"/>
          <p:nvPr/>
        </p:nvSpPr>
        <p:spPr>
          <a:xfrm>
            <a:off x="-75704" y="162174"/>
            <a:ext cx="5409704" cy="507831"/>
          </a:xfrm>
          <a:prstGeom prst="rect">
            <a:avLst/>
          </a:prstGeom>
          <a:noFill/>
          <a:effectLst/>
        </p:spPr>
        <p:txBody>
          <a:bodyPr wrap="square" rtlCol="0">
            <a:spAutoFit/>
          </a:bodyPr>
          <a:lstStyle/>
          <a:p>
            <a:pPr algn="ctr"/>
            <a:r>
              <a:rPr lang="zh-CN" altLang="en-US" sz="2400" b="1" dirty="0" smtClean="0">
                <a:latin typeface="微软雅黑" pitchFamily="34" charset="-122"/>
                <a:ea typeface="微软雅黑" pitchFamily="34" charset="-122"/>
              </a:rPr>
              <a:t>善理财              </a:t>
            </a:r>
            <a:r>
              <a:rPr lang="en-US" altLang="zh-CN"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               </a:t>
            </a: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直接费用</a:t>
            </a:r>
            <a:endParaRPr lang="zh-CN" altLang="en-US" sz="24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pic>
        <p:nvPicPr>
          <p:cNvPr id="11" name="图片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74139" y="-45"/>
            <a:ext cx="4969861" cy="3286584"/>
          </a:xfrm>
          <a:prstGeom prst="rect">
            <a:avLst/>
          </a:prstGeom>
        </p:spPr>
      </p:pic>
      <p:sp>
        <p:nvSpPr>
          <p:cNvPr id="26" name="上箭头 25"/>
          <p:cNvSpPr/>
          <p:nvPr/>
        </p:nvSpPr>
        <p:spPr>
          <a:xfrm>
            <a:off x="971550" y="3788482"/>
            <a:ext cx="142875" cy="48824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9708614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500" fill="hold"/>
                                        <p:tgtEl>
                                          <p:spTgt spid="22"/>
                                        </p:tgtEl>
                                        <p:attrNameLst>
                                          <p:attrName>ppt_x</p:attrName>
                                        </p:attrNameLst>
                                      </p:cBhvr>
                                      <p:tavLst>
                                        <p:tav tm="0">
                                          <p:val>
                                            <p:strVal val="#ppt_x"/>
                                          </p:val>
                                        </p:tav>
                                        <p:tav tm="100000">
                                          <p:val>
                                            <p:strVal val="#ppt_x"/>
                                          </p:val>
                                        </p:tav>
                                      </p:tavLst>
                                    </p:anim>
                                    <p:anim calcmode="lin" valueType="num">
                                      <p:cBhvr additive="base">
                                        <p:cTn id="1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additive="base">
                                        <p:cTn id="29" dur="500" fill="hold"/>
                                        <p:tgtEl>
                                          <p:spTgt spid="37"/>
                                        </p:tgtEl>
                                        <p:attrNameLst>
                                          <p:attrName>ppt_x</p:attrName>
                                        </p:attrNameLst>
                                      </p:cBhvr>
                                      <p:tavLst>
                                        <p:tav tm="0">
                                          <p:val>
                                            <p:strVal val="#ppt_x"/>
                                          </p:val>
                                        </p:tav>
                                        <p:tav tm="100000">
                                          <p:val>
                                            <p:strVal val="#ppt_x"/>
                                          </p:val>
                                        </p:tav>
                                      </p:tavLst>
                                    </p:anim>
                                    <p:anim calcmode="lin" valueType="num">
                                      <p:cBhvr additive="base">
                                        <p:cTn id="30"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500" fill="hold"/>
                                        <p:tgtEl>
                                          <p:spTgt spid="11"/>
                                        </p:tgtEl>
                                        <p:attrNameLst>
                                          <p:attrName>ppt_x</p:attrName>
                                        </p:attrNameLst>
                                      </p:cBhvr>
                                      <p:tavLst>
                                        <p:tav tm="0">
                                          <p:val>
                                            <p:strVal val="#ppt_x"/>
                                          </p:val>
                                        </p:tav>
                                        <p:tav tm="100000">
                                          <p:val>
                                            <p:strVal val="#ppt_x"/>
                                          </p:val>
                                        </p:tav>
                                      </p:tavLst>
                                    </p:anim>
                                    <p:anim calcmode="lin" valueType="num">
                                      <p:cBhvr additive="base">
                                        <p:cTn id="36"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17"/>
                                        </p:tgtEl>
                                        <p:attrNameLst>
                                          <p:attrName>style.visibility</p:attrName>
                                        </p:attrNameLst>
                                      </p:cBhvr>
                                      <p:to>
                                        <p:strVal val="visible"/>
                                      </p:to>
                                    </p:set>
                                    <p:anim calcmode="lin" valueType="num">
                                      <p:cBhvr additive="base">
                                        <p:cTn id="41" dur="500" fill="hold"/>
                                        <p:tgtEl>
                                          <p:spTgt spid="17"/>
                                        </p:tgtEl>
                                        <p:attrNameLst>
                                          <p:attrName>ppt_x</p:attrName>
                                        </p:attrNameLst>
                                      </p:cBhvr>
                                      <p:tavLst>
                                        <p:tav tm="0">
                                          <p:val>
                                            <p:strVal val="#ppt_x"/>
                                          </p:val>
                                        </p:tav>
                                        <p:tav tm="100000">
                                          <p:val>
                                            <p:strVal val="#ppt_x"/>
                                          </p:val>
                                        </p:tav>
                                      </p:tavLst>
                                    </p:anim>
                                    <p:anim calcmode="lin" valueType="num">
                                      <p:cBhvr additive="base">
                                        <p:cTn id="42" dur="500" fill="hold"/>
                                        <p:tgtEl>
                                          <p:spTgt spid="17"/>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anim calcmode="lin" valueType="num">
                                      <p:cBhvr additive="base">
                                        <p:cTn id="45" dur="500" fill="hold"/>
                                        <p:tgtEl>
                                          <p:spTgt spid="21"/>
                                        </p:tgtEl>
                                        <p:attrNameLst>
                                          <p:attrName>ppt_x</p:attrName>
                                        </p:attrNameLst>
                                      </p:cBhvr>
                                      <p:tavLst>
                                        <p:tav tm="0">
                                          <p:val>
                                            <p:strVal val="#ppt_x"/>
                                          </p:val>
                                        </p:tav>
                                        <p:tav tm="100000">
                                          <p:val>
                                            <p:strVal val="#ppt_x"/>
                                          </p:val>
                                        </p:tav>
                                      </p:tavLst>
                                    </p:anim>
                                    <p:anim calcmode="lin" valueType="num">
                                      <p:cBhvr additive="base">
                                        <p:cTn id="46" dur="500" fill="hold"/>
                                        <p:tgtEl>
                                          <p:spTgt spid="21"/>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2"/>
                                        </p:tgtEl>
                                        <p:attrNameLst>
                                          <p:attrName>style.visibility</p:attrName>
                                        </p:attrNameLst>
                                      </p:cBhvr>
                                      <p:to>
                                        <p:strVal val="visible"/>
                                      </p:to>
                                    </p:set>
                                    <p:anim calcmode="lin" valueType="num">
                                      <p:cBhvr additive="base">
                                        <p:cTn id="49" dur="500" fill="hold"/>
                                        <p:tgtEl>
                                          <p:spTgt spid="2"/>
                                        </p:tgtEl>
                                        <p:attrNameLst>
                                          <p:attrName>ppt_x</p:attrName>
                                        </p:attrNameLst>
                                      </p:cBhvr>
                                      <p:tavLst>
                                        <p:tav tm="0">
                                          <p:val>
                                            <p:strVal val="#ppt_x"/>
                                          </p:val>
                                        </p:tav>
                                        <p:tav tm="100000">
                                          <p:val>
                                            <p:strVal val="#ppt_x"/>
                                          </p:val>
                                        </p:tav>
                                      </p:tavLst>
                                    </p:anim>
                                    <p:anim calcmode="lin" valueType="num">
                                      <p:cBhvr additive="base">
                                        <p:cTn id="50" dur="500" fill="hold"/>
                                        <p:tgtEl>
                                          <p:spTgt spid="2"/>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 calcmode="lin" valueType="num">
                                      <p:cBhvr additive="base">
                                        <p:cTn id="53" dur="500" fill="hold"/>
                                        <p:tgtEl>
                                          <p:spTgt spid="26"/>
                                        </p:tgtEl>
                                        <p:attrNameLst>
                                          <p:attrName>ppt_x</p:attrName>
                                        </p:attrNameLst>
                                      </p:cBhvr>
                                      <p:tavLst>
                                        <p:tav tm="0">
                                          <p:val>
                                            <p:strVal val="#ppt_x"/>
                                          </p:val>
                                        </p:tav>
                                        <p:tav tm="100000">
                                          <p:val>
                                            <p:strVal val="#ppt_x"/>
                                          </p:val>
                                        </p:tav>
                                      </p:tavLst>
                                    </p:anim>
                                    <p:anim calcmode="lin" valueType="num">
                                      <p:cBhvr additive="base">
                                        <p:cTn id="54" dur="500" fill="hold"/>
                                        <p:tgtEl>
                                          <p:spTgt spid="26"/>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9"/>
                                        </p:tgtEl>
                                        <p:attrNameLst>
                                          <p:attrName>style.visibility</p:attrName>
                                        </p:attrNameLst>
                                      </p:cBhvr>
                                      <p:to>
                                        <p:strVal val="visible"/>
                                      </p:to>
                                    </p:set>
                                    <p:anim calcmode="lin" valueType="num">
                                      <p:cBhvr additive="base">
                                        <p:cTn id="57" dur="500" fill="hold"/>
                                        <p:tgtEl>
                                          <p:spTgt spid="19"/>
                                        </p:tgtEl>
                                        <p:attrNameLst>
                                          <p:attrName>ppt_x</p:attrName>
                                        </p:attrNameLst>
                                      </p:cBhvr>
                                      <p:tavLst>
                                        <p:tav tm="0">
                                          <p:val>
                                            <p:strVal val="#ppt_x"/>
                                          </p:val>
                                        </p:tav>
                                        <p:tav tm="100000">
                                          <p:val>
                                            <p:strVal val="#ppt_x"/>
                                          </p:val>
                                        </p:tav>
                                      </p:tavLst>
                                    </p:anim>
                                    <p:anim calcmode="lin" valueType="num">
                                      <p:cBhvr additive="base">
                                        <p:cTn id="5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p:bldP spid="16" grpId="0" animBg="1"/>
      <p:bldP spid="17" grpId="0"/>
      <p:bldP spid="21" grpId="0" animBg="1"/>
      <p:bldP spid="22" grpId="0"/>
      <p:bldP spid="2" grpId="0"/>
      <p:bldP spid="2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3"/>
          <p:cNvSpPr/>
          <p:nvPr/>
        </p:nvSpPr>
        <p:spPr>
          <a:xfrm rot="198227">
            <a:off x="-916" y="1890041"/>
            <a:ext cx="9192052" cy="649290"/>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0C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5" name="任意多边形 4"/>
          <p:cNvSpPr/>
          <p:nvPr/>
        </p:nvSpPr>
        <p:spPr>
          <a:xfrm rot="21338589" flipV="1">
            <a:off x="-916" y="1906625"/>
            <a:ext cx="9192052" cy="325553"/>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4B5E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6" name="矩形 5"/>
          <p:cNvSpPr/>
          <p:nvPr/>
        </p:nvSpPr>
        <p:spPr>
          <a:xfrm>
            <a:off x="338288" y="2909738"/>
            <a:ext cx="2339103"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科研财务助理制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7" name="矩形 6"/>
          <p:cNvSpPr/>
          <p:nvPr/>
        </p:nvSpPr>
        <p:spPr>
          <a:xfrm>
            <a:off x="3258590" y="2803661"/>
            <a:ext cx="992580"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善理财</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8" name="矩形 7"/>
          <p:cNvSpPr/>
          <p:nvPr/>
        </p:nvSpPr>
        <p:spPr>
          <a:xfrm>
            <a:off x="5207672" y="2788609"/>
            <a:ext cx="992579"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管好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9" name="矩形 8"/>
          <p:cNvSpPr/>
          <p:nvPr/>
        </p:nvSpPr>
        <p:spPr>
          <a:xfrm>
            <a:off x="7183308" y="2733260"/>
            <a:ext cx="723276"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其他</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10" name="文本框 3"/>
          <p:cNvSpPr txBox="1"/>
          <p:nvPr/>
        </p:nvSpPr>
        <p:spPr>
          <a:xfrm>
            <a:off x="-321961" y="42263"/>
            <a:ext cx="2362389" cy="715581"/>
          </a:xfrm>
          <a:prstGeom prst="rect">
            <a:avLst/>
          </a:prstGeom>
          <a:noFill/>
          <a:effectLst/>
        </p:spPr>
        <p:txBody>
          <a:bodyPr wrap="square" rtlCol="0">
            <a:spAutoFit/>
          </a:bodyPr>
          <a:lstStyle/>
          <a:p>
            <a:pPr algn="ctr"/>
            <a:r>
              <a:rPr lang="zh-CN" altLang="en-US" sz="4050" b="1" dirty="0">
                <a:gradFill flip="none" rotWithShape="1">
                  <a:gsLst>
                    <a:gs pos="0">
                      <a:srgbClr val="04B5EC"/>
                    </a:gs>
                    <a:gs pos="100000">
                      <a:srgbClr val="00C88A"/>
                    </a:gs>
                  </a:gsLst>
                  <a:lin ang="0" scaled="1"/>
                  <a:tileRect/>
                </a:gradFill>
                <a:latin typeface="微软雅黑" pitchFamily="34" charset="-122"/>
                <a:ea typeface="微软雅黑" pitchFamily="34" charset="-122"/>
              </a:rPr>
              <a:t>内容</a:t>
            </a:r>
          </a:p>
        </p:txBody>
      </p:sp>
      <p:grpSp>
        <p:nvGrpSpPr>
          <p:cNvPr id="12" name="组合 11"/>
          <p:cNvGrpSpPr/>
          <p:nvPr/>
        </p:nvGrpSpPr>
        <p:grpSpPr>
          <a:xfrm>
            <a:off x="1093065" y="1641574"/>
            <a:ext cx="973049" cy="963364"/>
            <a:chOff x="1486694" y="2665507"/>
            <a:chExt cx="1297399" cy="1284485"/>
          </a:xfrm>
        </p:grpSpPr>
        <p:sp>
          <p:nvSpPr>
            <p:cNvPr id="13" name="Freeform 5"/>
            <p:cNvSpPr>
              <a:spLocks/>
            </p:cNvSpPr>
            <p:nvPr/>
          </p:nvSpPr>
          <p:spPr bwMode="auto">
            <a:xfrm rot="5400000">
              <a:off x="1476182"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4" name="矩形 13"/>
            <p:cNvSpPr/>
            <p:nvPr/>
          </p:nvSpPr>
          <p:spPr>
            <a:xfrm>
              <a:off x="1486694" y="3047437"/>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chemeClr val="bg1"/>
                  </a:solidFill>
                  <a:latin typeface="微软雅黑" pitchFamily="34" charset="-122"/>
                  <a:ea typeface="微软雅黑" pitchFamily="34" charset="-122"/>
                </a:rPr>
                <a:t>01</a:t>
              </a:r>
              <a:endParaRPr lang="zh-CN" altLang="en-US" sz="2100" b="1" dirty="0">
                <a:solidFill>
                  <a:schemeClr val="bg1"/>
                </a:solidFill>
                <a:latin typeface="微软雅黑" pitchFamily="34" charset="-122"/>
                <a:ea typeface="微软雅黑" pitchFamily="34" charset="-122"/>
              </a:endParaRPr>
            </a:p>
          </p:txBody>
        </p:sp>
      </p:grpSp>
      <p:grpSp>
        <p:nvGrpSpPr>
          <p:cNvPr id="15" name="组合 14"/>
          <p:cNvGrpSpPr/>
          <p:nvPr/>
        </p:nvGrpSpPr>
        <p:grpSpPr>
          <a:xfrm>
            <a:off x="3145293" y="1641574"/>
            <a:ext cx="973049" cy="963364"/>
            <a:chOff x="4222998" y="2665507"/>
            <a:chExt cx="1297399" cy="1284485"/>
          </a:xfrm>
        </p:grpSpPr>
        <p:sp>
          <p:nvSpPr>
            <p:cNvPr id="16" name="Freeform 5"/>
            <p:cNvSpPr>
              <a:spLocks/>
            </p:cNvSpPr>
            <p:nvPr/>
          </p:nvSpPr>
          <p:spPr bwMode="auto">
            <a:xfrm rot="5400000">
              <a:off x="4226425"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7" name="矩形 16"/>
            <p:cNvSpPr/>
            <p:nvPr/>
          </p:nvSpPr>
          <p:spPr>
            <a:xfrm>
              <a:off x="4222998" y="3078969"/>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chemeClr val="bg1"/>
                  </a:solidFill>
                  <a:latin typeface="微软雅黑" pitchFamily="34" charset="-122"/>
                  <a:ea typeface="微软雅黑" pitchFamily="34" charset="-122"/>
                </a:rPr>
                <a:t>02</a:t>
              </a:r>
              <a:endParaRPr lang="zh-CN" altLang="en-US" sz="2100" b="1" dirty="0">
                <a:solidFill>
                  <a:schemeClr val="bg1"/>
                </a:solidFill>
                <a:latin typeface="微软雅黑" pitchFamily="34" charset="-122"/>
                <a:ea typeface="微软雅黑" pitchFamily="34" charset="-122"/>
              </a:endParaRPr>
            </a:p>
          </p:txBody>
        </p:sp>
      </p:grpSp>
      <p:grpSp>
        <p:nvGrpSpPr>
          <p:cNvPr id="18" name="组合 17"/>
          <p:cNvGrpSpPr/>
          <p:nvPr/>
        </p:nvGrpSpPr>
        <p:grpSpPr>
          <a:xfrm>
            <a:off x="5197521" y="1659563"/>
            <a:ext cx="973049" cy="963364"/>
            <a:chOff x="6959302" y="2689493"/>
            <a:chExt cx="1297399" cy="1284485"/>
          </a:xfrm>
        </p:grpSpPr>
        <p:sp>
          <p:nvSpPr>
            <p:cNvPr id="19" name="Freeform 5"/>
            <p:cNvSpPr>
              <a:spLocks/>
            </p:cNvSpPr>
            <p:nvPr/>
          </p:nvSpPr>
          <p:spPr bwMode="auto">
            <a:xfrm rot="5400000">
              <a:off x="6967655" y="2752168"/>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0" name="矩形 19"/>
            <p:cNvSpPr/>
            <p:nvPr/>
          </p:nvSpPr>
          <p:spPr>
            <a:xfrm>
              <a:off x="6959302" y="3068303"/>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rgbClr val="FF0000"/>
                  </a:solidFill>
                  <a:latin typeface="微软雅黑" pitchFamily="34" charset="-122"/>
                  <a:ea typeface="微软雅黑" pitchFamily="34" charset="-122"/>
                </a:rPr>
                <a:t>03</a:t>
              </a:r>
              <a:endParaRPr lang="zh-CN" altLang="en-US" sz="2100" b="1" dirty="0">
                <a:solidFill>
                  <a:srgbClr val="FF0000"/>
                </a:solidFill>
                <a:latin typeface="微软雅黑" pitchFamily="34" charset="-122"/>
                <a:ea typeface="微软雅黑" pitchFamily="34" charset="-122"/>
              </a:endParaRPr>
            </a:p>
          </p:txBody>
        </p:sp>
      </p:grpSp>
      <p:grpSp>
        <p:nvGrpSpPr>
          <p:cNvPr id="21" name="组合 20"/>
          <p:cNvGrpSpPr/>
          <p:nvPr/>
        </p:nvGrpSpPr>
        <p:grpSpPr>
          <a:xfrm>
            <a:off x="7087731" y="1716395"/>
            <a:ext cx="973049" cy="963364"/>
            <a:chOff x="9479582" y="2562069"/>
            <a:chExt cx="1297399" cy="1284485"/>
          </a:xfrm>
        </p:grpSpPr>
        <p:sp>
          <p:nvSpPr>
            <p:cNvPr id="22" name="Freeform 5"/>
            <p:cNvSpPr>
              <a:spLocks/>
            </p:cNvSpPr>
            <p:nvPr/>
          </p:nvSpPr>
          <p:spPr bwMode="auto">
            <a:xfrm rot="5400000">
              <a:off x="9456528" y="2624744"/>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3" name="矩形 22"/>
            <p:cNvSpPr/>
            <p:nvPr/>
          </p:nvSpPr>
          <p:spPr>
            <a:xfrm>
              <a:off x="9479582" y="2996952"/>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4</a:t>
              </a:r>
              <a:endParaRPr lang="zh-CN" altLang="en-US" sz="2100" b="1" dirty="0">
                <a:latin typeface="微软雅黑" pitchFamily="34" charset="-122"/>
                <a:ea typeface="微软雅黑" pitchFamily="34" charset="-122"/>
              </a:endParaRPr>
            </a:p>
          </p:txBody>
        </p:sp>
      </p:gr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5427518" y="636143"/>
            <a:ext cx="552886" cy="703818"/>
          </a:xfrm>
          <a:prstGeom prst="rect">
            <a:avLst/>
          </a:prstGeom>
        </p:spPr>
      </p:pic>
    </p:spTree>
    <p:extLst>
      <p:ext uri="{BB962C8B-B14F-4D97-AF65-F5344CB8AC3E}">
        <p14:creationId xmlns:p14="http://schemas.microsoft.com/office/powerpoint/2010/main" val="220652510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圆角矩形 53"/>
          <p:cNvSpPr/>
          <p:nvPr/>
        </p:nvSpPr>
        <p:spPr>
          <a:xfrm>
            <a:off x="971599" y="833639"/>
            <a:ext cx="7381825" cy="3231626"/>
          </a:xfrm>
          <a:prstGeom prst="roundRect">
            <a:avLst>
              <a:gd name="adj" fmla="val 9960"/>
            </a:avLst>
          </a:prstGeom>
          <a:gradFill flip="none" rotWithShape="1">
            <a:gsLst>
              <a:gs pos="0">
                <a:sysClr val="window" lastClr="FFFFFF">
                  <a:lumMod val="95000"/>
                </a:sysClr>
              </a:gs>
              <a:gs pos="100000">
                <a:sysClr val="window" lastClr="FFFFFF"/>
              </a:gs>
            </a:gsLst>
            <a:lin ang="5400000" scaled="1"/>
            <a:tileRect/>
          </a:gradFill>
          <a:ln w="9525" cap="flat" cmpd="sng" algn="ctr">
            <a:solidFill>
              <a:sysClr val="window" lastClr="FFFFFF"/>
            </a:solidFill>
            <a:prstDash val="solid"/>
          </a:ln>
          <a:effectLst>
            <a:outerShdw blurRad="571500" dist="2413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5" name="圆角矩形 54"/>
          <p:cNvSpPr/>
          <p:nvPr/>
        </p:nvSpPr>
        <p:spPr>
          <a:xfrm>
            <a:off x="1573422" y="2983914"/>
            <a:ext cx="849582" cy="1594656"/>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6" name="圆角矩形 55"/>
          <p:cNvSpPr/>
          <p:nvPr/>
        </p:nvSpPr>
        <p:spPr>
          <a:xfrm>
            <a:off x="2588638" y="3491600"/>
            <a:ext cx="849582" cy="1594656"/>
          </a:xfrm>
          <a:prstGeom prst="roundRect">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w="25400" cap="flat" cmpd="sng" algn="ctr">
            <a:solidFill>
              <a:srgbClr val="FFC000"/>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7" name="圆角矩形 56"/>
          <p:cNvSpPr/>
          <p:nvPr/>
        </p:nvSpPr>
        <p:spPr>
          <a:xfrm>
            <a:off x="3608733" y="2983914"/>
            <a:ext cx="849582" cy="1594656"/>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8" name="圆角矩形 57"/>
          <p:cNvSpPr/>
          <p:nvPr/>
        </p:nvSpPr>
        <p:spPr>
          <a:xfrm>
            <a:off x="4594861" y="2983914"/>
            <a:ext cx="849582" cy="1594656"/>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9" name="圆角矩形 58"/>
          <p:cNvSpPr/>
          <p:nvPr/>
        </p:nvSpPr>
        <p:spPr>
          <a:xfrm>
            <a:off x="5566607" y="2983914"/>
            <a:ext cx="849582" cy="1594656"/>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0" name="圆角矩形 59"/>
          <p:cNvSpPr/>
          <p:nvPr/>
        </p:nvSpPr>
        <p:spPr>
          <a:xfrm>
            <a:off x="6514142" y="2983914"/>
            <a:ext cx="849582" cy="1594656"/>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w="25400" cap="flat" cmpd="sng" algn="ctr">
            <a:solidFill>
              <a:srgbClr val="2DC8FF"/>
            </a:solidFill>
            <a:prstDash val="solid"/>
          </a:ln>
          <a:effectLst>
            <a:outerShdw blurRad="50800" dist="50800" dir="2700000" algn="tl" rotWithShape="0">
              <a:prstClr val="black">
                <a:alpha val="27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1" name="圆角矩形 60"/>
          <p:cNvSpPr/>
          <p:nvPr/>
        </p:nvSpPr>
        <p:spPr>
          <a:xfrm>
            <a:off x="1187623" y="1111142"/>
            <a:ext cx="6929877" cy="2666091"/>
          </a:xfrm>
          <a:prstGeom prst="roundRect">
            <a:avLst/>
          </a:prstGeom>
          <a:solidFill>
            <a:sysClr val="window" lastClr="FFFFFF"/>
          </a:solidFill>
          <a:ln w="25400" cap="flat" cmpd="sng" algn="ctr">
            <a:solidFill>
              <a:sysClr val="window" lastClr="FFFFFF">
                <a:lumMod val="95000"/>
              </a:sysClr>
            </a:solidFill>
            <a:prstDash val="solid"/>
          </a:ln>
          <a:effectLst>
            <a:outerShdw blurRad="279400" dist="101600" dir="5400000" algn="t" rotWithShape="0">
              <a:prstClr val="black">
                <a:alpha val="3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3" name="TextBox 62"/>
          <p:cNvSpPr txBox="1"/>
          <p:nvPr/>
        </p:nvSpPr>
        <p:spPr>
          <a:xfrm>
            <a:off x="3337667" y="1752854"/>
            <a:ext cx="4379502" cy="1346522"/>
          </a:xfrm>
          <a:prstGeom prst="rect">
            <a:avLst/>
          </a:prstGeom>
          <a:noFill/>
        </p:spPr>
        <p:txBody>
          <a:bodyPr wrap="square" rtlCol="0">
            <a:spAutoFit/>
          </a:bodyPr>
          <a:lstStyle/>
          <a:p>
            <a:pPr lvl="0" defTabSz="914400">
              <a:lnSpc>
                <a:spcPct val="150000"/>
              </a:lnSpc>
              <a:defRPr/>
            </a:pPr>
            <a:r>
              <a:rPr lang="zh-CN" altLang="en-US" sz="1400" b="1" kern="0" dirty="0">
                <a:solidFill>
                  <a:sysClr val="windowText" lastClr="000000">
                    <a:lumMod val="65000"/>
                    <a:lumOff val="35000"/>
                  </a:sysClr>
                </a:solidFill>
                <a:latin typeface="Arial" pitchFamily="34" charset="0"/>
                <a:ea typeface="微软雅黑" pitchFamily="34" charset="-122"/>
                <a:cs typeface="Arial" pitchFamily="34" charset="0"/>
              </a:rPr>
              <a:t>相对于前面主要讲的预算编制的善理财，这里要讲的管好账，就是预算执行，预算执行是预算编制实施的关键，通过过程中的控制预算，以及对各分项预算协调，限制偏差，统筹兼顾，确保总预算目标的实现。</a:t>
            </a:r>
          </a:p>
        </p:txBody>
      </p:sp>
      <p:sp>
        <p:nvSpPr>
          <p:cNvPr id="64" name="TextBox 63"/>
          <p:cNvSpPr txBox="1"/>
          <p:nvPr/>
        </p:nvSpPr>
        <p:spPr>
          <a:xfrm>
            <a:off x="1501414" y="3952244"/>
            <a:ext cx="979222"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设备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5" name="TextBox 64"/>
          <p:cNvSpPr txBox="1"/>
          <p:nvPr/>
        </p:nvSpPr>
        <p:spPr>
          <a:xfrm>
            <a:off x="2522405" y="4337313"/>
            <a:ext cx="979222"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材料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6" name="TextBox 65"/>
          <p:cNvSpPr txBox="1"/>
          <p:nvPr/>
        </p:nvSpPr>
        <p:spPr>
          <a:xfrm>
            <a:off x="3551009" y="3952244"/>
            <a:ext cx="979222"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差旅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7" name="TextBox 66"/>
          <p:cNvSpPr txBox="1"/>
          <p:nvPr/>
        </p:nvSpPr>
        <p:spPr>
          <a:xfrm>
            <a:off x="4532895" y="3952244"/>
            <a:ext cx="979222"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会议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8" name="TextBox 67"/>
          <p:cNvSpPr txBox="1"/>
          <p:nvPr/>
        </p:nvSpPr>
        <p:spPr>
          <a:xfrm>
            <a:off x="5514781" y="3952244"/>
            <a:ext cx="979222" cy="313932"/>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zh-CN" altLang="en-US" sz="18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劳务费</a:t>
            </a:r>
            <a:endParaRPr kumimoji="0" lang="zh-CN" altLang="en-US" sz="18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69" name="TextBox 68"/>
          <p:cNvSpPr txBox="1"/>
          <p:nvPr/>
        </p:nvSpPr>
        <p:spPr>
          <a:xfrm>
            <a:off x="6470909" y="3857510"/>
            <a:ext cx="979222" cy="38779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zh-CN" sz="2400" b="1" i="0" u="none" strike="noStrike" kern="0" cap="none" spc="0" normalizeH="0" baseline="0" noProof="0" dirty="0" smtClean="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rPr>
              <a:t>……</a:t>
            </a:r>
            <a:endParaRPr kumimoji="0" lang="zh-CN" altLang="en-US" sz="2400" b="1" i="0" u="none" strike="noStrike" kern="0" cap="none" spc="0" normalizeH="0" baseline="0" noProof="0" dirty="0">
              <a:ln w="18415" cmpd="sng">
                <a:noFill/>
                <a:prstDash val="solid"/>
              </a:ln>
              <a:solidFill>
                <a:sysClr val="window" lastClr="FFFFFF"/>
              </a:solidFill>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98319" y="1226138"/>
            <a:ext cx="2110414" cy="2540938"/>
          </a:xfrm>
          <a:prstGeom prst="rect">
            <a:avLst/>
          </a:prstGeom>
        </p:spPr>
      </p:pic>
      <p:pic>
        <p:nvPicPr>
          <p:cNvPr id="19" name="图片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3" name="TextBox 2"/>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75085312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3"/>
          <p:cNvSpPr/>
          <p:nvPr/>
        </p:nvSpPr>
        <p:spPr>
          <a:xfrm rot="198227">
            <a:off x="-29491" y="1766216"/>
            <a:ext cx="9192052" cy="649290"/>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0C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5" name="任意多边形 4"/>
          <p:cNvSpPr/>
          <p:nvPr/>
        </p:nvSpPr>
        <p:spPr>
          <a:xfrm rot="21338589" flipV="1">
            <a:off x="-29491" y="1782800"/>
            <a:ext cx="9192052" cy="325553"/>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4B5E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6" name="矩形 5"/>
          <p:cNvSpPr/>
          <p:nvPr/>
        </p:nvSpPr>
        <p:spPr>
          <a:xfrm>
            <a:off x="338288" y="2785913"/>
            <a:ext cx="2339103"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科研财务助理制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7" name="矩形 6"/>
          <p:cNvSpPr/>
          <p:nvPr/>
        </p:nvSpPr>
        <p:spPr>
          <a:xfrm>
            <a:off x="3258590" y="2679836"/>
            <a:ext cx="992580"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善理财</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8" name="矩形 7"/>
          <p:cNvSpPr/>
          <p:nvPr/>
        </p:nvSpPr>
        <p:spPr>
          <a:xfrm>
            <a:off x="5207672" y="2664784"/>
            <a:ext cx="992579"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管好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9" name="矩形 8"/>
          <p:cNvSpPr/>
          <p:nvPr/>
        </p:nvSpPr>
        <p:spPr>
          <a:xfrm>
            <a:off x="7183308" y="2590385"/>
            <a:ext cx="723276"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其他</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10" name="文本框 3"/>
          <p:cNvSpPr txBox="1"/>
          <p:nvPr/>
        </p:nvSpPr>
        <p:spPr>
          <a:xfrm>
            <a:off x="-321961" y="42263"/>
            <a:ext cx="2362389" cy="715581"/>
          </a:xfrm>
          <a:prstGeom prst="rect">
            <a:avLst/>
          </a:prstGeom>
          <a:noFill/>
          <a:effectLst/>
        </p:spPr>
        <p:txBody>
          <a:bodyPr wrap="square" rtlCol="0">
            <a:spAutoFit/>
          </a:bodyPr>
          <a:lstStyle/>
          <a:p>
            <a:pPr algn="ctr"/>
            <a:r>
              <a:rPr lang="zh-CN" altLang="en-US" sz="4050" b="1" dirty="0">
                <a:gradFill flip="none" rotWithShape="1">
                  <a:gsLst>
                    <a:gs pos="0">
                      <a:srgbClr val="04B5EC"/>
                    </a:gs>
                    <a:gs pos="100000">
                      <a:srgbClr val="00C88A"/>
                    </a:gs>
                  </a:gsLst>
                  <a:lin ang="0" scaled="1"/>
                  <a:tileRect/>
                </a:gradFill>
                <a:latin typeface="微软雅黑" pitchFamily="34" charset="-122"/>
                <a:ea typeface="微软雅黑" pitchFamily="34" charset="-122"/>
              </a:rPr>
              <a:t>内容</a:t>
            </a:r>
          </a:p>
        </p:txBody>
      </p:sp>
      <p:grpSp>
        <p:nvGrpSpPr>
          <p:cNvPr id="12" name="组合 11"/>
          <p:cNvGrpSpPr/>
          <p:nvPr/>
        </p:nvGrpSpPr>
        <p:grpSpPr>
          <a:xfrm>
            <a:off x="1093065" y="1517749"/>
            <a:ext cx="973049" cy="963364"/>
            <a:chOff x="1486694" y="2665507"/>
            <a:chExt cx="1297399" cy="1284485"/>
          </a:xfrm>
        </p:grpSpPr>
        <p:sp>
          <p:nvSpPr>
            <p:cNvPr id="13" name="Freeform 5"/>
            <p:cNvSpPr>
              <a:spLocks/>
            </p:cNvSpPr>
            <p:nvPr/>
          </p:nvSpPr>
          <p:spPr bwMode="auto">
            <a:xfrm rot="5400000">
              <a:off x="1476182"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4" name="矩形 13"/>
            <p:cNvSpPr/>
            <p:nvPr/>
          </p:nvSpPr>
          <p:spPr>
            <a:xfrm>
              <a:off x="1486694" y="3047437"/>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1</a:t>
              </a:r>
              <a:endParaRPr lang="zh-CN" altLang="en-US" sz="2100" b="1" dirty="0">
                <a:latin typeface="微软雅黑" pitchFamily="34" charset="-122"/>
                <a:ea typeface="微软雅黑" pitchFamily="34" charset="-122"/>
              </a:endParaRPr>
            </a:p>
          </p:txBody>
        </p:sp>
      </p:grpSp>
      <p:grpSp>
        <p:nvGrpSpPr>
          <p:cNvPr id="15" name="组合 14"/>
          <p:cNvGrpSpPr/>
          <p:nvPr/>
        </p:nvGrpSpPr>
        <p:grpSpPr>
          <a:xfrm>
            <a:off x="3145293" y="1517749"/>
            <a:ext cx="973049" cy="963364"/>
            <a:chOff x="4222998" y="2665507"/>
            <a:chExt cx="1297399" cy="1284485"/>
          </a:xfrm>
        </p:grpSpPr>
        <p:sp>
          <p:nvSpPr>
            <p:cNvPr id="16" name="Freeform 5"/>
            <p:cNvSpPr>
              <a:spLocks/>
            </p:cNvSpPr>
            <p:nvPr/>
          </p:nvSpPr>
          <p:spPr bwMode="auto">
            <a:xfrm rot="5400000">
              <a:off x="4226425"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7" name="矩形 16"/>
            <p:cNvSpPr/>
            <p:nvPr/>
          </p:nvSpPr>
          <p:spPr>
            <a:xfrm>
              <a:off x="4222998" y="3078969"/>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2</a:t>
              </a:r>
              <a:endParaRPr lang="zh-CN" altLang="en-US" sz="2100" b="1" dirty="0">
                <a:latin typeface="微软雅黑" pitchFamily="34" charset="-122"/>
                <a:ea typeface="微软雅黑" pitchFamily="34" charset="-122"/>
              </a:endParaRPr>
            </a:p>
          </p:txBody>
        </p:sp>
      </p:grpSp>
      <p:grpSp>
        <p:nvGrpSpPr>
          <p:cNvPr id="18" name="组合 17"/>
          <p:cNvGrpSpPr/>
          <p:nvPr/>
        </p:nvGrpSpPr>
        <p:grpSpPr>
          <a:xfrm>
            <a:off x="5197521" y="1535738"/>
            <a:ext cx="973049" cy="963364"/>
            <a:chOff x="6959302" y="2689493"/>
            <a:chExt cx="1297399" cy="1284485"/>
          </a:xfrm>
        </p:grpSpPr>
        <p:sp>
          <p:nvSpPr>
            <p:cNvPr id="19" name="Freeform 5"/>
            <p:cNvSpPr>
              <a:spLocks/>
            </p:cNvSpPr>
            <p:nvPr/>
          </p:nvSpPr>
          <p:spPr bwMode="auto">
            <a:xfrm rot="5400000">
              <a:off x="6967655" y="2752168"/>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0" name="矩形 19"/>
            <p:cNvSpPr/>
            <p:nvPr/>
          </p:nvSpPr>
          <p:spPr>
            <a:xfrm>
              <a:off x="6959302" y="3068303"/>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3</a:t>
              </a:r>
              <a:endParaRPr lang="zh-CN" altLang="en-US" sz="2100" b="1" dirty="0">
                <a:latin typeface="微软雅黑" pitchFamily="34" charset="-122"/>
                <a:ea typeface="微软雅黑" pitchFamily="34" charset="-122"/>
              </a:endParaRPr>
            </a:p>
          </p:txBody>
        </p:sp>
      </p:grpSp>
      <p:grpSp>
        <p:nvGrpSpPr>
          <p:cNvPr id="21" name="组合 20"/>
          <p:cNvGrpSpPr/>
          <p:nvPr/>
        </p:nvGrpSpPr>
        <p:grpSpPr>
          <a:xfrm>
            <a:off x="7087731" y="1573520"/>
            <a:ext cx="973049" cy="963364"/>
            <a:chOff x="9479582" y="2562069"/>
            <a:chExt cx="1297399" cy="1284485"/>
          </a:xfrm>
        </p:grpSpPr>
        <p:sp>
          <p:nvSpPr>
            <p:cNvPr id="22" name="Freeform 5"/>
            <p:cNvSpPr>
              <a:spLocks/>
            </p:cNvSpPr>
            <p:nvPr/>
          </p:nvSpPr>
          <p:spPr bwMode="auto">
            <a:xfrm rot="5400000">
              <a:off x="9456528" y="2624744"/>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3" name="矩形 22"/>
            <p:cNvSpPr/>
            <p:nvPr/>
          </p:nvSpPr>
          <p:spPr>
            <a:xfrm>
              <a:off x="9479582" y="2996952"/>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4</a:t>
              </a:r>
              <a:endParaRPr lang="zh-CN" altLang="en-US" sz="2100" b="1" dirty="0">
                <a:latin typeface="微软雅黑" pitchFamily="34" charset="-122"/>
                <a:ea typeface="微软雅黑" pitchFamily="34" charset="-122"/>
              </a:endParaRPr>
            </a:p>
          </p:txBody>
        </p:sp>
      </p:grpSp>
    </p:spTree>
    <p:extLst>
      <p:ext uri="{BB962C8B-B14F-4D97-AF65-F5344CB8AC3E}">
        <p14:creationId xmlns:p14="http://schemas.microsoft.com/office/powerpoint/2010/main" val="417239229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22" presetClass="entr" presetSubtype="8"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1500"/>
                                        <p:tgtEl>
                                          <p:spTgt spid="5"/>
                                        </p:tgtEl>
                                      </p:cBhvr>
                                    </p:animEffect>
                                  </p:childTnLst>
                                </p:cTn>
                              </p:par>
                              <p:par>
                                <p:cTn id="13" presetID="22" presetClass="entr" presetSubtype="2"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right)">
                                      <p:cBhvr>
                                        <p:cTn id="15" dur="1500"/>
                                        <p:tgtEl>
                                          <p:spTgt spid="4"/>
                                        </p:tgtEl>
                                      </p:cBhvr>
                                    </p:animEffect>
                                  </p:childTnLst>
                                </p:cTn>
                              </p:par>
                            </p:childTnLst>
                          </p:cTn>
                        </p:par>
                        <p:par>
                          <p:cTn id="16" fill="hold">
                            <p:stCondLst>
                              <p:cond delay="2250"/>
                            </p:stCondLst>
                            <p:childTnLst>
                              <p:par>
                                <p:cTn id="17" presetID="49" presetClass="entr" presetSubtype="0" decel="10000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p:cTn id="19" dur="1000" fill="hold"/>
                                        <p:tgtEl>
                                          <p:spTgt spid="12"/>
                                        </p:tgtEl>
                                        <p:attrNameLst>
                                          <p:attrName>ppt_w</p:attrName>
                                        </p:attrNameLst>
                                      </p:cBhvr>
                                      <p:tavLst>
                                        <p:tav tm="0">
                                          <p:val>
                                            <p:fltVal val="0"/>
                                          </p:val>
                                        </p:tav>
                                        <p:tav tm="100000">
                                          <p:val>
                                            <p:strVal val="#ppt_w"/>
                                          </p:val>
                                        </p:tav>
                                      </p:tavLst>
                                    </p:anim>
                                    <p:anim calcmode="lin" valueType="num">
                                      <p:cBhvr>
                                        <p:cTn id="20" dur="1000" fill="hold"/>
                                        <p:tgtEl>
                                          <p:spTgt spid="12"/>
                                        </p:tgtEl>
                                        <p:attrNameLst>
                                          <p:attrName>ppt_h</p:attrName>
                                        </p:attrNameLst>
                                      </p:cBhvr>
                                      <p:tavLst>
                                        <p:tav tm="0">
                                          <p:val>
                                            <p:fltVal val="0"/>
                                          </p:val>
                                        </p:tav>
                                        <p:tav tm="100000">
                                          <p:val>
                                            <p:strVal val="#ppt_h"/>
                                          </p:val>
                                        </p:tav>
                                      </p:tavLst>
                                    </p:anim>
                                    <p:anim calcmode="lin" valueType="num">
                                      <p:cBhvr>
                                        <p:cTn id="21" dur="1000" fill="hold"/>
                                        <p:tgtEl>
                                          <p:spTgt spid="12"/>
                                        </p:tgtEl>
                                        <p:attrNameLst>
                                          <p:attrName>style.rotation</p:attrName>
                                        </p:attrNameLst>
                                      </p:cBhvr>
                                      <p:tavLst>
                                        <p:tav tm="0">
                                          <p:val>
                                            <p:fltVal val="360"/>
                                          </p:val>
                                        </p:tav>
                                        <p:tav tm="100000">
                                          <p:val>
                                            <p:fltVal val="0"/>
                                          </p:val>
                                        </p:tav>
                                      </p:tavLst>
                                    </p:anim>
                                    <p:animEffect transition="in" filter="fade">
                                      <p:cBhvr>
                                        <p:cTn id="22" dur="1000"/>
                                        <p:tgtEl>
                                          <p:spTgt spid="12"/>
                                        </p:tgtEl>
                                      </p:cBhvr>
                                    </p:animEffect>
                                  </p:childTnLst>
                                </p:cTn>
                              </p:par>
                              <p:par>
                                <p:cTn id="23" presetID="2" presetClass="entr" presetSubtype="2" fill="hold" grpId="0" nodeType="withEffect">
                                  <p:stCondLst>
                                    <p:cond delay="0"/>
                                  </p:stCondLst>
                                  <p:iterate type="lt">
                                    <p:tmPct val="10000"/>
                                  </p:iterate>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1+#ppt_w/2"/>
                                          </p:val>
                                        </p:tav>
                                        <p:tav tm="100000">
                                          <p:val>
                                            <p:strVal val="#ppt_x"/>
                                          </p:val>
                                        </p:tav>
                                      </p:tavLst>
                                    </p:anim>
                                    <p:anim calcmode="lin" valueType="num">
                                      <p:cBhvr additive="base">
                                        <p:cTn id="26" dur="500" fill="hold"/>
                                        <p:tgtEl>
                                          <p:spTgt spid="6"/>
                                        </p:tgtEl>
                                        <p:attrNameLst>
                                          <p:attrName>ppt_y</p:attrName>
                                        </p:attrNameLst>
                                      </p:cBhvr>
                                      <p:tavLst>
                                        <p:tav tm="0">
                                          <p:val>
                                            <p:strVal val="#ppt_y"/>
                                          </p:val>
                                        </p:tav>
                                        <p:tav tm="100000">
                                          <p:val>
                                            <p:strVal val="#ppt_y"/>
                                          </p:val>
                                        </p:tav>
                                      </p:tavLst>
                                    </p:anim>
                                  </p:childTnLst>
                                </p:cTn>
                              </p:par>
                            </p:childTnLst>
                          </p:cTn>
                        </p:par>
                        <p:par>
                          <p:cTn id="27" fill="hold">
                            <p:stCondLst>
                              <p:cond delay="3250"/>
                            </p:stCondLst>
                            <p:childTnLst>
                              <p:par>
                                <p:cTn id="28" presetID="49" presetClass="entr" presetSubtype="0" decel="100000" fill="hold" nodeType="afterEffect">
                                  <p:stCondLst>
                                    <p:cond delay="0"/>
                                  </p:stCondLst>
                                  <p:childTnLst>
                                    <p:set>
                                      <p:cBhvr>
                                        <p:cTn id="29" dur="1" fill="hold">
                                          <p:stCondLst>
                                            <p:cond delay="0"/>
                                          </p:stCondLst>
                                        </p:cTn>
                                        <p:tgtEl>
                                          <p:spTgt spid="15"/>
                                        </p:tgtEl>
                                        <p:attrNameLst>
                                          <p:attrName>style.visibility</p:attrName>
                                        </p:attrNameLst>
                                      </p:cBhvr>
                                      <p:to>
                                        <p:strVal val="visible"/>
                                      </p:to>
                                    </p:set>
                                    <p:anim calcmode="lin" valueType="num">
                                      <p:cBhvr>
                                        <p:cTn id="30" dur="1000" fill="hold"/>
                                        <p:tgtEl>
                                          <p:spTgt spid="15"/>
                                        </p:tgtEl>
                                        <p:attrNameLst>
                                          <p:attrName>ppt_w</p:attrName>
                                        </p:attrNameLst>
                                      </p:cBhvr>
                                      <p:tavLst>
                                        <p:tav tm="0">
                                          <p:val>
                                            <p:fltVal val="0"/>
                                          </p:val>
                                        </p:tav>
                                        <p:tav tm="100000">
                                          <p:val>
                                            <p:strVal val="#ppt_w"/>
                                          </p:val>
                                        </p:tav>
                                      </p:tavLst>
                                    </p:anim>
                                    <p:anim calcmode="lin" valueType="num">
                                      <p:cBhvr>
                                        <p:cTn id="31" dur="1000" fill="hold"/>
                                        <p:tgtEl>
                                          <p:spTgt spid="15"/>
                                        </p:tgtEl>
                                        <p:attrNameLst>
                                          <p:attrName>ppt_h</p:attrName>
                                        </p:attrNameLst>
                                      </p:cBhvr>
                                      <p:tavLst>
                                        <p:tav tm="0">
                                          <p:val>
                                            <p:fltVal val="0"/>
                                          </p:val>
                                        </p:tav>
                                        <p:tav tm="100000">
                                          <p:val>
                                            <p:strVal val="#ppt_h"/>
                                          </p:val>
                                        </p:tav>
                                      </p:tavLst>
                                    </p:anim>
                                    <p:anim calcmode="lin" valueType="num">
                                      <p:cBhvr>
                                        <p:cTn id="32" dur="1000" fill="hold"/>
                                        <p:tgtEl>
                                          <p:spTgt spid="15"/>
                                        </p:tgtEl>
                                        <p:attrNameLst>
                                          <p:attrName>style.rotation</p:attrName>
                                        </p:attrNameLst>
                                      </p:cBhvr>
                                      <p:tavLst>
                                        <p:tav tm="0">
                                          <p:val>
                                            <p:fltVal val="360"/>
                                          </p:val>
                                        </p:tav>
                                        <p:tav tm="100000">
                                          <p:val>
                                            <p:fltVal val="0"/>
                                          </p:val>
                                        </p:tav>
                                      </p:tavLst>
                                    </p:anim>
                                    <p:animEffect transition="in" filter="fade">
                                      <p:cBhvr>
                                        <p:cTn id="33" dur="1000"/>
                                        <p:tgtEl>
                                          <p:spTgt spid="15"/>
                                        </p:tgtEl>
                                      </p:cBhvr>
                                    </p:animEffect>
                                  </p:childTnLst>
                                </p:cTn>
                              </p:par>
                              <p:par>
                                <p:cTn id="34" presetID="2" presetClass="entr" presetSubtype="2" fill="hold" grpId="0" nodeType="withEffect">
                                  <p:stCondLst>
                                    <p:cond delay="0"/>
                                  </p:stCondLst>
                                  <p:iterate type="lt">
                                    <p:tmPct val="10000"/>
                                  </p:iterate>
                                  <p:childTnLst>
                                    <p:set>
                                      <p:cBhvr>
                                        <p:cTn id="35" dur="1" fill="hold">
                                          <p:stCondLst>
                                            <p:cond delay="0"/>
                                          </p:stCondLst>
                                        </p:cTn>
                                        <p:tgtEl>
                                          <p:spTgt spid="7"/>
                                        </p:tgtEl>
                                        <p:attrNameLst>
                                          <p:attrName>style.visibility</p:attrName>
                                        </p:attrNameLst>
                                      </p:cBhvr>
                                      <p:to>
                                        <p:strVal val="visible"/>
                                      </p:to>
                                    </p:set>
                                    <p:anim calcmode="lin" valueType="num">
                                      <p:cBhvr additive="base">
                                        <p:cTn id="36" dur="500" fill="hold"/>
                                        <p:tgtEl>
                                          <p:spTgt spid="7"/>
                                        </p:tgtEl>
                                        <p:attrNameLst>
                                          <p:attrName>ppt_x</p:attrName>
                                        </p:attrNameLst>
                                      </p:cBhvr>
                                      <p:tavLst>
                                        <p:tav tm="0">
                                          <p:val>
                                            <p:strVal val="1+#ppt_w/2"/>
                                          </p:val>
                                        </p:tav>
                                        <p:tav tm="100000">
                                          <p:val>
                                            <p:strVal val="#ppt_x"/>
                                          </p:val>
                                        </p:tav>
                                      </p:tavLst>
                                    </p:anim>
                                    <p:anim calcmode="lin" valueType="num">
                                      <p:cBhvr additive="base">
                                        <p:cTn id="37" dur="500" fill="hold"/>
                                        <p:tgtEl>
                                          <p:spTgt spid="7"/>
                                        </p:tgtEl>
                                        <p:attrNameLst>
                                          <p:attrName>ppt_y</p:attrName>
                                        </p:attrNameLst>
                                      </p:cBhvr>
                                      <p:tavLst>
                                        <p:tav tm="0">
                                          <p:val>
                                            <p:strVal val="#ppt_y"/>
                                          </p:val>
                                        </p:tav>
                                        <p:tav tm="100000">
                                          <p:val>
                                            <p:strVal val="#ppt_y"/>
                                          </p:val>
                                        </p:tav>
                                      </p:tavLst>
                                    </p:anim>
                                  </p:childTnLst>
                                </p:cTn>
                              </p:par>
                            </p:childTnLst>
                          </p:cTn>
                        </p:par>
                        <p:par>
                          <p:cTn id="38" fill="hold">
                            <p:stCondLst>
                              <p:cond delay="4250"/>
                            </p:stCondLst>
                            <p:childTnLst>
                              <p:par>
                                <p:cTn id="39" presetID="49" presetClass="entr" presetSubtype="0" decel="100000" fill="hold" nodeType="after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p:cTn id="41" dur="1000" fill="hold"/>
                                        <p:tgtEl>
                                          <p:spTgt spid="18"/>
                                        </p:tgtEl>
                                        <p:attrNameLst>
                                          <p:attrName>ppt_w</p:attrName>
                                        </p:attrNameLst>
                                      </p:cBhvr>
                                      <p:tavLst>
                                        <p:tav tm="0">
                                          <p:val>
                                            <p:fltVal val="0"/>
                                          </p:val>
                                        </p:tav>
                                        <p:tav tm="100000">
                                          <p:val>
                                            <p:strVal val="#ppt_w"/>
                                          </p:val>
                                        </p:tav>
                                      </p:tavLst>
                                    </p:anim>
                                    <p:anim calcmode="lin" valueType="num">
                                      <p:cBhvr>
                                        <p:cTn id="42" dur="1000" fill="hold"/>
                                        <p:tgtEl>
                                          <p:spTgt spid="18"/>
                                        </p:tgtEl>
                                        <p:attrNameLst>
                                          <p:attrName>ppt_h</p:attrName>
                                        </p:attrNameLst>
                                      </p:cBhvr>
                                      <p:tavLst>
                                        <p:tav tm="0">
                                          <p:val>
                                            <p:fltVal val="0"/>
                                          </p:val>
                                        </p:tav>
                                        <p:tav tm="100000">
                                          <p:val>
                                            <p:strVal val="#ppt_h"/>
                                          </p:val>
                                        </p:tav>
                                      </p:tavLst>
                                    </p:anim>
                                    <p:anim calcmode="lin" valueType="num">
                                      <p:cBhvr>
                                        <p:cTn id="43" dur="1000" fill="hold"/>
                                        <p:tgtEl>
                                          <p:spTgt spid="18"/>
                                        </p:tgtEl>
                                        <p:attrNameLst>
                                          <p:attrName>style.rotation</p:attrName>
                                        </p:attrNameLst>
                                      </p:cBhvr>
                                      <p:tavLst>
                                        <p:tav tm="0">
                                          <p:val>
                                            <p:fltVal val="360"/>
                                          </p:val>
                                        </p:tav>
                                        <p:tav tm="100000">
                                          <p:val>
                                            <p:fltVal val="0"/>
                                          </p:val>
                                        </p:tav>
                                      </p:tavLst>
                                    </p:anim>
                                    <p:animEffect transition="in" filter="fade">
                                      <p:cBhvr>
                                        <p:cTn id="44" dur="1000"/>
                                        <p:tgtEl>
                                          <p:spTgt spid="18"/>
                                        </p:tgtEl>
                                      </p:cBhvr>
                                    </p:animEffect>
                                  </p:childTnLst>
                                </p:cTn>
                              </p:par>
                              <p:par>
                                <p:cTn id="45" presetID="2" presetClass="entr" presetSubtype="2" fill="hold" grpId="0" nodeType="withEffect">
                                  <p:stCondLst>
                                    <p:cond delay="0"/>
                                  </p:stCondLst>
                                  <p:iterate type="lt">
                                    <p:tmPct val="10000"/>
                                  </p:iterate>
                                  <p:childTnLst>
                                    <p:set>
                                      <p:cBhvr>
                                        <p:cTn id="46" dur="1" fill="hold">
                                          <p:stCondLst>
                                            <p:cond delay="0"/>
                                          </p:stCondLst>
                                        </p:cTn>
                                        <p:tgtEl>
                                          <p:spTgt spid="8"/>
                                        </p:tgtEl>
                                        <p:attrNameLst>
                                          <p:attrName>style.visibility</p:attrName>
                                        </p:attrNameLst>
                                      </p:cBhvr>
                                      <p:to>
                                        <p:strVal val="visible"/>
                                      </p:to>
                                    </p:set>
                                    <p:anim calcmode="lin" valueType="num">
                                      <p:cBhvr additive="base">
                                        <p:cTn id="47" dur="500" fill="hold"/>
                                        <p:tgtEl>
                                          <p:spTgt spid="8"/>
                                        </p:tgtEl>
                                        <p:attrNameLst>
                                          <p:attrName>ppt_x</p:attrName>
                                        </p:attrNameLst>
                                      </p:cBhvr>
                                      <p:tavLst>
                                        <p:tav tm="0">
                                          <p:val>
                                            <p:strVal val="1+#ppt_w/2"/>
                                          </p:val>
                                        </p:tav>
                                        <p:tav tm="100000">
                                          <p:val>
                                            <p:strVal val="#ppt_x"/>
                                          </p:val>
                                        </p:tav>
                                      </p:tavLst>
                                    </p:anim>
                                    <p:anim calcmode="lin" valueType="num">
                                      <p:cBhvr additive="base">
                                        <p:cTn id="48" dur="500" fill="hold"/>
                                        <p:tgtEl>
                                          <p:spTgt spid="8"/>
                                        </p:tgtEl>
                                        <p:attrNameLst>
                                          <p:attrName>ppt_y</p:attrName>
                                        </p:attrNameLst>
                                      </p:cBhvr>
                                      <p:tavLst>
                                        <p:tav tm="0">
                                          <p:val>
                                            <p:strVal val="#ppt_y"/>
                                          </p:val>
                                        </p:tav>
                                        <p:tav tm="100000">
                                          <p:val>
                                            <p:strVal val="#ppt_y"/>
                                          </p:val>
                                        </p:tav>
                                      </p:tavLst>
                                    </p:anim>
                                  </p:childTnLst>
                                </p:cTn>
                              </p:par>
                            </p:childTnLst>
                          </p:cTn>
                        </p:par>
                        <p:par>
                          <p:cTn id="49" fill="hold">
                            <p:stCondLst>
                              <p:cond delay="5250"/>
                            </p:stCondLst>
                            <p:childTnLst>
                              <p:par>
                                <p:cTn id="50" presetID="49" presetClass="entr" presetSubtype="0" decel="100000" fill="hold"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1000" fill="hold"/>
                                        <p:tgtEl>
                                          <p:spTgt spid="21"/>
                                        </p:tgtEl>
                                        <p:attrNameLst>
                                          <p:attrName>ppt_w</p:attrName>
                                        </p:attrNameLst>
                                      </p:cBhvr>
                                      <p:tavLst>
                                        <p:tav tm="0">
                                          <p:val>
                                            <p:fltVal val="0"/>
                                          </p:val>
                                        </p:tav>
                                        <p:tav tm="100000">
                                          <p:val>
                                            <p:strVal val="#ppt_w"/>
                                          </p:val>
                                        </p:tav>
                                      </p:tavLst>
                                    </p:anim>
                                    <p:anim calcmode="lin" valueType="num">
                                      <p:cBhvr>
                                        <p:cTn id="53" dur="1000" fill="hold"/>
                                        <p:tgtEl>
                                          <p:spTgt spid="21"/>
                                        </p:tgtEl>
                                        <p:attrNameLst>
                                          <p:attrName>ppt_h</p:attrName>
                                        </p:attrNameLst>
                                      </p:cBhvr>
                                      <p:tavLst>
                                        <p:tav tm="0">
                                          <p:val>
                                            <p:fltVal val="0"/>
                                          </p:val>
                                        </p:tav>
                                        <p:tav tm="100000">
                                          <p:val>
                                            <p:strVal val="#ppt_h"/>
                                          </p:val>
                                        </p:tav>
                                      </p:tavLst>
                                    </p:anim>
                                    <p:anim calcmode="lin" valueType="num">
                                      <p:cBhvr>
                                        <p:cTn id="54" dur="1000" fill="hold"/>
                                        <p:tgtEl>
                                          <p:spTgt spid="21"/>
                                        </p:tgtEl>
                                        <p:attrNameLst>
                                          <p:attrName>style.rotation</p:attrName>
                                        </p:attrNameLst>
                                      </p:cBhvr>
                                      <p:tavLst>
                                        <p:tav tm="0">
                                          <p:val>
                                            <p:fltVal val="360"/>
                                          </p:val>
                                        </p:tav>
                                        <p:tav tm="100000">
                                          <p:val>
                                            <p:fltVal val="0"/>
                                          </p:val>
                                        </p:tav>
                                      </p:tavLst>
                                    </p:anim>
                                    <p:animEffect transition="in" filter="fade">
                                      <p:cBhvr>
                                        <p:cTn id="55" dur="1000"/>
                                        <p:tgtEl>
                                          <p:spTgt spid="21"/>
                                        </p:tgtEl>
                                      </p:cBhvr>
                                    </p:animEffect>
                                  </p:childTnLst>
                                </p:cTn>
                              </p:par>
                              <p:par>
                                <p:cTn id="56" presetID="2" presetClass="entr" presetSubtype="2" fill="hold" grpId="0" nodeType="withEffect">
                                  <p:stCondLst>
                                    <p:cond delay="0"/>
                                  </p:stCondLst>
                                  <p:iterate type="lt">
                                    <p:tmPct val="10000"/>
                                  </p:iterate>
                                  <p:childTnLst>
                                    <p:set>
                                      <p:cBhvr>
                                        <p:cTn id="57" dur="1" fill="hold">
                                          <p:stCondLst>
                                            <p:cond delay="0"/>
                                          </p:stCondLst>
                                        </p:cTn>
                                        <p:tgtEl>
                                          <p:spTgt spid="9"/>
                                        </p:tgtEl>
                                        <p:attrNameLst>
                                          <p:attrName>style.visibility</p:attrName>
                                        </p:attrNameLst>
                                      </p:cBhvr>
                                      <p:to>
                                        <p:strVal val="visible"/>
                                      </p:to>
                                    </p:set>
                                    <p:anim calcmode="lin" valueType="num">
                                      <p:cBhvr additive="base">
                                        <p:cTn id="58" dur="500" fill="hold"/>
                                        <p:tgtEl>
                                          <p:spTgt spid="9"/>
                                        </p:tgtEl>
                                        <p:attrNameLst>
                                          <p:attrName>ppt_x</p:attrName>
                                        </p:attrNameLst>
                                      </p:cBhvr>
                                      <p:tavLst>
                                        <p:tav tm="0">
                                          <p:val>
                                            <p:strVal val="1+#ppt_w/2"/>
                                          </p:val>
                                        </p:tav>
                                        <p:tav tm="100000">
                                          <p:val>
                                            <p:strVal val="#ppt_x"/>
                                          </p:val>
                                        </p:tav>
                                      </p:tavLst>
                                    </p:anim>
                                    <p:anim calcmode="lin" valueType="num">
                                      <p:cBhvr additive="base">
                                        <p:cTn id="59"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P spid="9" grpId="0"/>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1369828088"/>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686049" y="1428750"/>
            <a:ext cx="3381375" cy="2062103"/>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600" b="1" dirty="0" smtClean="0"/>
              <a:t>设备</a:t>
            </a:r>
            <a:r>
              <a:rPr lang="zh-CN" altLang="en-US" sz="1600" b="1" dirty="0"/>
              <a:t>采购应有合同，应符合国家有关规定（政府采购）</a:t>
            </a:r>
          </a:p>
          <a:p>
            <a:pPr marL="285750" indent="-285750">
              <a:buFont typeface="Wingdings" panose="05000000000000000000" pitchFamily="2" charset="2"/>
              <a:buChar char="Ø"/>
            </a:pPr>
            <a:r>
              <a:rPr lang="zh-CN" altLang="en-US" sz="1600" b="1" dirty="0" smtClean="0"/>
              <a:t>设备</a:t>
            </a:r>
            <a:r>
              <a:rPr lang="zh-CN" altLang="en-US" sz="1600" b="1" dirty="0"/>
              <a:t>购置应严格执行预算，不得突破批复的预算</a:t>
            </a:r>
          </a:p>
          <a:p>
            <a:pPr marL="285750" indent="-285750">
              <a:buFont typeface="Wingdings" panose="05000000000000000000" pitchFamily="2" charset="2"/>
              <a:buChar char="Ø"/>
            </a:pPr>
            <a:r>
              <a:rPr lang="zh-CN" altLang="en-US" sz="1600" b="1" dirty="0" smtClean="0"/>
              <a:t>应当</a:t>
            </a:r>
            <a:r>
              <a:rPr lang="zh-CN" altLang="en-US" sz="1600" b="1" dirty="0"/>
              <a:t>严格控制设备购置，鼓励开放共享、自主研制、租赁专用仪器设备以及对现有仪器设备进行升级改造，避免重复购置</a:t>
            </a:r>
          </a:p>
        </p:txBody>
      </p:sp>
      <p:cxnSp>
        <p:nvCxnSpPr>
          <p:cNvPr id="6" name="直接箭头连接符 5"/>
          <p:cNvCxnSpPr/>
          <p:nvPr/>
        </p:nvCxnSpPr>
        <p:spPr>
          <a:xfrm flipV="1">
            <a:off x="4319586" y="628650"/>
            <a:ext cx="0" cy="800100"/>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8" name="TextBox 7"/>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79574652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3674754181"/>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686049" y="1428750"/>
            <a:ext cx="3381375" cy="2308324"/>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600" b="1" dirty="0"/>
              <a:t>大宗、贵重的材料采购应签有合同</a:t>
            </a:r>
            <a:r>
              <a:rPr lang="en-US" altLang="zh-CN" sz="1600" b="1" dirty="0"/>
              <a:t>,</a:t>
            </a:r>
            <a:r>
              <a:rPr lang="zh-CN" altLang="en-US" sz="1600" b="1" dirty="0"/>
              <a:t>应有完整的审批手续</a:t>
            </a:r>
          </a:p>
          <a:p>
            <a:pPr marL="285750" indent="-285750">
              <a:buFont typeface="Wingdings" panose="05000000000000000000" pitchFamily="2" charset="2"/>
              <a:buChar char="Ø"/>
            </a:pPr>
            <a:r>
              <a:rPr lang="zh-CN" altLang="en-US" sz="1600" b="1" dirty="0"/>
              <a:t>采购材料应有完整的材料入库、出库手续</a:t>
            </a:r>
          </a:p>
          <a:p>
            <a:pPr marL="285750" indent="-285750">
              <a:buFont typeface="Wingdings" panose="05000000000000000000" pitchFamily="2" charset="2"/>
              <a:buChar char="Ø"/>
            </a:pPr>
            <a:r>
              <a:rPr lang="zh-CN" altLang="en-US" sz="1600" b="1" dirty="0"/>
              <a:t>大宗、贵重材料严禁以购代耗、以领代耗</a:t>
            </a:r>
          </a:p>
          <a:p>
            <a:pPr marL="285750" indent="-285750">
              <a:buFont typeface="Wingdings" panose="05000000000000000000" pitchFamily="2" charset="2"/>
              <a:buChar char="Ø"/>
            </a:pPr>
            <a:r>
              <a:rPr lang="zh-CN" altLang="en-US" sz="1600" b="1" dirty="0"/>
              <a:t>不得列支大量的日常办公耗材</a:t>
            </a:r>
          </a:p>
          <a:p>
            <a:pPr marL="285750" indent="-285750">
              <a:buFont typeface="Wingdings" panose="05000000000000000000" pitchFamily="2" charset="2"/>
              <a:buChar char="Ø"/>
            </a:pPr>
            <a:r>
              <a:rPr lang="zh-CN" altLang="en-US" sz="1600" b="1" dirty="0">
                <a:solidFill>
                  <a:srgbClr val="FF0000"/>
                </a:solidFill>
              </a:rPr>
              <a:t>目前有请购系统，自行采购也需入库</a:t>
            </a:r>
          </a:p>
        </p:txBody>
      </p:sp>
      <p:cxnSp>
        <p:nvCxnSpPr>
          <p:cNvPr id="6" name="直接箭头连接符 5"/>
          <p:cNvCxnSpPr/>
          <p:nvPr/>
        </p:nvCxnSpPr>
        <p:spPr>
          <a:xfrm flipV="1">
            <a:off x="4319586" y="811330"/>
            <a:ext cx="1023939" cy="617420"/>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8" name="TextBox 7"/>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50079146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919920444"/>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686049" y="1647825"/>
            <a:ext cx="3381375" cy="2800767"/>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600" b="1" dirty="0"/>
              <a:t>严格按照测试化验加工费的定义范围支出经费</a:t>
            </a:r>
          </a:p>
          <a:p>
            <a:pPr marL="285750" indent="-285750">
              <a:buFont typeface="Wingdings" panose="05000000000000000000" pitchFamily="2" charset="2"/>
              <a:buChar char="Ø"/>
            </a:pPr>
            <a:r>
              <a:rPr lang="zh-CN" altLang="en-US" sz="1600" b="1" dirty="0"/>
              <a:t>大宗测试化验加工内容，应签订委托合同；</a:t>
            </a:r>
          </a:p>
          <a:p>
            <a:pPr marL="285750" indent="-285750">
              <a:buFont typeface="Wingdings" panose="05000000000000000000" pitchFamily="2" charset="2"/>
              <a:buChar char="Ø"/>
            </a:pPr>
            <a:r>
              <a:rPr lang="zh-CN" altLang="en-US" sz="1600" b="1" dirty="0"/>
              <a:t>测试内容、单价、测试数量、结果报告、委托合同、等资料应当保存完整；</a:t>
            </a:r>
          </a:p>
          <a:p>
            <a:pPr marL="285750" indent="-285750">
              <a:buFont typeface="Wingdings" panose="05000000000000000000" pitchFamily="2" charset="2"/>
              <a:buChar char="Ø"/>
            </a:pPr>
            <a:r>
              <a:rPr lang="zh-CN" altLang="en-US" sz="1600" b="1" dirty="0"/>
              <a:t>不得以测试化验加工费的名义分立子任务，变相转拨经费。</a:t>
            </a:r>
          </a:p>
          <a:p>
            <a:pPr marL="285750" indent="-285750">
              <a:buFont typeface="Wingdings" panose="05000000000000000000" pitchFamily="2" charset="2"/>
              <a:buChar char="Ø"/>
            </a:pPr>
            <a:r>
              <a:rPr lang="zh-CN" altLang="en-US" sz="1600" b="1" dirty="0">
                <a:solidFill>
                  <a:srgbClr val="FF0000"/>
                </a:solidFill>
              </a:rPr>
              <a:t>注：内部的要保存清单；课题间单次的可签订内部协议</a:t>
            </a:r>
          </a:p>
        </p:txBody>
      </p:sp>
      <p:cxnSp>
        <p:nvCxnSpPr>
          <p:cNvPr id="6" name="直接箭头连接符 5"/>
          <p:cNvCxnSpPr/>
          <p:nvPr/>
        </p:nvCxnSpPr>
        <p:spPr>
          <a:xfrm flipV="1">
            <a:off x="4376736" y="1647825"/>
            <a:ext cx="1690688" cy="89636"/>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8" name="TextBox 7"/>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98606563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2546790868"/>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638424" y="800100"/>
            <a:ext cx="3381375" cy="1569660"/>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600" b="1" dirty="0"/>
              <a:t>用于可以单独计量的仪器设备和专科学装置的相关支出</a:t>
            </a:r>
          </a:p>
          <a:p>
            <a:pPr marL="285750" indent="-285750">
              <a:buFont typeface="Wingdings" panose="05000000000000000000" pitchFamily="2" charset="2"/>
              <a:buChar char="Ø"/>
            </a:pPr>
            <a:r>
              <a:rPr lang="zh-CN" altLang="en-US" sz="1600" b="1" dirty="0"/>
              <a:t>实验室日常水、电、气、暖等支出属于间接费用的开支范围，不能再重复列支或分摊</a:t>
            </a:r>
          </a:p>
          <a:p>
            <a:pPr marL="285750" indent="-285750">
              <a:buFont typeface="Wingdings" panose="05000000000000000000" pitchFamily="2" charset="2"/>
              <a:buChar char="Ø"/>
            </a:pPr>
            <a:r>
              <a:rPr lang="zh-CN" altLang="en-US" sz="1600" b="1" dirty="0">
                <a:solidFill>
                  <a:srgbClr val="FF0000"/>
                </a:solidFill>
              </a:rPr>
              <a:t>具体怎么做符合要求？</a:t>
            </a:r>
          </a:p>
        </p:txBody>
      </p:sp>
      <p:cxnSp>
        <p:nvCxnSpPr>
          <p:cNvPr id="6" name="直接箭头连接符 5"/>
          <p:cNvCxnSpPr/>
          <p:nvPr/>
        </p:nvCxnSpPr>
        <p:spPr>
          <a:xfrm>
            <a:off x="4376736" y="2312610"/>
            <a:ext cx="1776414" cy="554415"/>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8" name="TextBox 7"/>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271466890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690318787"/>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581274" y="1628775"/>
            <a:ext cx="3381375" cy="1569660"/>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600" b="1" dirty="0"/>
              <a:t>落实中办</a:t>
            </a:r>
            <a:r>
              <a:rPr lang="en-US" altLang="zh-CN" sz="1600" b="1" dirty="0"/>
              <a:t>50</a:t>
            </a:r>
            <a:r>
              <a:rPr lang="zh-CN" altLang="en-US" sz="1600" b="1" dirty="0"/>
              <a:t>号文精神。在编制预算时，予以合并，由科研人员结合科研活动实际需要编制预算并按规定统筹安排使用，预算金额不超过直接费用</a:t>
            </a:r>
            <a:r>
              <a:rPr lang="en-US" altLang="zh-CN" sz="1600" b="1" dirty="0"/>
              <a:t>10%</a:t>
            </a:r>
            <a:r>
              <a:rPr lang="zh-CN" altLang="en-US" sz="1600" b="1" dirty="0"/>
              <a:t>，不需要提供预算测算依据。</a:t>
            </a:r>
          </a:p>
        </p:txBody>
      </p:sp>
      <p:pic>
        <p:nvPicPr>
          <p:cNvPr id="5" name="图片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6" name="TextBox 5"/>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7" name="左大括号 6"/>
          <p:cNvSpPr/>
          <p:nvPr/>
        </p:nvSpPr>
        <p:spPr>
          <a:xfrm rot="5005568">
            <a:off x="4362926" y="3083132"/>
            <a:ext cx="969542" cy="1345097"/>
          </a:xfrm>
          <a:prstGeom prst="leftBrace">
            <a:avLst>
              <a:gd name="adj1" fmla="val 0"/>
              <a:gd name="adj2" fmla="val 48379"/>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dirty="0">
              <a:effectLst>
                <a:outerShdw blurRad="50800" dist="38100" dir="2700000" algn="tl" rotWithShape="0">
                  <a:prstClr val="black">
                    <a:alpha val="40000"/>
                  </a:prstClr>
                </a:outerShdw>
              </a:effectLst>
            </a:endParaRPr>
          </a:p>
        </p:txBody>
      </p:sp>
      <p:cxnSp>
        <p:nvCxnSpPr>
          <p:cNvPr id="9" name="直接连接符 8"/>
          <p:cNvCxnSpPr/>
          <p:nvPr/>
        </p:nvCxnSpPr>
        <p:spPr>
          <a:xfrm>
            <a:off x="4866747" y="3755680"/>
            <a:ext cx="33601" cy="40674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969549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3511472167"/>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581273" y="754180"/>
            <a:ext cx="3381375" cy="3323987"/>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400" b="1" dirty="0"/>
              <a:t>我所差旅费新规定按院规定经院备案通过与</a:t>
            </a:r>
            <a:r>
              <a:rPr lang="en-US" altLang="zh-CN" sz="1400" b="1" dirty="0"/>
              <a:t>2016</a:t>
            </a:r>
            <a:r>
              <a:rPr lang="zh-CN" altLang="en-US" sz="1400" b="1" dirty="0"/>
              <a:t>年</a:t>
            </a:r>
            <a:r>
              <a:rPr lang="en-US" altLang="zh-CN" sz="1400" b="1" dirty="0"/>
              <a:t>11</a:t>
            </a:r>
            <a:r>
              <a:rPr lang="zh-CN" altLang="en-US" sz="1400" b="1" dirty="0"/>
              <a:t>月</a:t>
            </a:r>
            <a:r>
              <a:rPr lang="en-US" altLang="zh-CN" sz="1400" b="1" dirty="0"/>
              <a:t>7</a:t>
            </a:r>
            <a:r>
              <a:rPr lang="zh-CN" altLang="en-US" sz="1400" b="1" dirty="0"/>
              <a:t>日起执行</a:t>
            </a:r>
          </a:p>
          <a:p>
            <a:pPr marL="285750" indent="-285750">
              <a:buFont typeface="Wingdings" panose="05000000000000000000" pitchFamily="2" charset="2"/>
              <a:buChar char="Ø"/>
            </a:pPr>
            <a:r>
              <a:rPr lang="zh-CN" altLang="en-US" sz="1400" b="1" dirty="0"/>
              <a:t>范围：我所人员或</a:t>
            </a:r>
            <a:r>
              <a:rPr lang="zh-CN" altLang="en-US" sz="1400" b="1" dirty="0">
                <a:solidFill>
                  <a:srgbClr val="FF0000"/>
                </a:solidFill>
              </a:rPr>
              <a:t>聘请专家</a:t>
            </a:r>
            <a:r>
              <a:rPr lang="zh-CN" altLang="en-US" sz="1400" b="1" dirty="0"/>
              <a:t>等临时到外埠或本市地区出差所发生的城市间交通费、住宿费、伙食补助费和市内</a:t>
            </a:r>
            <a:r>
              <a:rPr lang="zh-CN" altLang="en-US" sz="1400" b="1" dirty="0" smtClean="0"/>
              <a:t>交通费</a:t>
            </a:r>
            <a:endParaRPr lang="en-US" altLang="zh-CN" sz="1400" b="1" dirty="0" smtClean="0"/>
          </a:p>
          <a:p>
            <a:pPr marL="285750" indent="-285750">
              <a:buFont typeface="Wingdings" panose="05000000000000000000" pitchFamily="2" charset="2"/>
              <a:buChar char="Ø"/>
            </a:pPr>
            <a:r>
              <a:rPr lang="zh-CN" altLang="en-US" sz="1400" b="1" dirty="0" smtClean="0">
                <a:solidFill>
                  <a:srgbClr val="FF0000"/>
                </a:solidFill>
              </a:rPr>
              <a:t>注意：</a:t>
            </a:r>
            <a:endParaRPr lang="en-US" altLang="zh-CN" sz="1400" b="1" dirty="0" smtClean="0">
              <a:solidFill>
                <a:srgbClr val="FF0000"/>
              </a:solidFill>
            </a:endParaRPr>
          </a:p>
          <a:p>
            <a:pPr marL="285750" indent="-285750">
              <a:buFont typeface="Wingdings" panose="05000000000000000000" pitchFamily="2" charset="2"/>
              <a:buChar char="Ø"/>
            </a:pPr>
            <a:r>
              <a:rPr lang="zh-CN" altLang="en-US" sz="1400" b="1" dirty="0"/>
              <a:t>出差须填写出差登记单</a:t>
            </a:r>
          </a:p>
          <a:p>
            <a:pPr marL="285750" indent="-285750">
              <a:buFont typeface="Wingdings" panose="05000000000000000000" pitchFamily="2" charset="2"/>
              <a:buChar char="Ø"/>
            </a:pPr>
            <a:r>
              <a:rPr lang="zh-CN" altLang="en-US" sz="1400" b="1" dirty="0"/>
              <a:t>按规定等级乘坐交通工具，按规定住宿费标准入宿酒店，超支自理</a:t>
            </a:r>
          </a:p>
          <a:p>
            <a:pPr marL="285750" indent="-285750">
              <a:buFont typeface="Wingdings" panose="05000000000000000000" pitchFamily="2" charset="2"/>
              <a:buChar char="Ø"/>
            </a:pPr>
            <a:r>
              <a:rPr lang="zh-CN" altLang="en-US" sz="1400" b="1" dirty="0"/>
              <a:t>除西藏青海新疆伙食费每天</a:t>
            </a:r>
            <a:r>
              <a:rPr lang="en-US" altLang="zh-CN" sz="1400" b="1" dirty="0"/>
              <a:t>120</a:t>
            </a:r>
            <a:r>
              <a:rPr lang="zh-CN" altLang="en-US" sz="1400" b="1" dirty="0"/>
              <a:t>元，其他地区为</a:t>
            </a:r>
            <a:r>
              <a:rPr lang="en-US" altLang="zh-CN" sz="1400" b="1" dirty="0"/>
              <a:t>100</a:t>
            </a:r>
            <a:r>
              <a:rPr lang="zh-CN" altLang="en-US" sz="1400" b="1" dirty="0"/>
              <a:t>元</a:t>
            </a:r>
          </a:p>
          <a:p>
            <a:pPr marL="285750" indent="-285750">
              <a:buFont typeface="Wingdings" panose="05000000000000000000" pitchFamily="2" charset="2"/>
              <a:buChar char="Ø"/>
            </a:pPr>
            <a:r>
              <a:rPr lang="zh-CN" altLang="en-US" sz="1400" b="1" dirty="0"/>
              <a:t>出差市内交通费每天</a:t>
            </a:r>
            <a:r>
              <a:rPr lang="en-US" altLang="zh-CN" sz="1400" b="1" dirty="0"/>
              <a:t>80</a:t>
            </a:r>
            <a:r>
              <a:rPr lang="zh-CN" altLang="en-US" sz="1400" b="1" dirty="0"/>
              <a:t>元包干，另去始发站的打的费实报实销</a:t>
            </a:r>
          </a:p>
          <a:p>
            <a:pPr marL="285750" indent="-285750">
              <a:buFont typeface="Wingdings" panose="05000000000000000000" pitchFamily="2" charset="2"/>
              <a:buChar char="Ø"/>
            </a:pPr>
            <a:endParaRPr lang="zh-CN" altLang="en-US" sz="1400" b="1" dirty="0"/>
          </a:p>
        </p:txBody>
      </p:sp>
      <p:cxnSp>
        <p:nvCxnSpPr>
          <p:cNvPr id="5" name="直接箭头连接符 4"/>
          <p:cNvCxnSpPr/>
          <p:nvPr/>
        </p:nvCxnSpPr>
        <p:spPr>
          <a:xfrm>
            <a:off x="4271960" y="3831001"/>
            <a:ext cx="1395414" cy="277208"/>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91074135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1533617049"/>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714875" y="4086839"/>
            <a:ext cx="952499" cy="138604"/>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8" name="TextBox 7"/>
          <p:cNvSpPr txBox="1"/>
          <p:nvPr/>
        </p:nvSpPr>
        <p:spPr>
          <a:xfrm>
            <a:off x="2762247" y="418550"/>
            <a:ext cx="3381375" cy="3970318"/>
          </a:xfrm>
          <a:prstGeom prst="rect">
            <a:avLst/>
          </a:prstGeom>
          <a:noFill/>
        </p:spPr>
        <p:txBody>
          <a:bodyPr wrap="square" rtlCol="0">
            <a:spAutoFit/>
          </a:bodyPr>
          <a:lstStyle/>
          <a:p>
            <a:r>
              <a:rPr lang="zh-CN" altLang="en-US" sz="1400" b="1" dirty="0" smtClean="0"/>
              <a:t>                        差旅费</a:t>
            </a:r>
            <a:r>
              <a:rPr lang="en-US" altLang="zh-CN" sz="1400" b="1" dirty="0"/>
              <a:t>—</a:t>
            </a:r>
            <a:r>
              <a:rPr lang="zh-CN" altLang="en-US" sz="1400" b="1" dirty="0">
                <a:solidFill>
                  <a:srgbClr val="FF0000"/>
                </a:solidFill>
              </a:rPr>
              <a:t>外阜</a:t>
            </a:r>
            <a:r>
              <a:rPr lang="zh-CN" altLang="en-US" sz="1400" b="1" dirty="0"/>
              <a:t>出差</a:t>
            </a:r>
          </a:p>
          <a:p>
            <a:pPr marL="285750" indent="-285750">
              <a:buFont typeface="Wingdings" panose="05000000000000000000" pitchFamily="2" charset="2"/>
              <a:buChar char="Ø"/>
            </a:pPr>
            <a:r>
              <a:rPr lang="zh-CN" altLang="en-US" sz="1400" b="1" dirty="0"/>
              <a:t>特殊情况：</a:t>
            </a:r>
          </a:p>
          <a:p>
            <a:pPr marL="285750" indent="-285750">
              <a:buFont typeface="Wingdings" panose="05000000000000000000" pitchFamily="2" charset="2"/>
              <a:buChar char="Ø"/>
            </a:pPr>
            <a:r>
              <a:rPr lang="zh-CN" altLang="en-US" sz="1400" b="1" dirty="0" smtClean="0"/>
              <a:t>因</a:t>
            </a:r>
            <a:r>
              <a:rPr lang="zh-CN" altLang="en-US" sz="1400" b="1" dirty="0"/>
              <a:t>身体原因确需有人照顾或年龄超过</a:t>
            </a:r>
            <a:r>
              <a:rPr lang="en-US" altLang="zh-CN" sz="1400" b="1" dirty="0"/>
              <a:t>70</a:t>
            </a:r>
            <a:r>
              <a:rPr lang="zh-CN" altLang="en-US" sz="1400" b="1" dirty="0"/>
              <a:t>岁的院士出差，经所领导批准，随行工作一人可乘坐同等级交通工具</a:t>
            </a:r>
          </a:p>
          <a:p>
            <a:pPr marL="285750" indent="-285750">
              <a:buFont typeface="Wingdings" panose="05000000000000000000" pitchFamily="2" charset="2"/>
              <a:buChar char="Ø"/>
            </a:pPr>
            <a:r>
              <a:rPr lang="zh-CN" altLang="en-US" sz="1400" b="1" dirty="0"/>
              <a:t>由于科研任务紧急、携带军工物品、保密要求以及其他特殊原因，出差人员需超标准乘坐交通工具的，事先经所领导批准，可据实报销</a:t>
            </a:r>
          </a:p>
          <a:p>
            <a:pPr marL="285750" indent="-285750">
              <a:buFont typeface="Wingdings" panose="05000000000000000000" pitchFamily="2" charset="2"/>
              <a:buChar char="Ø"/>
            </a:pPr>
            <a:r>
              <a:rPr lang="zh-CN" altLang="en-US" sz="1400" b="1" dirty="0"/>
              <a:t>出差人员在晚</a:t>
            </a:r>
            <a:r>
              <a:rPr lang="en-US" altLang="zh-CN" sz="1400" b="1" dirty="0"/>
              <a:t>8</a:t>
            </a:r>
            <a:r>
              <a:rPr lang="zh-CN" altLang="en-US" sz="1400" b="1" dirty="0"/>
              <a:t>时至次日晨</a:t>
            </a:r>
            <a:r>
              <a:rPr lang="en-US" altLang="zh-CN" sz="1400" b="1" dirty="0"/>
              <a:t>7</a:t>
            </a:r>
            <a:r>
              <a:rPr lang="zh-CN" altLang="en-US" sz="1400" b="1" dirty="0"/>
              <a:t>时期间乘车时间</a:t>
            </a:r>
            <a:r>
              <a:rPr lang="en-US" altLang="zh-CN" sz="1400" b="1" dirty="0"/>
              <a:t>6</a:t>
            </a:r>
            <a:r>
              <a:rPr lang="zh-CN" altLang="en-US" sz="1400" b="1" dirty="0"/>
              <a:t>小时以上的，或连续乘车超过</a:t>
            </a:r>
            <a:r>
              <a:rPr lang="en-US" altLang="zh-CN" sz="1400" b="1" dirty="0"/>
              <a:t>12</a:t>
            </a:r>
            <a:r>
              <a:rPr lang="zh-CN" altLang="en-US" sz="1400" b="1" dirty="0"/>
              <a:t>小时的，经单位领导批准，可以乘坐软卧，按照软卧车票报销</a:t>
            </a:r>
          </a:p>
          <a:p>
            <a:pPr marL="285750" indent="-285750">
              <a:buFont typeface="Wingdings" panose="05000000000000000000" pitchFamily="2" charset="2"/>
              <a:buChar char="Ø"/>
            </a:pPr>
            <a:r>
              <a:rPr lang="zh-CN" altLang="en-US" sz="1400" b="1" dirty="0"/>
              <a:t>出差人员符合乘坐软卧条件而改乘软座的，不给予</a:t>
            </a:r>
            <a:r>
              <a:rPr lang="zh-CN" altLang="en-US" sz="1400" b="1" dirty="0" smtClean="0"/>
              <a:t>补助</a:t>
            </a:r>
            <a:endParaRPr lang="en-US" altLang="zh-CN" sz="1400" b="1" dirty="0" smtClean="0"/>
          </a:p>
          <a:p>
            <a:pPr marL="285750" indent="-285750">
              <a:buFont typeface="Wingdings" panose="05000000000000000000" pitchFamily="2" charset="2"/>
              <a:buChar char="Ø"/>
            </a:pPr>
            <a:r>
              <a:rPr lang="zh-CN" altLang="en-US" sz="1400" b="1" dirty="0"/>
              <a:t>订票费、经批准发生的签转或退票费、交通意外保险费凭据</a:t>
            </a:r>
            <a:r>
              <a:rPr lang="zh-CN" altLang="en-US" sz="1400" b="1" dirty="0" smtClean="0"/>
              <a:t>报销</a:t>
            </a:r>
            <a:endParaRPr lang="zh-CN" altLang="en-US" sz="1400" b="1" dirty="0"/>
          </a:p>
          <a:p>
            <a:pPr marL="285750" indent="-285750">
              <a:buFont typeface="Wingdings" panose="05000000000000000000" pitchFamily="2" charset="2"/>
              <a:buChar char="Ø"/>
            </a:pPr>
            <a:endParaRPr lang="zh-CN" altLang="en-US" sz="1400" b="1" dirty="0"/>
          </a:p>
        </p:txBody>
      </p:sp>
    </p:spTree>
    <p:extLst>
      <p:ext uri="{BB962C8B-B14F-4D97-AF65-F5344CB8AC3E}">
        <p14:creationId xmlns:p14="http://schemas.microsoft.com/office/powerpoint/2010/main" val="44254664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340162993"/>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371975" y="3467100"/>
            <a:ext cx="1295399" cy="758343"/>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9" name="TextBox 8"/>
          <p:cNvSpPr txBox="1"/>
          <p:nvPr/>
        </p:nvSpPr>
        <p:spPr>
          <a:xfrm>
            <a:off x="2562223" y="878005"/>
            <a:ext cx="3381375" cy="2893100"/>
          </a:xfrm>
          <a:prstGeom prst="rect">
            <a:avLst/>
          </a:prstGeom>
          <a:noFill/>
        </p:spPr>
        <p:txBody>
          <a:bodyPr wrap="square" rtlCol="0">
            <a:spAutoFit/>
          </a:bodyPr>
          <a:lstStyle/>
          <a:p>
            <a:r>
              <a:rPr lang="zh-CN" altLang="en-US" sz="1400" b="1" dirty="0" smtClean="0"/>
              <a:t>                    差旅费</a:t>
            </a:r>
            <a:r>
              <a:rPr lang="en-US" altLang="zh-CN" sz="1400" b="1" dirty="0"/>
              <a:t>—</a:t>
            </a:r>
            <a:r>
              <a:rPr lang="zh-CN" altLang="en-US" sz="1400" b="1" dirty="0"/>
              <a:t>外阜</a:t>
            </a:r>
            <a:r>
              <a:rPr lang="zh-CN" altLang="en-US" sz="1400" b="1" dirty="0" smtClean="0"/>
              <a:t>出差</a:t>
            </a:r>
            <a:endParaRPr lang="en-US" altLang="zh-CN" sz="1400" b="1" dirty="0" smtClean="0"/>
          </a:p>
          <a:p>
            <a:endParaRPr lang="zh-CN" altLang="en-US" sz="1400" b="1" dirty="0"/>
          </a:p>
          <a:p>
            <a:pPr marL="285750" indent="-285750">
              <a:buFont typeface="Wingdings" panose="05000000000000000000" pitchFamily="2" charset="2"/>
              <a:buChar char="Ø"/>
            </a:pPr>
            <a:r>
              <a:rPr lang="zh-CN" altLang="en-US" sz="1400" b="1" dirty="0" smtClean="0"/>
              <a:t>到</a:t>
            </a:r>
            <a:r>
              <a:rPr lang="zh-CN" altLang="en-US" sz="1400" b="1" dirty="0"/>
              <a:t>常驻地以外参加会议、培训的</a:t>
            </a:r>
            <a:r>
              <a:rPr lang="zh-CN" altLang="en-US" sz="1400" b="1" dirty="0" smtClean="0"/>
              <a:t>：</a:t>
            </a:r>
            <a:endParaRPr lang="en-US" altLang="zh-CN" sz="1400" b="1" dirty="0" smtClean="0"/>
          </a:p>
          <a:p>
            <a:r>
              <a:rPr lang="zh-CN" altLang="en-US" sz="1400" b="1" dirty="0"/>
              <a:t>因会议、培训期间执行会议和培训费的相关制度。往返会议、培训地点发生的城市间交通费、伙食补助费和市内交通费按照差旅费管理规定的规定报销。会议和培训通知中明确城市间交通费、食宿费由组织单位统一安排的，城市间交通费不再报销，伙食补助费和市内交通费按往返各</a:t>
            </a:r>
            <a:r>
              <a:rPr lang="en-US" altLang="zh-CN" sz="1400" b="1" dirty="0"/>
              <a:t>1</a:t>
            </a:r>
            <a:r>
              <a:rPr lang="zh-CN" altLang="en-US" sz="1400" b="1" dirty="0"/>
              <a:t>天计发，当天往返的按</a:t>
            </a:r>
            <a:r>
              <a:rPr lang="en-US" altLang="zh-CN" sz="1400" b="1" dirty="0"/>
              <a:t>1</a:t>
            </a:r>
            <a:r>
              <a:rPr lang="zh-CN" altLang="en-US" sz="1400" b="1" dirty="0"/>
              <a:t>天计</a:t>
            </a:r>
            <a:r>
              <a:rPr lang="zh-CN" altLang="en-US" sz="1400" b="1" dirty="0" smtClean="0"/>
              <a:t>发</a:t>
            </a:r>
            <a:endParaRPr lang="zh-CN" altLang="en-US" sz="1400" b="1" dirty="0"/>
          </a:p>
          <a:p>
            <a:pPr marL="285750" indent="-285750">
              <a:buFont typeface="Wingdings" panose="05000000000000000000" pitchFamily="2" charset="2"/>
              <a:buChar char="Ø"/>
            </a:pPr>
            <a:endParaRPr lang="zh-CN" altLang="en-US" sz="1400" b="1" dirty="0"/>
          </a:p>
        </p:txBody>
      </p:sp>
    </p:spTree>
    <p:extLst>
      <p:ext uri="{BB962C8B-B14F-4D97-AF65-F5344CB8AC3E}">
        <p14:creationId xmlns:p14="http://schemas.microsoft.com/office/powerpoint/2010/main" val="418079010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1002884400"/>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371975" y="3467100"/>
            <a:ext cx="1295399" cy="758343"/>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8" name="TextBox 7"/>
          <p:cNvSpPr txBox="1"/>
          <p:nvPr/>
        </p:nvSpPr>
        <p:spPr>
          <a:xfrm>
            <a:off x="2681287" y="1382830"/>
            <a:ext cx="3381375" cy="2246769"/>
          </a:xfrm>
          <a:prstGeom prst="rect">
            <a:avLst/>
          </a:prstGeom>
          <a:noFill/>
        </p:spPr>
        <p:txBody>
          <a:bodyPr wrap="square" rtlCol="0">
            <a:spAutoFit/>
          </a:bodyPr>
          <a:lstStyle/>
          <a:p>
            <a:r>
              <a:rPr lang="zh-CN" altLang="en-US" sz="1400" b="1" dirty="0" smtClean="0"/>
              <a:t>                    差旅费</a:t>
            </a:r>
            <a:r>
              <a:rPr lang="en-US" altLang="zh-CN" sz="1400" b="1" dirty="0"/>
              <a:t>—</a:t>
            </a:r>
            <a:r>
              <a:rPr lang="zh-CN" altLang="en-US" sz="1400" b="1" dirty="0"/>
              <a:t>外阜</a:t>
            </a:r>
            <a:r>
              <a:rPr lang="zh-CN" altLang="en-US" sz="1400" b="1" dirty="0" smtClean="0"/>
              <a:t>出差</a:t>
            </a:r>
            <a:endParaRPr lang="en-US" altLang="zh-CN" sz="1400" b="1" dirty="0" smtClean="0"/>
          </a:p>
          <a:p>
            <a:endParaRPr lang="zh-CN" altLang="en-US" sz="1400" b="1" dirty="0"/>
          </a:p>
          <a:p>
            <a:pPr marL="285750" indent="-285750">
              <a:buFont typeface="Wingdings" panose="05000000000000000000" pitchFamily="2" charset="2"/>
              <a:buChar char="Ø"/>
            </a:pPr>
            <a:r>
              <a:rPr lang="zh-CN" altLang="en-US" sz="1400" b="1" dirty="0"/>
              <a:t>出差期间回家省亲办事的</a:t>
            </a:r>
            <a:r>
              <a:rPr lang="en-US" altLang="zh-CN" sz="1400" b="1" dirty="0"/>
              <a:t>:</a:t>
            </a:r>
          </a:p>
          <a:p>
            <a:r>
              <a:rPr lang="zh-CN" altLang="en-US" sz="1400" b="1" dirty="0"/>
              <a:t>城市间交通费按不高于从出差目的地返回单位按规定乘坐相应交通工具的票价予以报销，超出部分由个人自理；伙食补助费和市内交通费按从出差目的地返回单位的天数</a:t>
            </a:r>
            <a:r>
              <a:rPr lang="en-US" altLang="zh-CN" sz="1400" b="1" dirty="0"/>
              <a:t>(</a:t>
            </a:r>
            <a:r>
              <a:rPr lang="zh-CN" altLang="en-US" sz="1400" b="1" dirty="0"/>
              <a:t>扣除回家省亲办事的天数</a:t>
            </a:r>
            <a:r>
              <a:rPr lang="en-US" altLang="zh-CN" sz="1400" b="1" dirty="0"/>
              <a:t>)</a:t>
            </a:r>
            <a:r>
              <a:rPr lang="zh-CN" altLang="en-US" sz="1400" b="1" dirty="0"/>
              <a:t>和规定标准予以报销</a:t>
            </a:r>
          </a:p>
          <a:p>
            <a:pPr marL="285750" indent="-285750">
              <a:buFont typeface="Wingdings" panose="05000000000000000000" pitchFamily="2" charset="2"/>
              <a:buChar char="Ø"/>
            </a:pPr>
            <a:endParaRPr lang="zh-CN" altLang="en-US" sz="1400" b="1" dirty="0"/>
          </a:p>
        </p:txBody>
      </p:sp>
    </p:spTree>
    <p:extLst>
      <p:ext uri="{BB962C8B-B14F-4D97-AF65-F5344CB8AC3E}">
        <p14:creationId xmlns:p14="http://schemas.microsoft.com/office/powerpoint/2010/main" val="38666096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1170541176"/>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371975" y="3467100"/>
            <a:ext cx="1295399" cy="758343"/>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9" name="TextBox 8"/>
          <p:cNvSpPr txBox="1"/>
          <p:nvPr/>
        </p:nvSpPr>
        <p:spPr>
          <a:xfrm>
            <a:off x="2562223" y="878005"/>
            <a:ext cx="3381375" cy="2893100"/>
          </a:xfrm>
          <a:prstGeom prst="rect">
            <a:avLst/>
          </a:prstGeom>
          <a:noFill/>
        </p:spPr>
        <p:txBody>
          <a:bodyPr wrap="square" rtlCol="0">
            <a:spAutoFit/>
          </a:bodyPr>
          <a:lstStyle/>
          <a:p>
            <a:r>
              <a:rPr lang="zh-CN" altLang="en-US" sz="1400" b="1" dirty="0" smtClean="0"/>
              <a:t>                    差旅费</a:t>
            </a:r>
            <a:r>
              <a:rPr lang="en-US" altLang="zh-CN" sz="1400" b="1" dirty="0"/>
              <a:t>—</a:t>
            </a:r>
            <a:r>
              <a:rPr lang="zh-CN" altLang="en-US" sz="1400" b="1" dirty="0"/>
              <a:t>外阜</a:t>
            </a:r>
            <a:r>
              <a:rPr lang="zh-CN" altLang="en-US" sz="1400" b="1" dirty="0" smtClean="0"/>
              <a:t>出差</a:t>
            </a:r>
            <a:endParaRPr lang="en-US" altLang="zh-CN" sz="1400" b="1" dirty="0" smtClean="0"/>
          </a:p>
          <a:p>
            <a:endParaRPr lang="zh-CN" altLang="en-US" sz="1400" b="1" dirty="0"/>
          </a:p>
          <a:p>
            <a:pPr marL="285750" indent="-285750">
              <a:buFont typeface="Wingdings" panose="05000000000000000000" pitchFamily="2" charset="2"/>
              <a:buChar char="Ø"/>
            </a:pPr>
            <a:r>
              <a:rPr lang="zh-CN" altLang="en-US" sz="1400" b="1" dirty="0"/>
              <a:t>调动工作的：</a:t>
            </a:r>
          </a:p>
          <a:p>
            <a:r>
              <a:rPr lang="zh-CN" altLang="en-US" sz="1400" b="1" dirty="0"/>
              <a:t>城市间交通费、住宿费、伙食补助费和市内交通费，按照差旅费管理规定予以一次性报销。随迁家属和搬迁家具发生的费用由调动人员自理</a:t>
            </a:r>
          </a:p>
          <a:p>
            <a:pPr marL="285750" indent="-285750">
              <a:buFont typeface="Wingdings" panose="05000000000000000000" pitchFamily="2" charset="2"/>
              <a:buChar char="Ø"/>
            </a:pPr>
            <a:r>
              <a:rPr lang="zh-CN" altLang="en-US" sz="1400" b="1" dirty="0"/>
              <a:t>本单位以外人员的：</a:t>
            </a:r>
          </a:p>
          <a:p>
            <a:r>
              <a:rPr lang="zh-CN" altLang="en-US" sz="1400" b="1" dirty="0"/>
              <a:t>邀请本单位以外人员开展相关业务活动发生的城市间交通费、住宿费，凭受邀通知明确的事项按差旅费管理规定的标准报销</a:t>
            </a:r>
          </a:p>
          <a:p>
            <a:pPr marL="285750" indent="-285750">
              <a:buFont typeface="Wingdings" panose="05000000000000000000" pitchFamily="2" charset="2"/>
              <a:buChar char="Ø"/>
            </a:pPr>
            <a:endParaRPr lang="zh-CN" altLang="en-US" sz="1400" b="1" dirty="0"/>
          </a:p>
        </p:txBody>
      </p:sp>
    </p:spTree>
    <p:extLst>
      <p:ext uri="{BB962C8B-B14F-4D97-AF65-F5344CB8AC3E}">
        <p14:creationId xmlns:p14="http://schemas.microsoft.com/office/powerpoint/2010/main" val="393242078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3"/>
          <p:cNvSpPr/>
          <p:nvPr/>
        </p:nvSpPr>
        <p:spPr>
          <a:xfrm rot="198227">
            <a:off x="-29491" y="1499516"/>
            <a:ext cx="9192052" cy="649290"/>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0C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5" name="任意多边形 4"/>
          <p:cNvSpPr/>
          <p:nvPr/>
        </p:nvSpPr>
        <p:spPr>
          <a:xfrm rot="21338589" flipV="1">
            <a:off x="-29491" y="1516100"/>
            <a:ext cx="9192052" cy="325553"/>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4B5E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6" name="矩形 5"/>
          <p:cNvSpPr/>
          <p:nvPr/>
        </p:nvSpPr>
        <p:spPr>
          <a:xfrm>
            <a:off x="338288" y="2519213"/>
            <a:ext cx="2339103"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科研财务助理制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7" name="矩形 6"/>
          <p:cNvSpPr/>
          <p:nvPr/>
        </p:nvSpPr>
        <p:spPr>
          <a:xfrm>
            <a:off x="3258590" y="2413136"/>
            <a:ext cx="992580"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善理财</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8" name="矩形 7"/>
          <p:cNvSpPr/>
          <p:nvPr/>
        </p:nvSpPr>
        <p:spPr>
          <a:xfrm>
            <a:off x="5207672" y="2398084"/>
            <a:ext cx="992579"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管好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9" name="矩形 8"/>
          <p:cNvSpPr/>
          <p:nvPr/>
        </p:nvSpPr>
        <p:spPr>
          <a:xfrm>
            <a:off x="7183308" y="2323685"/>
            <a:ext cx="723276"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其他</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10" name="文本框 3"/>
          <p:cNvSpPr txBox="1"/>
          <p:nvPr/>
        </p:nvSpPr>
        <p:spPr>
          <a:xfrm>
            <a:off x="-321961" y="42263"/>
            <a:ext cx="2362389" cy="715581"/>
          </a:xfrm>
          <a:prstGeom prst="rect">
            <a:avLst/>
          </a:prstGeom>
          <a:noFill/>
          <a:effectLst/>
        </p:spPr>
        <p:txBody>
          <a:bodyPr wrap="square" rtlCol="0">
            <a:spAutoFit/>
          </a:bodyPr>
          <a:lstStyle/>
          <a:p>
            <a:pPr algn="ctr"/>
            <a:r>
              <a:rPr lang="zh-CN" altLang="en-US" sz="4050" b="1" dirty="0">
                <a:gradFill flip="none" rotWithShape="1">
                  <a:gsLst>
                    <a:gs pos="0">
                      <a:srgbClr val="04B5EC"/>
                    </a:gs>
                    <a:gs pos="100000">
                      <a:srgbClr val="00C88A"/>
                    </a:gs>
                  </a:gsLst>
                  <a:lin ang="0" scaled="1"/>
                  <a:tileRect/>
                </a:gradFill>
                <a:latin typeface="微软雅黑" pitchFamily="34" charset="-122"/>
                <a:ea typeface="微软雅黑" pitchFamily="34" charset="-122"/>
              </a:rPr>
              <a:t>内容</a:t>
            </a:r>
          </a:p>
        </p:txBody>
      </p:sp>
      <p:grpSp>
        <p:nvGrpSpPr>
          <p:cNvPr id="12" name="组合 11"/>
          <p:cNvGrpSpPr/>
          <p:nvPr/>
        </p:nvGrpSpPr>
        <p:grpSpPr>
          <a:xfrm>
            <a:off x="1093065" y="1251049"/>
            <a:ext cx="973049" cy="963364"/>
            <a:chOff x="1486694" y="2665507"/>
            <a:chExt cx="1297399" cy="1284485"/>
          </a:xfrm>
        </p:grpSpPr>
        <p:sp>
          <p:nvSpPr>
            <p:cNvPr id="13" name="Freeform 5"/>
            <p:cNvSpPr>
              <a:spLocks/>
            </p:cNvSpPr>
            <p:nvPr/>
          </p:nvSpPr>
          <p:spPr bwMode="auto">
            <a:xfrm rot="5400000">
              <a:off x="1476182"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4" name="矩形 13"/>
            <p:cNvSpPr/>
            <p:nvPr/>
          </p:nvSpPr>
          <p:spPr>
            <a:xfrm>
              <a:off x="1486694" y="3047437"/>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rgbClr val="FF0000"/>
                  </a:solidFill>
                  <a:latin typeface="微软雅黑" pitchFamily="34" charset="-122"/>
                  <a:ea typeface="微软雅黑" pitchFamily="34" charset="-122"/>
                </a:rPr>
                <a:t>01</a:t>
              </a:r>
              <a:endParaRPr lang="zh-CN" altLang="en-US" sz="2100" b="1" dirty="0">
                <a:solidFill>
                  <a:srgbClr val="FF0000"/>
                </a:solidFill>
                <a:latin typeface="微软雅黑" pitchFamily="34" charset="-122"/>
                <a:ea typeface="微软雅黑" pitchFamily="34" charset="-122"/>
              </a:endParaRPr>
            </a:p>
          </p:txBody>
        </p:sp>
      </p:grpSp>
      <p:grpSp>
        <p:nvGrpSpPr>
          <p:cNvPr id="15" name="组合 14"/>
          <p:cNvGrpSpPr/>
          <p:nvPr/>
        </p:nvGrpSpPr>
        <p:grpSpPr>
          <a:xfrm>
            <a:off x="3145293" y="1251049"/>
            <a:ext cx="973049" cy="963364"/>
            <a:chOff x="4222998" y="2665507"/>
            <a:chExt cx="1297399" cy="1284485"/>
          </a:xfrm>
        </p:grpSpPr>
        <p:sp>
          <p:nvSpPr>
            <p:cNvPr id="16" name="Freeform 5"/>
            <p:cNvSpPr>
              <a:spLocks/>
            </p:cNvSpPr>
            <p:nvPr/>
          </p:nvSpPr>
          <p:spPr bwMode="auto">
            <a:xfrm rot="5400000">
              <a:off x="4226425"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7" name="矩形 16"/>
            <p:cNvSpPr/>
            <p:nvPr/>
          </p:nvSpPr>
          <p:spPr>
            <a:xfrm>
              <a:off x="4222998" y="3078969"/>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2</a:t>
              </a:r>
              <a:endParaRPr lang="zh-CN" altLang="en-US" sz="2100" b="1" dirty="0">
                <a:latin typeface="微软雅黑" pitchFamily="34" charset="-122"/>
                <a:ea typeface="微软雅黑" pitchFamily="34" charset="-122"/>
              </a:endParaRPr>
            </a:p>
          </p:txBody>
        </p:sp>
      </p:grpSp>
      <p:grpSp>
        <p:nvGrpSpPr>
          <p:cNvPr id="18" name="组合 17"/>
          <p:cNvGrpSpPr/>
          <p:nvPr/>
        </p:nvGrpSpPr>
        <p:grpSpPr>
          <a:xfrm>
            <a:off x="5197521" y="1269038"/>
            <a:ext cx="973049" cy="963364"/>
            <a:chOff x="6959302" y="2689493"/>
            <a:chExt cx="1297399" cy="1284485"/>
          </a:xfrm>
        </p:grpSpPr>
        <p:sp>
          <p:nvSpPr>
            <p:cNvPr id="19" name="Freeform 5"/>
            <p:cNvSpPr>
              <a:spLocks/>
            </p:cNvSpPr>
            <p:nvPr/>
          </p:nvSpPr>
          <p:spPr bwMode="auto">
            <a:xfrm rot="5400000">
              <a:off x="6967655" y="2752168"/>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0" name="矩形 19"/>
            <p:cNvSpPr/>
            <p:nvPr/>
          </p:nvSpPr>
          <p:spPr>
            <a:xfrm>
              <a:off x="6959302" y="3068303"/>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3</a:t>
              </a:r>
              <a:endParaRPr lang="zh-CN" altLang="en-US" sz="2100" b="1" dirty="0">
                <a:latin typeface="微软雅黑" pitchFamily="34" charset="-122"/>
                <a:ea typeface="微软雅黑" pitchFamily="34" charset="-122"/>
              </a:endParaRPr>
            </a:p>
          </p:txBody>
        </p:sp>
      </p:grpSp>
      <p:grpSp>
        <p:nvGrpSpPr>
          <p:cNvPr id="21" name="组合 20"/>
          <p:cNvGrpSpPr/>
          <p:nvPr/>
        </p:nvGrpSpPr>
        <p:grpSpPr>
          <a:xfrm>
            <a:off x="7087731" y="1306820"/>
            <a:ext cx="973049" cy="963364"/>
            <a:chOff x="9479582" y="2562069"/>
            <a:chExt cx="1297399" cy="1284485"/>
          </a:xfrm>
        </p:grpSpPr>
        <p:sp>
          <p:nvSpPr>
            <p:cNvPr id="22" name="Freeform 5"/>
            <p:cNvSpPr>
              <a:spLocks/>
            </p:cNvSpPr>
            <p:nvPr/>
          </p:nvSpPr>
          <p:spPr bwMode="auto">
            <a:xfrm rot="5400000">
              <a:off x="9456528" y="2624744"/>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3" name="矩形 22"/>
            <p:cNvSpPr/>
            <p:nvPr/>
          </p:nvSpPr>
          <p:spPr>
            <a:xfrm>
              <a:off x="9479582" y="2996952"/>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latin typeface="微软雅黑" pitchFamily="34" charset="-122"/>
                  <a:ea typeface="微软雅黑" pitchFamily="34" charset="-122"/>
                </a:rPr>
                <a:t>04</a:t>
              </a:r>
              <a:endParaRPr lang="zh-CN" altLang="en-US" sz="2100" b="1" dirty="0">
                <a:latin typeface="微软雅黑" pitchFamily="34" charset="-122"/>
                <a:ea typeface="微软雅黑" pitchFamily="34" charset="-122"/>
              </a:endParaRPr>
            </a:p>
          </p:txBody>
        </p:sp>
      </p:gr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9237" y="3220593"/>
            <a:ext cx="1060704" cy="1350264"/>
          </a:xfrm>
          <a:prstGeom prst="rect">
            <a:avLst/>
          </a:prstGeom>
        </p:spPr>
      </p:pic>
    </p:spTree>
    <p:extLst>
      <p:ext uri="{BB962C8B-B14F-4D97-AF65-F5344CB8AC3E}">
        <p14:creationId xmlns:p14="http://schemas.microsoft.com/office/powerpoint/2010/main" val="83740211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829682859"/>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371975" y="3467100"/>
            <a:ext cx="1295399" cy="758343"/>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8" name="TextBox 7"/>
          <p:cNvSpPr txBox="1"/>
          <p:nvPr/>
        </p:nvSpPr>
        <p:spPr>
          <a:xfrm>
            <a:off x="2562223" y="1192330"/>
            <a:ext cx="3381375" cy="2246769"/>
          </a:xfrm>
          <a:prstGeom prst="rect">
            <a:avLst/>
          </a:prstGeom>
          <a:noFill/>
        </p:spPr>
        <p:txBody>
          <a:bodyPr wrap="square" rtlCol="0">
            <a:spAutoFit/>
          </a:bodyPr>
          <a:lstStyle/>
          <a:p>
            <a:r>
              <a:rPr lang="zh-CN" altLang="en-US" sz="1400" b="1" dirty="0" smtClean="0"/>
              <a:t>                    差旅费</a:t>
            </a:r>
            <a:r>
              <a:rPr lang="en-US" altLang="zh-CN" sz="1400" b="1" dirty="0"/>
              <a:t>—</a:t>
            </a:r>
            <a:r>
              <a:rPr lang="zh-CN" altLang="en-US" sz="1400" b="1" dirty="0"/>
              <a:t>外阜</a:t>
            </a:r>
            <a:r>
              <a:rPr lang="zh-CN" altLang="en-US" sz="1400" b="1" dirty="0" smtClean="0"/>
              <a:t>出差</a:t>
            </a:r>
            <a:endParaRPr lang="en-US" altLang="zh-CN" sz="1400" b="1" dirty="0" smtClean="0"/>
          </a:p>
          <a:p>
            <a:endParaRPr lang="zh-CN" altLang="en-US" sz="1400" b="1" dirty="0"/>
          </a:p>
          <a:p>
            <a:pPr marL="285750" indent="-285750">
              <a:buFont typeface="Wingdings" panose="05000000000000000000" pitchFamily="2" charset="2"/>
              <a:buChar char="Ø"/>
            </a:pPr>
            <a:r>
              <a:rPr lang="zh-CN" altLang="en-US" sz="1400" b="1" dirty="0"/>
              <a:t>因病住院的：</a:t>
            </a:r>
          </a:p>
          <a:p>
            <a:r>
              <a:rPr lang="zh-CN" altLang="en-US" sz="1400" b="1" dirty="0"/>
              <a:t>原则上按出差规定发放伙食补助费，减半发放公杂费，住院超过</a:t>
            </a:r>
            <a:r>
              <a:rPr lang="en-US" altLang="zh-CN" sz="1400" b="1" dirty="0"/>
              <a:t>30</a:t>
            </a:r>
            <a:r>
              <a:rPr lang="zh-CN" altLang="en-US" sz="1400" b="1" dirty="0"/>
              <a:t>天的，不再发放伙食补助费和公杂费</a:t>
            </a:r>
          </a:p>
          <a:p>
            <a:pPr marL="285750" indent="-285750">
              <a:buFont typeface="Wingdings" panose="05000000000000000000" pitchFamily="2" charset="2"/>
              <a:buChar char="Ø"/>
            </a:pPr>
            <a:r>
              <a:rPr lang="zh-CN" altLang="en-US" sz="1400" b="1" dirty="0"/>
              <a:t>超过一个月的</a:t>
            </a:r>
          </a:p>
          <a:p>
            <a:r>
              <a:rPr lang="zh-CN" altLang="en-US" sz="1400" b="1" dirty="0"/>
              <a:t>出差外埠单位短期工作超过一个月的，伙食补助费原则上减半发放，公杂费凭有效凭证据实</a:t>
            </a:r>
            <a:r>
              <a:rPr lang="zh-CN" altLang="en-US" sz="1400" b="1" dirty="0" smtClean="0"/>
              <a:t>报销</a:t>
            </a:r>
            <a:endParaRPr lang="zh-CN" altLang="en-US" sz="1400" b="1" dirty="0"/>
          </a:p>
        </p:txBody>
      </p:sp>
    </p:spTree>
    <p:extLst>
      <p:ext uri="{BB962C8B-B14F-4D97-AF65-F5344CB8AC3E}">
        <p14:creationId xmlns:p14="http://schemas.microsoft.com/office/powerpoint/2010/main" val="288580826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2423494163"/>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514850" y="3792417"/>
            <a:ext cx="1152524" cy="433026"/>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9" name="TextBox 8"/>
          <p:cNvSpPr txBox="1"/>
          <p:nvPr/>
        </p:nvSpPr>
        <p:spPr>
          <a:xfrm>
            <a:off x="2562223" y="468430"/>
            <a:ext cx="3381375" cy="3323987"/>
          </a:xfrm>
          <a:prstGeom prst="rect">
            <a:avLst/>
          </a:prstGeom>
          <a:noFill/>
        </p:spPr>
        <p:txBody>
          <a:bodyPr wrap="square" rtlCol="0">
            <a:spAutoFit/>
          </a:bodyPr>
          <a:lstStyle/>
          <a:p>
            <a:r>
              <a:rPr lang="zh-CN" altLang="en-US" sz="1400" b="1" dirty="0" smtClean="0"/>
              <a:t>                    差旅费</a:t>
            </a:r>
            <a:r>
              <a:rPr lang="en-US" altLang="zh-CN" sz="1400" b="1" dirty="0" smtClean="0"/>
              <a:t>—</a:t>
            </a:r>
            <a:r>
              <a:rPr lang="zh-CN" altLang="en-US" sz="1400" b="1" dirty="0" smtClean="0">
                <a:solidFill>
                  <a:srgbClr val="FF0000"/>
                </a:solidFill>
              </a:rPr>
              <a:t>郊外</a:t>
            </a:r>
            <a:r>
              <a:rPr lang="zh-CN" altLang="en-US" sz="1400" b="1" dirty="0" smtClean="0"/>
              <a:t>出差</a:t>
            </a:r>
            <a:endParaRPr lang="en-US" altLang="zh-CN" sz="1400" b="1" dirty="0" smtClean="0"/>
          </a:p>
          <a:p>
            <a:endParaRPr lang="zh-CN" altLang="en-US" sz="1400" b="1" dirty="0"/>
          </a:p>
          <a:p>
            <a:pPr marL="285750" indent="-285750">
              <a:buFont typeface="Wingdings" panose="05000000000000000000" pitchFamily="2" charset="2"/>
              <a:buChar char="Ø"/>
            </a:pPr>
            <a:r>
              <a:rPr lang="zh-CN" altLang="en-US" sz="1400" b="1" dirty="0"/>
              <a:t>如临时到本市郊外出差发生住宿费用的工作人员，差旅费报销参照外埠出差，其中公杂费凭有效凭证据实报销。如未发生住宿费用的，其差旅费报销参照市内出差</a:t>
            </a:r>
          </a:p>
          <a:p>
            <a:pPr marL="285750" indent="-285750">
              <a:buFont typeface="Wingdings" panose="05000000000000000000" pitchFamily="2" charset="2"/>
              <a:buChar char="Ø"/>
            </a:pPr>
            <a:r>
              <a:rPr lang="zh-CN" altLang="en-US" sz="1400" b="1" dirty="0"/>
              <a:t>工作人员到远郊区县参加会议、培训的，会议、培训期间执行会议和培训费的相关制度。工作人员到远郊区县参加会议、培训及开展其他业务活动且实际发生住宿、伙食、交通等费用的，按照差旅费管理规定标准报销。统一安排伙食、交通工具的，不再报销伙食补助费和交通费</a:t>
            </a:r>
          </a:p>
        </p:txBody>
      </p:sp>
    </p:spTree>
    <p:extLst>
      <p:ext uri="{BB962C8B-B14F-4D97-AF65-F5344CB8AC3E}">
        <p14:creationId xmlns:p14="http://schemas.microsoft.com/office/powerpoint/2010/main" val="303136866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3734272525"/>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857750" y="4008930"/>
            <a:ext cx="809624" cy="216513"/>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8" name="TextBox 7"/>
          <p:cNvSpPr txBox="1"/>
          <p:nvPr/>
        </p:nvSpPr>
        <p:spPr>
          <a:xfrm>
            <a:off x="2695573" y="438760"/>
            <a:ext cx="3381375" cy="3754874"/>
          </a:xfrm>
          <a:prstGeom prst="rect">
            <a:avLst/>
          </a:prstGeom>
          <a:noFill/>
        </p:spPr>
        <p:txBody>
          <a:bodyPr wrap="square" rtlCol="0">
            <a:spAutoFit/>
          </a:bodyPr>
          <a:lstStyle/>
          <a:p>
            <a:r>
              <a:rPr lang="zh-CN" altLang="en-US" sz="1400" b="1" dirty="0" smtClean="0"/>
              <a:t>                    差旅费</a:t>
            </a:r>
            <a:r>
              <a:rPr lang="en-US" altLang="zh-CN" sz="1400" b="1" dirty="0" smtClean="0"/>
              <a:t>—</a:t>
            </a:r>
            <a:r>
              <a:rPr lang="zh-CN" altLang="en-US" sz="1400" b="1" dirty="0" smtClean="0">
                <a:solidFill>
                  <a:srgbClr val="FF0000"/>
                </a:solidFill>
              </a:rPr>
              <a:t>市内</a:t>
            </a:r>
            <a:r>
              <a:rPr lang="zh-CN" altLang="en-US" sz="1400" b="1" dirty="0" smtClean="0"/>
              <a:t>出差</a:t>
            </a:r>
            <a:endParaRPr lang="en-US" altLang="zh-CN" sz="1400" b="1" dirty="0" smtClean="0"/>
          </a:p>
          <a:p>
            <a:endParaRPr lang="zh-CN" altLang="en-US" sz="1400" b="1" dirty="0"/>
          </a:p>
          <a:p>
            <a:pPr marL="285750" indent="-285750">
              <a:buFont typeface="Wingdings" panose="05000000000000000000" pitchFamily="2" charset="2"/>
              <a:buChar char="Ø"/>
            </a:pPr>
            <a:r>
              <a:rPr lang="zh-CN" altLang="en-US" sz="1400" b="1" dirty="0"/>
              <a:t>市内车费</a:t>
            </a:r>
            <a:r>
              <a:rPr lang="zh-CN" altLang="en-US" sz="1400" b="1" dirty="0" smtClean="0"/>
              <a:t>：</a:t>
            </a:r>
            <a:endParaRPr lang="en-US" altLang="zh-CN" sz="1400" b="1" dirty="0" smtClean="0"/>
          </a:p>
          <a:p>
            <a:r>
              <a:rPr lang="zh-CN" altLang="en-US" sz="1400" b="1" dirty="0"/>
              <a:t>因工作需要发生的市内车费，凭有效凭证据实报销，并在凭证上注明目的地。发生在上班前或下班后时间段内的需要报销的车费，课题组长或部门负责人或主管所领导除在普通报销单上签字外，同时还须在发票上签字。</a:t>
            </a:r>
          </a:p>
          <a:p>
            <a:r>
              <a:rPr lang="zh-CN" altLang="en-US" sz="1400" b="1" dirty="0"/>
              <a:t>发生的市内车费应及时报销，对时间跨度超过一个月的，财务部门有权拒绝报销</a:t>
            </a:r>
          </a:p>
          <a:p>
            <a:pPr marL="285750" indent="-285750">
              <a:buFont typeface="Wingdings" panose="05000000000000000000" pitchFamily="2" charset="2"/>
              <a:buChar char="Ø"/>
            </a:pPr>
            <a:r>
              <a:rPr lang="zh-CN" altLang="en-US" sz="1400" b="1" dirty="0" smtClean="0"/>
              <a:t>市内</a:t>
            </a:r>
            <a:r>
              <a:rPr lang="zh-CN" altLang="en-US" sz="1400" b="1" dirty="0"/>
              <a:t>午餐</a:t>
            </a:r>
            <a:r>
              <a:rPr lang="zh-CN" altLang="en-US" sz="1400" b="1" dirty="0" smtClean="0"/>
              <a:t>费</a:t>
            </a:r>
            <a:endParaRPr lang="en-US" altLang="zh-CN" sz="1400" b="1" dirty="0" smtClean="0"/>
          </a:p>
          <a:p>
            <a:r>
              <a:rPr lang="zh-CN" altLang="en-US" sz="1400" b="1" dirty="0"/>
              <a:t>工作人员因出差超过用餐时间的，参照外埠出差标准减半（即</a:t>
            </a:r>
            <a:r>
              <a:rPr lang="en-US" altLang="zh-CN" sz="1400" b="1" dirty="0"/>
              <a:t>50</a:t>
            </a:r>
            <a:r>
              <a:rPr lang="zh-CN" altLang="en-US" sz="1400" b="1" dirty="0"/>
              <a:t>元</a:t>
            </a:r>
            <a:r>
              <a:rPr lang="en-US" altLang="zh-CN" sz="1400" b="1" dirty="0"/>
              <a:t>/</a:t>
            </a:r>
            <a:r>
              <a:rPr lang="zh-CN" altLang="en-US" sz="1400" b="1" dirty="0"/>
              <a:t>天）包干使用（中晚餐各</a:t>
            </a:r>
            <a:r>
              <a:rPr lang="en-US" altLang="zh-CN" sz="1400" b="1" dirty="0"/>
              <a:t>20</a:t>
            </a:r>
            <a:r>
              <a:rPr lang="zh-CN" altLang="en-US" sz="1400" b="1" dirty="0"/>
              <a:t>元；早餐</a:t>
            </a:r>
            <a:r>
              <a:rPr lang="en-US" altLang="zh-CN" sz="1400" b="1" dirty="0"/>
              <a:t>10</a:t>
            </a:r>
            <a:r>
              <a:rPr lang="zh-CN" altLang="en-US" sz="1400" b="1" dirty="0"/>
              <a:t>元）</a:t>
            </a:r>
          </a:p>
          <a:p>
            <a:pPr marL="285750" indent="-285750">
              <a:buFont typeface="Wingdings" panose="05000000000000000000" pitchFamily="2" charset="2"/>
              <a:buChar char="Ø"/>
            </a:pPr>
            <a:endParaRPr lang="zh-CN" altLang="en-US" sz="1400" b="1" dirty="0"/>
          </a:p>
        </p:txBody>
      </p:sp>
    </p:spTree>
    <p:extLst>
      <p:ext uri="{BB962C8B-B14F-4D97-AF65-F5344CB8AC3E}">
        <p14:creationId xmlns:p14="http://schemas.microsoft.com/office/powerpoint/2010/main" val="1573908901"/>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2613879800"/>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410075" y="3676650"/>
            <a:ext cx="1257299" cy="548793"/>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9" name="TextBox 8"/>
          <p:cNvSpPr txBox="1"/>
          <p:nvPr/>
        </p:nvSpPr>
        <p:spPr>
          <a:xfrm>
            <a:off x="2562223" y="687505"/>
            <a:ext cx="3381375" cy="2893100"/>
          </a:xfrm>
          <a:prstGeom prst="rect">
            <a:avLst/>
          </a:prstGeom>
          <a:noFill/>
        </p:spPr>
        <p:txBody>
          <a:bodyPr wrap="square" rtlCol="0">
            <a:spAutoFit/>
          </a:bodyPr>
          <a:lstStyle/>
          <a:p>
            <a:r>
              <a:rPr lang="zh-CN" altLang="en-US" sz="1400" b="1" dirty="0" smtClean="0"/>
              <a:t>                    差旅费</a:t>
            </a:r>
            <a:r>
              <a:rPr lang="en-US" altLang="zh-CN" sz="1400" b="1" dirty="0" smtClean="0"/>
              <a:t>—</a:t>
            </a:r>
            <a:r>
              <a:rPr lang="zh-CN" altLang="en-US" sz="1400" b="1" dirty="0" smtClean="0">
                <a:solidFill>
                  <a:srgbClr val="FF0000"/>
                </a:solidFill>
              </a:rPr>
              <a:t>市内</a:t>
            </a:r>
            <a:r>
              <a:rPr lang="zh-CN" altLang="en-US" sz="1400" b="1" dirty="0" smtClean="0"/>
              <a:t>出差</a:t>
            </a:r>
            <a:endParaRPr lang="en-US" altLang="zh-CN" sz="1400" b="1" dirty="0" smtClean="0"/>
          </a:p>
          <a:p>
            <a:endParaRPr lang="zh-CN" altLang="en-US" sz="1400" b="1" dirty="0"/>
          </a:p>
          <a:p>
            <a:pPr marL="285750" indent="-285750">
              <a:buFont typeface="Wingdings" panose="05000000000000000000" pitchFamily="2" charset="2"/>
              <a:buChar char="Ø"/>
            </a:pPr>
            <a:r>
              <a:rPr lang="zh-CN" altLang="en-US" sz="1400" b="1" dirty="0"/>
              <a:t>在常驻地（除远郊区县外）参加会议、培训的</a:t>
            </a:r>
          </a:p>
          <a:p>
            <a:r>
              <a:rPr lang="zh-CN" altLang="en-US" sz="1400" b="1" dirty="0"/>
              <a:t>会议、培训期间执行会议和培训费的相关制度。会议和培训通知中明确组织单位不统一安排市内交通、食宿的，市内交通费可据实报销，住宿费一般不予报销，伙食补助费可按照市内误餐费包干使用。开展其他业务活动住宿费一般不予报销，发生伙食、市内交通费用的，伙食补助费可按照市内误餐费包干使用，市内交通费可据实</a:t>
            </a:r>
            <a:r>
              <a:rPr lang="zh-CN" altLang="en-US" sz="1400" b="1" dirty="0" smtClean="0"/>
              <a:t>报销</a:t>
            </a:r>
            <a:endParaRPr lang="zh-CN" altLang="en-US" sz="1400" b="1" dirty="0"/>
          </a:p>
        </p:txBody>
      </p:sp>
    </p:spTree>
    <p:extLst>
      <p:ext uri="{BB962C8B-B14F-4D97-AF65-F5344CB8AC3E}">
        <p14:creationId xmlns:p14="http://schemas.microsoft.com/office/powerpoint/2010/main" val="145178683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1638447759"/>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410075" y="3137492"/>
            <a:ext cx="1257299" cy="1087951"/>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8" name="TextBox 7"/>
          <p:cNvSpPr txBox="1"/>
          <p:nvPr/>
        </p:nvSpPr>
        <p:spPr>
          <a:xfrm>
            <a:off x="2609847" y="1537054"/>
            <a:ext cx="3381375" cy="1600438"/>
          </a:xfrm>
          <a:prstGeom prst="rect">
            <a:avLst/>
          </a:prstGeom>
          <a:noFill/>
        </p:spPr>
        <p:txBody>
          <a:bodyPr wrap="square" rtlCol="0">
            <a:spAutoFit/>
          </a:bodyPr>
          <a:lstStyle/>
          <a:p>
            <a:r>
              <a:rPr lang="zh-CN" altLang="en-US" sz="1400" b="1" dirty="0" smtClean="0"/>
              <a:t>                    差旅费</a:t>
            </a:r>
            <a:r>
              <a:rPr lang="en-US" altLang="zh-CN" sz="1400" b="1" dirty="0" smtClean="0"/>
              <a:t>—</a:t>
            </a:r>
            <a:r>
              <a:rPr lang="zh-CN" altLang="en-US" sz="1400" b="1" dirty="0" smtClean="0"/>
              <a:t>审批流程</a:t>
            </a:r>
            <a:endParaRPr lang="en-US" altLang="zh-CN" sz="1400" b="1" dirty="0" smtClean="0"/>
          </a:p>
          <a:p>
            <a:endParaRPr lang="zh-CN" altLang="en-US" sz="1400" b="1" dirty="0"/>
          </a:p>
          <a:p>
            <a:r>
              <a:rPr lang="zh-CN" altLang="en-US" sz="1400" b="1" dirty="0"/>
              <a:t>一般工作人员须经部门负责人或课题组负责人批准</a:t>
            </a:r>
          </a:p>
          <a:p>
            <a:r>
              <a:rPr lang="zh-CN" altLang="en-US" sz="1400" b="1" dirty="0"/>
              <a:t>部门负责人须经主管所领导批准</a:t>
            </a:r>
          </a:p>
          <a:p>
            <a:r>
              <a:rPr lang="zh-CN" altLang="en-US" sz="1400" b="1" dirty="0"/>
              <a:t>课题组负责人须经研究室主任批准</a:t>
            </a:r>
          </a:p>
          <a:p>
            <a:r>
              <a:rPr lang="zh-CN" altLang="en-US" sz="1400" b="1" dirty="0"/>
              <a:t>研究室主任须经科研管理部门批准</a:t>
            </a:r>
          </a:p>
        </p:txBody>
      </p:sp>
    </p:spTree>
    <p:extLst>
      <p:ext uri="{BB962C8B-B14F-4D97-AF65-F5344CB8AC3E}">
        <p14:creationId xmlns:p14="http://schemas.microsoft.com/office/powerpoint/2010/main" val="244505805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2837880298"/>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743450" y="3962400"/>
            <a:ext cx="923924" cy="263043"/>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9" name="TextBox 8"/>
          <p:cNvSpPr txBox="1"/>
          <p:nvPr/>
        </p:nvSpPr>
        <p:spPr>
          <a:xfrm>
            <a:off x="2562223" y="633115"/>
            <a:ext cx="3381375" cy="3570208"/>
          </a:xfrm>
          <a:prstGeom prst="rect">
            <a:avLst/>
          </a:prstGeom>
          <a:noFill/>
        </p:spPr>
        <p:txBody>
          <a:bodyPr wrap="square" rtlCol="0">
            <a:spAutoFit/>
          </a:bodyPr>
          <a:lstStyle/>
          <a:p>
            <a:r>
              <a:rPr lang="zh-CN" altLang="en-US" sz="1400" b="1" dirty="0" smtClean="0"/>
              <a:t>                    差旅费</a:t>
            </a:r>
            <a:r>
              <a:rPr lang="en-US" altLang="zh-CN" sz="1400" b="1" dirty="0" smtClean="0"/>
              <a:t>—</a:t>
            </a:r>
            <a:r>
              <a:rPr lang="zh-CN" altLang="en-US" sz="1400" b="1" dirty="0" smtClean="0">
                <a:solidFill>
                  <a:srgbClr val="FF0000"/>
                </a:solidFill>
              </a:rPr>
              <a:t>报销要求</a:t>
            </a:r>
            <a:endParaRPr lang="zh-CN" altLang="en-US" sz="1400" b="1" dirty="0">
              <a:solidFill>
                <a:srgbClr val="FF0000"/>
              </a:solidFill>
            </a:endParaRPr>
          </a:p>
          <a:p>
            <a:pPr marL="285750" indent="-285750">
              <a:buFont typeface="Wingdings" panose="05000000000000000000" pitchFamily="2" charset="2"/>
              <a:buChar char="Ø"/>
            </a:pPr>
            <a:r>
              <a:rPr lang="zh-CN" altLang="en-US" sz="1100" b="1" dirty="0"/>
              <a:t>出差人员对差旅费的真实性负直接责任</a:t>
            </a:r>
          </a:p>
          <a:p>
            <a:pPr marL="285750" indent="-285750">
              <a:buFont typeface="Wingdings" panose="05000000000000000000" pitchFamily="2" charset="2"/>
              <a:buChar char="Ø"/>
            </a:pPr>
            <a:r>
              <a:rPr lang="zh-CN" altLang="en-US" sz="1100" b="1" dirty="0"/>
              <a:t>工作人员出差结束后应当及时办理报销手续。差旅费报销时应当提供出差登记单、机票、车票、住宿费发票等（包括登机牌）凭证</a:t>
            </a:r>
          </a:p>
          <a:p>
            <a:pPr marL="285750" indent="-285750">
              <a:buFont typeface="Wingdings" panose="05000000000000000000" pitchFamily="2" charset="2"/>
              <a:buChar char="Ø"/>
            </a:pPr>
            <a:r>
              <a:rPr lang="zh-CN" altLang="en-US" sz="1100" b="1" dirty="0"/>
              <a:t>差旅费中发生的住宿费、机票费原则上按规定使用公务卡等非现金方式结算，其中购买机票原则上购票人可直接使用公务卡在政府采购机票管理网站购买机票，也可通过具备中国民航机票销售资质的各航空公司直销机构或机票销售代理机构，使用公务卡或银行转账方式购买机票（后面单独讲公务机票购买规定）</a:t>
            </a:r>
          </a:p>
          <a:p>
            <a:pPr marL="285750" indent="-285750">
              <a:buFont typeface="Wingdings" panose="05000000000000000000" pitchFamily="2" charset="2"/>
              <a:buChar char="Ø"/>
            </a:pPr>
            <a:r>
              <a:rPr lang="zh-CN" altLang="en-US" sz="1100" b="1" dirty="0"/>
              <a:t>实际发生住宿而无住宿费发票的，如果是住在自己家里的，或到边远地区出差，或邀请方负担，无法取得住宿费发票的，由出差人员说明情况并经所在部门领导批准，可以报销城市间交通费、伙食补助费和市内交通费，其他情况一般不予报销差旅费</a:t>
            </a:r>
          </a:p>
          <a:p>
            <a:pPr marL="285750" indent="-285750">
              <a:buFont typeface="Wingdings" panose="05000000000000000000" pitchFamily="2" charset="2"/>
              <a:buChar char="Ø"/>
            </a:pPr>
            <a:r>
              <a:rPr lang="zh-CN" altLang="en-US" sz="1100" b="1" dirty="0"/>
              <a:t>未按规定开支差旅费的，超支部分由个人自理</a:t>
            </a:r>
          </a:p>
          <a:p>
            <a:pPr marL="285750" indent="-285750">
              <a:buFont typeface="Wingdings" panose="05000000000000000000" pitchFamily="2" charset="2"/>
              <a:buChar char="Ø"/>
            </a:pPr>
            <a:endParaRPr lang="zh-CN" altLang="en-US" sz="1400" b="1" dirty="0"/>
          </a:p>
        </p:txBody>
      </p:sp>
    </p:spTree>
    <p:extLst>
      <p:ext uri="{BB962C8B-B14F-4D97-AF65-F5344CB8AC3E}">
        <p14:creationId xmlns:p14="http://schemas.microsoft.com/office/powerpoint/2010/main" val="282716203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591705276"/>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619625" y="3590925"/>
            <a:ext cx="438150" cy="781050"/>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8" name="TextBox 7"/>
          <p:cNvSpPr txBox="1"/>
          <p:nvPr/>
        </p:nvSpPr>
        <p:spPr>
          <a:xfrm>
            <a:off x="2628898" y="878005"/>
            <a:ext cx="3381375" cy="2970044"/>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100" b="1" dirty="0"/>
              <a:t>我所国内会议费新规定按院规定经院备案通过与</a:t>
            </a:r>
            <a:r>
              <a:rPr lang="en-US" altLang="zh-CN" sz="1100" b="1" dirty="0"/>
              <a:t>2016</a:t>
            </a:r>
            <a:r>
              <a:rPr lang="zh-CN" altLang="en-US" sz="1100" b="1" dirty="0"/>
              <a:t>年</a:t>
            </a:r>
            <a:r>
              <a:rPr lang="en-US" altLang="zh-CN" sz="1100" b="1" dirty="0"/>
              <a:t>11</a:t>
            </a:r>
            <a:r>
              <a:rPr lang="zh-CN" altLang="en-US" sz="1100" b="1" dirty="0"/>
              <a:t>月</a:t>
            </a:r>
            <a:r>
              <a:rPr lang="en-US" altLang="zh-CN" sz="1100" b="1" dirty="0"/>
              <a:t>7</a:t>
            </a:r>
            <a:r>
              <a:rPr lang="zh-CN" altLang="en-US" sz="1100" b="1" dirty="0"/>
              <a:t>日起执行</a:t>
            </a:r>
          </a:p>
          <a:p>
            <a:pPr marL="285750" indent="-285750">
              <a:buFont typeface="Wingdings" panose="05000000000000000000" pitchFamily="2" charset="2"/>
              <a:buChar char="Ø"/>
            </a:pPr>
            <a:r>
              <a:rPr lang="zh-CN" altLang="en-US" sz="1100" b="1" dirty="0"/>
              <a:t>范围：在科研活动过程中由我所主办或承办（包括联合承办）的为科研业务组织的学术交流会、研讨会、咨询会、评审（估）会、协调会、座谈会、答辩会、工作会</a:t>
            </a:r>
            <a:r>
              <a:rPr lang="zh-CN" altLang="en-US" sz="1100" b="1" dirty="0" smtClean="0"/>
              <a:t>等</a:t>
            </a:r>
            <a:endParaRPr lang="en-US" altLang="zh-CN" sz="1100" b="1" dirty="0" smtClean="0"/>
          </a:p>
          <a:p>
            <a:pPr marL="285750" indent="-285750">
              <a:buFont typeface="Wingdings" panose="05000000000000000000" pitchFamily="2" charset="2"/>
              <a:buChar char="Ø"/>
            </a:pPr>
            <a:r>
              <a:rPr lang="zh-CN" altLang="en-US" sz="1100" b="1" dirty="0" smtClean="0">
                <a:solidFill>
                  <a:srgbClr val="FF0000"/>
                </a:solidFill>
              </a:rPr>
              <a:t>注意：</a:t>
            </a:r>
            <a:endParaRPr lang="en-US" altLang="zh-CN" sz="1100" b="1" dirty="0" smtClean="0">
              <a:solidFill>
                <a:srgbClr val="FF0000"/>
              </a:solidFill>
            </a:endParaRPr>
          </a:p>
          <a:p>
            <a:pPr marL="285750" indent="-285750">
              <a:buFont typeface="Wingdings" panose="05000000000000000000" pitchFamily="2" charset="2"/>
              <a:buChar char="Ø"/>
            </a:pPr>
            <a:r>
              <a:rPr lang="zh-CN" altLang="en-US" sz="1100" b="1" dirty="0"/>
              <a:t>事前申请，填写会议预算审批表，会议结束后，填写会议费决算表</a:t>
            </a:r>
          </a:p>
          <a:p>
            <a:pPr marL="285750" indent="-285750">
              <a:buFont typeface="Wingdings" panose="05000000000000000000" pitchFamily="2" charset="2"/>
              <a:buChar char="Ø"/>
            </a:pPr>
            <a:r>
              <a:rPr lang="zh-CN" altLang="en-US" sz="1100" b="1" dirty="0"/>
              <a:t>邀请专家、学者和有关人员的差旅费的，须在邀请通知中明确，按差旅费规定报销</a:t>
            </a:r>
          </a:p>
          <a:p>
            <a:pPr marL="285750" indent="-285750">
              <a:buFont typeface="Wingdings" panose="05000000000000000000" pitchFamily="2" charset="2"/>
              <a:buChar char="Ø"/>
            </a:pPr>
            <a:r>
              <a:rPr lang="zh-CN" altLang="en-US" sz="1100" b="1" dirty="0"/>
              <a:t>会议费支付原则上以银行转账或公务卡等非现金方式结算</a:t>
            </a:r>
          </a:p>
          <a:p>
            <a:pPr marL="285750" indent="-285750">
              <a:buFont typeface="Wingdings" panose="05000000000000000000" pitchFamily="2" charset="2"/>
              <a:buChar char="Ø"/>
            </a:pPr>
            <a:r>
              <a:rPr lang="zh-CN" altLang="en-US" sz="1100" b="1" dirty="0"/>
              <a:t>科研业务性会议，应当按照实事求是、精简高效、厉行节约的原则，确定会议数量、天数和人数</a:t>
            </a:r>
          </a:p>
          <a:p>
            <a:endParaRPr lang="zh-CN" altLang="en-US" sz="1100" b="1" dirty="0">
              <a:solidFill>
                <a:srgbClr val="FF0000"/>
              </a:solidFill>
            </a:endParaRPr>
          </a:p>
        </p:txBody>
      </p:sp>
    </p:spTree>
    <p:extLst>
      <p:ext uri="{BB962C8B-B14F-4D97-AF65-F5344CB8AC3E}">
        <p14:creationId xmlns:p14="http://schemas.microsoft.com/office/powerpoint/2010/main" val="294241046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1460414412"/>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619625" y="3590925"/>
            <a:ext cx="438150" cy="781050"/>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9" name="TextBox 8"/>
          <p:cNvSpPr txBox="1"/>
          <p:nvPr/>
        </p:nvSpPr>
        <p:spPr>
          <a:xfrm>
            <a:off x="2686048" y="992305"/>
            <a:ext cx="3381375" cy="2631490"/>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100" b="1" dirty="0"/>
              <a:t>严格控制会议费支出规模</a:t>
            </a:r>
          </a:p>
          <a:p>
            <a:pPr marL="285750" indent="-285750">
              <a:buFont typeface="Wingdings" panose="05000000000000000000" pitchFamily="2" charset="2"/>
              <a:buChar char="Ø"/>
            </a:pPr>
            <a:r>
              <a:rPr lang="zh-CN" altLang="en-US" sz="1100" b="1" dirty="0"/>
              <a:t>严禁借会议名义组织会餐或安排宴请</a:t>
            </a:r>
          </a:p>
          <a:p>
            <a:pPr marL="285750" indent="-285750">
              <a:buFont typeface="Wingdings" panose="05000000000000000000" pitchFamily="2" charset="2"/>
              <a:buChar char="Ø"/>
            </a:pPr>
            <a:r>
              <a:rPr lang="zh-CN" altLang="en-US" sz="1100" b="1" dirty="0"/>
              <a:t>严禁以任何名义发放纪念品或与会议业务内容无关的物品</a:t>
            </a:r>
          </a:p>
          <a:p>
            <a:pPr marL="285750" indent="-285750">
              <a:buFont typeface="Wingdings" panose="05000000000000000000" pitchFamily="2" charset="2"/>
              <a:buChar char="Ø"/>
            </a:pPr>
            <a:r>
              <a:rPr lang="zh-CN" altLang="en-US" sz="1100" b="1" dirty="0"/>
              <a:t>严禁组织会议代表旅游和与会议无关的参观</a:t>
            </a:r>
          </a:p>
          <a:p>
            <a:pPr marL="285750" indent="-285750">
              <a:buFont typeface="Wingdings" panose="05000000000000000000" pitchFamily="2" charset="2"/>
              <a:buChar char="Ø"/>
            </a:pPr>
            <a:r>
              <a:rPr lang="zh-CN" altLang="en-US" sz="1100" b="1" dirty="0"/>
              <a:t>严禁到党中央、国务院明令禁止的风景名胜区召开会议（如联合承办单位处于风景名胜区，会议只能在单位内部召开）</a:t>
            </a:r>
          </a:p>
          <a:p>
            <a:pPr marL="285750" indent="-285750">
              <a:buFont typeface="Wingdings" panose="05000000000000000000" pitchFamily="2" charset="2"/>
              <a:buChar char="Ø"/>
            </a:pPr>
            <a:r>
              <a:rPr lang="zh-CN" altLang="en-US" sz="1100" b="1" dirty="0"/>
              <a:t>除科研业务性会议外原则上会期不得超过</a:t>
            </a:r>
            <a:r>
              <a:rPr lang="en-US" altLang="zh-CN" sz="1100" b="1" dirty="0"/>
              <a:t>2</a:t>
            </a:r>
            <a:r>
              <a:rPr lang="zh-CN" altLang="en-US" sz="1100" b="1" dirty="0"/>
              <a:t>天、人数不得超过</a:t>
            </a:r>
            <a:r>
              <a:rPr lang="en-US" altLang="zh-CN" sz="1100" b="1" dirty="0"/>
              <a:t>50</a:t>
            </a:r>
            <a:r>
              <a:rPr lang="zh-CN" altLang="en-US" sz="1100" b="1" dirty="0"/>
              <a:t>人</a:t>
            </a:r>
          </a:p>
          <a:p>
            <a:pPr marL="285750" indent="-285750">
              <a:buFont typeface="Wingdings" panose="05000000000000000000" pitchFamily="2" charset="2"/>
              <a:buChar char="Ø"/>
            </a:pPr>
            <a:r>
              <a:rPr lang="zh-CN" altLang="en-US" sz="1100" b="1" dirty="0"/>
              <a:t>会议地点应优先安排在本所内召开，确需在外召开的，应当安排在低于会议综合定额标准的饭（酒）店召开</a:t>
            </a:r>
          </a:p>
          <a:p>
            <a:pPr marL="285750" indent="-285750">
              <a:buFont typeface="Wingdings" panose="05000000000000000000" pitchFamily="2" charset="2"/>
              <a:buChar char="Ø"/>
            </a:pPr>
            <a:r>
              <a:rPr lang="zh-CN" altLang="en-US" sz="1100" b="1" dirty="0"/>
              <a:t>会议会场一律不摆花草，不制作背景板，不提供</a:t>
            </a:r>
            <a:r>
              <a:rPr lang="zh-CN" altLang="en-US" sz="1100" b="1" dirty="0" smtClean="0"/>
              <a:t>水果</a:t>
            </a:r>
            <a:endParaRPr lang="zh-CN" altLang="en-US" sz="1100" b="1" dirty="0"/>
          </a:p>
        </p:txBody>
      </p:sp>
    </p:spTree>
    <p:extLst>
      <p:ext uri="{BB962C8B-B14F-4D97-AF65-F5344CB8AC3E}">
        <p14:creationId xmlns:p14="http://schemas.microsoft.com/office/powerpoint/2010/main" val="313086022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891758883"/>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619625" y="3848049"/>
            <a:ext cx="438150" cy="523926"/>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8" name="TextBox 7"/>
          <p:cNvSpPr txBox="1"/>
          <p:nvPr/>
        </p:nvSpPr>
        <p:spPr>
          <a:xfrm>
            <a:off x="2686048" y="878005"/>
            <a:ext cx="3381375" cy="2970044"/>
          </a:xfrm>
          <a:prstGeom prst="rect">
            <a:avLst/>
          </a:prstGeom>
          <a:noFill/>
        </p:spPr>
        <p:txBody>
          <a:bodyPr wrap="square" rtlCol="0">
            <a:spAutoFit/>
          </a:bodyPr>
          <a:lstStyle/>
          <a:p>
            <a:r>
              <a:rPr lang="zh-CN" altLang="en-US" sz="1100" b="1" dirty="0" smtClean="0"/>
              <a:t>                              会议</a:t>
            </a:r>
            <a:r>
              <a:rPr lang="zh-CN" altLang="en-US" sz="1100" b="1" dirty="0"/>
              <a:t>费</a:t>
            </a:r>
            <a:r>
              <a:rPr lang="en-US" altLang="zh-CN" sz="1100" b="1" dirty="0"/>
              <a:t>—</a:t>
            </a:r>
            <a:r>
              <a:rPr lang="zh-CN" altLang="en-US" sz="1100" b="1" dirty="0">
                <a:solidFill>
                  <a:srgbClr val="FF0000"/>
                </a:solidFill>
              </a:rPr>
              <a:t>开支</a:t>
            </a:r>
            <a:r>
              <a:rPr lang="zh-CN" altLang="en-US" sz="1100" b="1" dirty="0" smtClean="0">
                <a:solidFill>
                  <a:srgbClr val="FF0000"/>
                </a:solidFill>
              </a:rPr>
              <a:t>标准</a:t>
            </a:r>
            <a:endParaRPr lang="en-US" altLang="zh-CN" sz="1100" b="1" dirty="0" smtClean="0">
              <a:solidFill>
                <a:srgbClr val="FF0000"/>
              </a:solidFill>
            </a:endParaRPr>
          </a:p>
          <a:p>
            <a:endParaRPr lang="zh-CN" altLang="en-US" sz="1100" b="1" dirty="0"/>
          </a:p>
          <a:p>
            <a:pPr marL="285750" indent="-285750">
              <a:buFont typeface="Wingdings" panose="05000000000000000000" pitchFamily="2" charset="2"/>
              <a:buChar char="Ø"/>
            </a:pPr>
            <a:r>
              <a:rPr lang="zh-CN" altLang="en-US" sz="1100" b="1" dirty="0"/>
              <a:t>每年的</a:t>
            </a:r>
            <a:r>
              <a:rPr lang="en-US" altLang="zh-CN" sz="1100" b="1" dirty="0"/>
              <a:t>12</a:t>
            </a:r>
            <a:r>
              <a:rPr lang="zh-CN" altLang="en-US" sz="1100" b="1" dirty="0"/>
              <a:t>月至次年的</a:t>
            </a:r>
            <a:r>
              <a:rPr lang="en-US" altLang="zh-CN" sz="1100" b="1" dirty="0"/>
              <a:t>2</a:t>
            </a:r>
            <a:r>
              <a:rPr lang="zh-CN" altLang="en-US" sz="1100" b="1" dirty="0"/>
              <a:t>月会议费按</a:t>
            </a:r>
            <a:r>
              <a:rPr lang="en-US" altLang="zh-CN" sz="1100" b="1" dirty="0"/>
              <a:t>550</a:t>
            </a:r>
            <a:r>
              <a:rPr lang="zh-CN" altLang="en-US" sz="1100" b="1" dirty="0"/>
              <a:t>元</a:t>
            </a:r>
            <a:r>
              <a:rPr lang="en-US" altLang="zh-CN" sz="1100" b="1" dirty="0"/>
              <a:t>/</a:t>
            </a:r>
            <a:r>
              <a:rPr lang="zh-CN" altLang="en-US" sz="1100" b="1" dirty="0"/>
              <a:t>天人基本定额标准控制，如会议未发生住宿费，会议费按会议代表</a:t>
            </a:r>
            <a:r>
              <a:rPr lang="en-US" altLang="zh-CN" sz="1100" b="1" dirty="0"/>
              <a:t>210</a:t>
            </a:r>
            <a:r>
              <a:rPr lang="zh-CN" altLang="en-US" sz="1100" b="1" dirty="0"/>
              <a:t>元</a:t>
            </a:r>
            <a:r>
              <a:rPr lang="en-US" altLang="zh-CN" sz="1100" b="1" dirty="0"/>
              <a:t>/</a:t>
            </a:r>
            <a:r>
              <a:rPr lang="zh-CN" altLang="en-US" sz="1100" b="1" dirty="0"/>
              <a:t>天人控制</a:t>
            </a:r>
          </a:p>
          <a:p>
            <a:pPr marL="285750" indent="-285750">
              <a:buFont typeface="Wingdings" panose="05000000000000000000" pitchFamily="2" charset="2"/>
              <a:buChar char="Ø"/>
            </a:pPr>
            <a:r>
              <a:rPr lang="zh-CN" altLang="en-US" sz="1100" b="1" dirty="0"/>
              <a:t>每年</a:t>
            </a:r>
            <a:r>
              <a:rPr lang="en-US" altLang="zh-CN" sz="1100" b="1" dirty="0"/>
              <a:t>3</a:t>
            </a:r>
            <a:r>
              <a:rPr lang="zh-CN" altLang="en-US" sz="1100" b="1" dirty="0"/>
              <a:t>月至</a:t>
            </a:r>
            <a:r>
              <a:rPr lang="en-US" altLang="zh-CN" sz="1100" b="1" dirty="0"/>
              <a:t>11</a:t>
            </a:r>
            <a:r>
              <a:rPr lang="zh-CN" altLang="en-US" sz="1100" b="1" dirty="0"/>
              <a:t>月举办会议的，定额控制标准上浮比率提高</a:t>
            </a:r>
            <a:r>
              <a:rPr lang="en-US" altLang="zh-CN" sz="1100" b="1" dirty="0"/>
              <a:t>30%</a:t>
            </a:r>
            <a:r>
              <a:rPr lang="zh-CN" altLang="en-US" sz="1100" b="1" dirty="0"/>
              <a:t>（</a:t>
            </a:r>
            <a:r>
              <a:rPr lang="en-US" altLang="zh-CN" sz="1100" b="1" dirty="0"/>
              <a:t>715</a:t>
            </a:r>
            <a:r>
              <a:rPr lang="zh-CN" altLang="en-US" sz="1100" b="1" dirty="0"/>
              <a:t>元）</a:t>
            </a:r>
          </a:p>
          <a:p>
            <a:pPr marL="285750" indent="-285750">
              <a:buFont typeface="Wingdings" panose="05000000000000000000" pitchFamily="2" charset="2"/>
              <a:buChar char="Ø"/>
            </a:pPr>
            <a:r>
              <a:rPr lang="zh-CN" altLang="en-US" sz="1100" b="1" dirty="0"/>
              <a:t>参加会议的外籍知名专家（来自不超过</a:t>
            </a:r>
            <a:r>
              <a:rPr lang="en-US" altLang="zh-CN" sz="1100" b="1" dirty="0"/>
              <a:t>2</a:t>
            </a:r>
            <a:r>
              <a:rPr lang="zh-CN" altLang="en-US" sz="1100" b="1" dirty="0"/>
              <a:t>个国家）和院士达到</a:t>
            </a:r>
            <a:r>
              <a:rPr lang="en-US" altLang="zh-CN" sz="1100" b="1" dirty="0"/>
              <a:t>3</a:t>
            </a:r>
            <a:r>
              <a:rPr lang="zh-CN" altLang="en-US" sz="1100" b="1" dirty="0"/>
              <a:t>人且占参会人数三分之一以上的，定额控制标准可提高</a:t>
            </a:r>
            <a:r>
              <a:rPr lang="en-US" altLang="zh-CN" sz="1100" b="1" dirty="0"/>
              <a:t>20%</a:t>
            </a:r>
          </a:p>
          <a:p>
            <a:pPr marL="285750" indent="-285750">
              <a:buFont typeface="Wingdings" panose="05000000000000000000" pitchFamily="2" charset="2"/>
              <a:buChar char="Ø"/>
            </a:pPr>
            <a:r>
              <a:rPr lang="zh-CN" altLang="en-US" sz="1100" b="1" dirty="0"/>
              <a:t>会议用餐严禁提供高档菜肴，不上烟酒，严格控制菜品种类、数量和份量，安排自助餐或工作餐</a:t>
            </a:r>
          </a:p>
          <a:p>
            <a:pPr marL="285750" indent="-285750">
              <a:buFont typeface="Wingdings" panose="05000000000000000000" pitchFamily="2" charset="2"/>
              <a:buChar char="Ø"/>
            </a:pPr>
            <a:r>
              <a:rPr lang="zh-CN" altLang="en-US" sz="1100" b="1" dirty="0"/>
              <a:t>会议不安排宴请，确需宴请的，须经所领导同意后按所接待费的有关规定执行</a:t>
            </a:r>
          </a:p>
          <a:p>
            <a:pPr marL="285750" indent="-285750">
              <a:buFont typeface="Wingdings" panose="05000000000000000000" pitchFamily="2" charset="2"/>
              <a:buChar char="Ø"/>
            </a:pPr>
            <a:r>
              <a:rPr lang="zh-CN" altLang="en-US" sz="1100" b="1" dirty="0"/>
              <a:t>会议需支付邀请专家、学者咨询（评审）费、讲课费的，支付标准按相关经费管理办法执行</a:t>
            </a:r>
          </a:p>
        </p:txBody>
      </p:sp>
    </p:spTree>
    <p:extLst>
      <p:ext uri="{BB962C8B-B14F-4D97-AF65-F5344CB8AC3E}">
        <p14:creationId xmlns:p14="http://schemas.microsoft.com/office/powerpoint/2010/main" val="184418990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356399904"/>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467225" y="3357035"/>
            <a:ext cx="590550" cy="1014940"/>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9" name="TextBox 8"/>
          <p:cNvSpPr txBox="1"/>
          <p:nvPr/>
        </p:nvSpPr>
        <p:spPr>
          <a:xfrm>
            <a:off x="2686047" y="1125655"/>
            <a:ext cx="3381375" cy="2231380"/>
          </a:xfrm>
          <a:prstGeom prst="rect">
            <a:avLst/>
          </a:prstGeom>
          <a:noFill/>
        </p:spPr>
        <p:txBody>
          <a:bodyPr wrap="square" rtlCol="0">
            <a:spAutoFit/>
          </a:bodyPr>
          <a:lstStyle/>
          <a:p>
            <a:pPr marL="441325" indent="-441325"/>
            <a:r>
              <a:rPr lang="zh-CN" altLang="en-US" sz="1100" b="1" dirty="0" smtClean="0">
                <a:latin typeface="方正粗雅宋_GBK" pitchFamily="2" charset="-122"/>
                <a:ea typeface="方正粗雅宋_GBK" pitchFamily="2" charset="-122"/>
              </a:rPr>
              <a:t>           </a:t>
            </a:r>
            <a:r>
              <a:rPr lang="zh-CN" altLang="en-US" sz="1600" b="1" dirty="0" smtClean="0">
                <a:latin typeface="方正粗雅宋_GBK" pitchFamily="2" charset="-122"/>
                <a:ea typeface="方正粗雅宋_GBK" pitchFamily="2" charset="-122"/>
              </a:rPr>
              <a:t>会议</a:t>
            </a:r>
            <a:r>
              <a:rPr lang="zh-CN" altLang="en-US" sz="1600" b="1" dirty="0">
                <a:latin typeface="方正粗雅宋_GBK" pitchFamily="2" charset="-122"/>
                <a:ea typeface="方正粗雅宋_GBK" pitchFamily="2" charset="-122"/>
              </a:rPr>
              <a:t>费</a:t>
            </a:r>
            <a:r>
              <a:rPr lang="en-US" altLang="zh-CN" sz="1600" b="1" dirty="0">
                <a:latin typeface="方正粗雅宋_GBK" pitchFamily="2" charset="-122"/>
                <a:ea typeface="方正粗雅宋_GBK" pitchFamily="2" charset="-122"/>
              </a:rPr>
              <a:t>—</a:t>
            </a:r>
            <a:r>
              <a:rPr lang="zh-CN" altLang="en-US" sz="1600" b="1" dirty="0">
                <a:solidFill>
                  <a:srgbClr val="FF0000"/>
                </a:solidFill>
                <a:latin typeface="方正粗雅宋_GBK" pitchFamily="2" charset="-122"/>
                <a:ea typeface="方正粗雅宋_GBK" pitchFamily="2" charset="-122"/>
              </a:rPr>
              <a:t>审批程序</a:t>
            </a:r>
            <a:endParaRPr lang="en-US" altLang="zh-CN" sz="1600" b="1" dirty="0">
              <a:solidFill>
                <a:srgbClr val="FF0000"/>
              </a:solidFill>
              <a:latin typeface="方正粗雅宋_GBK" pitchFamily="2" charset="-122"/>
              <a:ea typeface="方正粗雅宋_GBK" pitchFamily="2" charset="-122"/>
            </a:endParaRPr>
          </a:p>
          <a:p>
            <a:endParaRPr lang="zh-CN" altLang="en-US" sz="1100" b="1" dirty="0"/>
          </a:p>
          <a:p>
            <a:pPr marL="285750" indent="-285750">
              <a:buFont typeface="Wingdings" panose="05000000000000000000" pitchFamily="2" charset="2"/>
              <a:buChar char="Ø"/>
            </a:pPr>
            <a:r>
              <a:rPr lang="zh-CN" altLang="en-US" sz="1600" b="1" dirty="0"/>
              <a:t>各部门承办的科研业务性会议，由承办部门负责人审批</a:t>
            </a:r>
          </a:p>
          <a:p>
            <a:pPr marL="285750" indent="-285750">
              <a:buFont typeface="Wingdings" panose="05000000000000000000" pitchFamily="2" charset="2"/>
              <a:buChar char="Ø"/>
            </a:pPr>
            <a:r>
              <a:rPr lang="zh-CN" altLang="en-US" sz="1600" b="1" dirty="0"/>
              <a:t>各部门承办的行政管理性会议，报主管所领导审批</a:t>
            </a:r>
          </a:p>
          <a:p>
            <a:pPr marL="285750" indent="-285750">
              <a:buFont typeface="Wingdings" panose="05000000000000000000" pitchFamily="2" charset="2"/>
              <a:buChar char="Ø"/>
            </a:pPr>
            <a:r>
              <a:rPr lang="zh-CN" altLang="en-US" sz="1600" b="1" dirty="0"/>
              <a:t>会议结束后编制的会议决算表须留存党政办公室后办理财务报销手续</a:t>
            </a:r>
          </a:p>
        </p:txBody>
      </p:sp>
    </p:spTree>
    <p:extLst>
      <p:ext uri="{BB962C8B-B14F-4D97-AF65-F5344CB8AC3E}">
        <p14:creationId xmlns:p14="http://schemas.microsoft.com/office/powerpoint/2010/main" val="15283902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任意多边形 4"/>
          <p:cNvSpPr/>
          <p:nvPr/>
        </p:nvSpPr>
        <p:spPr>
          <a:xfrm rot="198227">
            <a:off x="-19215" y="235454"/>
            <a:ext cx="9192052" cy="649290"/>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0C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6" name="任意多边形 5"/>
          <p:cNvSpPr/>
          <p:nvPr/>
        </p:nvSpPr>
        <p:spPr>
          <a:xfrm rot="21338589" flipV="1">
            <a:off x="-24934" y="224856"/>
            <a:ext cx="9192052" cy="325553"/>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4B5E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7" name="Freeform 5"/>
          <p:cNvSpPr>
            <a:spLocks/>
          </p:cNvSpPr>
          <p:nvPr/>
        </p:nvSpPr>
        <p:spPr bwMode="auto">
          <a:xfrm rot="5400000">
            <a:off x="4021697" y="-1073619"/>
            <a:ext cx="709959" cy="3171839"/>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dirty="0"/>
          </a:p>
        </p:txBody>
      </p:sp>
      <p:sp>
        <p:nvSpPr>
          <p:cNvPr id="8" name="矩形 7"/>
          <p:cNvSpPr/>
          <p:nvPr/>
        </p:nvSpPr>
        <p:spPr>
          <a:xfrm>
            <a:off x="3854555" y="138270"/>
            <a:ext cx="973049" cy="32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t>01</a:t>
            </a:r>
            <a:endParaRPr lang="zh-CN" altLang="en-US" sz="2400" b="1" dirty="0"/>
          </a:p>
        </p:txBody>
      </p:sp>
      <p:sp>
        <p:nvSpPr>
          <p:cNvPr id="9" name="文本框 3"/>
          <p:cNvSpPr txBox="1"/>
          <p:nvPr/>
        </p:nvSpPr>
        <p:spPr>
          <a:xfrm>
            <a:off x="3046230" y="329267"/>
            <a:ext cx="2783016" cy="461665"/>
          </a:xfrm>
          <a:prstGeom prst="rect">
            <a:avLst/>
          </a:prstGeom>
          <a:noFill/>
          <a:effectLst/>
        </p:spPr>
        <p:txBody>
          <a:bodyPr wrap="square" rtlCol="0">
            <a:spAutoFit/>
          </a:bodyPr>
          <a:lstStyle/>
          <a:p>
            <a:r>
              <a:rPr lang="zh-CN" altLang="en-US" sz="2400" b="1" dirty="0" smtClean="0">
                <a:solidFill>
                  <a:srgbClr val="FBFCF2"/>
                </a:solidFill>
                <a:latin typeface="微软雅黑" pitchFamily="34" charset="-122"/>
                <a:ea typeface="微软雅黑" pitchFamily="34" charset="-122"/>
              </a:rPr>
              <a:t>科研财务助理制度</a:t>
            </a:r>
            <a:endParaRPr lang="zh-CN" altLang="en-US" sz="2400" b="1" dirty="0">
              <a:solidFill>
                <a:srgbClr val="FBFCF2"/>
              </a:solidFill>
              <a:latin typeface="微软雅黑" pitchFamily="34" charset="-122"/>
              <a:ea typeface="微软雅黑" pitchFamily="34" charset="-122"/>
            </a:endParaRPr>
          </a:p>
        </p:txBody>
      </p:sp>
      <p:sp>
        <p:nvSpPr>
          <p:cNvPr id="10" name="矩形 9"/>
          <p:cNvSpPr/>
          <p:nvPr/>
        </p:nvSpPr>
        <p:spPr>
          <a:xfrm>
            <a:off x="486873" y="1149074"/>
            <a:ext cx="1223412" cy="369332"/>
          </a:xfrm>
          <a:prstGeom prst="rect">
            <a:avLst/>
          </a:prstGeom>
        </p:spPr>
        <p:txBody>
          <a:bodyPr wrap="none">
            <a:spAutoFit/>
          </a:bodyPr>
          <a:lstStyle/>
          <a:p>
            <a:pPr marL="342900" indent="-342900">
              <a:buFont typeface="Wingdings" pitchFamily="2" charset="2"/>
              <a:buChar char="l"/>
            </a:pPr>
            <a:r>
              <a:rPr lang="zh-CN" altLang="en-US" sz="1800" b="1" dirty="0" smtClean="0">
                <a:solidFill>
                  <a:srgbClr val="EEECE1">
                    <a:lumMod val="25000"/>
                  </a:srgbClr>
                </a:solidFill>
                <a:latin typeface="微软雅黑" pitchFamily="34" charset="-122"/>
                <a:ea typeface="微软雅黑" pitchFamily="34" charset="-122"/>
              </a:rPr>
              <a:t>重要性</a:t>
            </a:r>
            <a:endParaRPr lang="en-US" altLang="zh-CN" sz="1800" b="1" dirty="0">
              <a:solidFill>
                <a:srgbClr val="EEECE1">
                  <a:lumMod val="25000"/>
                </a:srgbClr>
              </a:solidFill>
              <a:latin typeface="微软雅黑" pitchFamily="34" charset="-122"/>
              <a:ea typeface="微软雅黑" pitchFamily="34" charset="-122"/>
            </a:endParaRPr>
          </a:p>
        </p:txBody>
      </p:sp>
      <p:grpSp>
        <p:nvGrpSpPr>
          <p:cNvPr id="14" name="组合 22"/>
          <p:cNvGrpSpPr>
            <a:grpSpLocks/>
          </p:cNvGrpSpPr>
          <p:nvPr/>
        </p:nvGrpSpPr>
        <p:grpSpPr bwMode="auto">
          <a:xfrm>
            <a:off x="1872210" y="1060179"/>
            <a:ext cx="7056282" cy="528607"/>
            <a:chOff x="2571737" y="1676782"/>
            <a:chExt cx="4844228" cy="1229509"/>
          </a:xfrm>
        </p:grpSpPr>
        <p:sp>
          <p:nvSpPr>
            <p:cNvPr id="15" name="矩形 14"/>
            <p:cNvSpPr/>
            <p:nvPr/>
          </p:nvSpPr>
          <p:spPr>
            <a:xfrm>
              <a:off x="2571737" y="1676782"/>
              <a:ext cx="4844228" cy="1229509"/>
            </a:xfrm>
            <a:prstGeom prst="rect">
              <a:avLst/>
            </a:prstGeom>
            <a:solidFill>
              <a:schemeClr val="bg2">
                <a:lumMod val="90000"/>
                <a:alpha val="20000"/>
              </a:schemeClr>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a:p>
          </p:txBody>
        </p:sp>
        <p:sp>
          <p:nvSpPr>
            <p:cNvPr id="16" name="矩形 40"/>
            <p:cNvSpPr>
              <a:spLocks noChangeArrowheads="1"/>
            </p:cNvSpPr>
            <p:nvPr/>
          </p:nvSpPr>
          <p:spPr bwMode="auto">
            <a:xfrm>
              <a:off x="2609399" y="1747021"/>
              <a:ext cx="4749386" cy="675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800" b="1" dirty="0" smtClean="0">
                  <a:solidFill>
                    <a:srgbClr val="FF0000"/>
                  </a:solidFill>
                  <a:latin typeface="方正粗雅宋_GBK" pitchFamily="2" charset="-122"/>
                  <a:ea typeface="方正粗雅宋_GBK" pitchFamily="2" charset="-122"/>
                </a:rPr>
                <a:t>是管理工作的重要组成部分。是支撑各项科研、管理工作的基础</a:t>
              </a:r>
              <a:endParaRPr lang="zh-CN" altLang="en-US" sz="1800" b="1" dirty="0">
                <a:solidFill>
                  <a:srgbClr val="FF0000"/>
                </a:solidFill>
                <a:latin typeface="方正粗雅宋_GBK" pitchFamily="2" charset="-122"/>
                <a:ea typeface="方正粗雅宋_GBK" pitchFamily="2" charset="-122"/>
              </a:endParaRPr>
            </a:p>
          </p:txBody>
        </p:sp>
      </p:grpSp>
      <p:sp>
        <p:nvSpPr>
          <p:cNvPr id="17" name="矩形 16"/>
          <p:cNvSpPr/>
          <p:nvPr/>
        </p:nvSpPr>
        <p:spPr bwMode="auto">
          <a:xfrm>
            <a:off x="45914" y="1727180"/>
            <a:ext cx="9174286" cy="3416320"/>
          </a:xfrm>
          <a:prstGeom prst="rect">
            <a:avLst/>
          </a:prstGeom>
        </p:spPr>
        <p:txBody>
          <a:bodyPr wrap="square">
            <a:spAutoFit/>
          </a:bodyPr>
          <a:lstStyle/>
          <a:p>
            <a:pPr marL="352425" indent="-352425" fontAlgn="auto">
              <a:lnSpc>
                <a:spcPct val="150000"/>
              </a:lnSpc>
              <a:spcBef>
                <a:spcPts val="0"/>
              </a:spcBef>
              <a:spcAft>
                <a:spcPts val="0"/>
              </a:spcAft>
              <a:buClr>
                <a:srgbClr val="FFFF00"/>
              </a:buClr>
              <a:buFont typeface="Wingdings" pitchFamily="2" charset="2"/>
              <a:buChar char="n"/>
              <a:defRPr/>
            </a:pPr>
            <a:r>
              <a:rPr lang="zh-CN" altLang="en-US" sz="1800" dirty="0" smtClean="0">
                <a:ln w="3175">
                  <a:solidFill>
                    <a:schemeClr val="tx1"/>
                  </a:solidFill>
                </a:ln>
                <a:latin typeface="方正风雅宋简体" pitchFamily="2" charset="-122"/>
                <a:ea typeface="方正风雅宋简体" pitchFamily="2" charset="-122"/>
              </a:rPr>
              <a:t>首先，财务工作的对象</a:t>
            </a:r>
            <a:r>
              <a:rPr lang="en-US" altLang="zh-CN" sz="1800" dirty="0" smtClean="0">
                <a:ln w="3175">
                  <a:solidFill>
                    <a:schemeClr val="tx1"/>
                  </a:solidFill>
                </a:ln>
                <a:latin typeface="方正风雅宋简体" pitchFamily="2" charset="-122"/>
                <a:ea typeface="方正风雅宋简体" pitchFamily="2" charset="-122"/>
              </a:rPr>
              <a:t>——</a:t>
            </a:r>
            <a:r>
              <a:rPr lang="zh-CN" altLang="en-US" sz="1800" dirty="0" smtClean="0">
                <a:ln w="3175">
                  <a:solidFill>
                    <a:schemeClr val="tx1"/>
                  </a:solidFill>
                </a:ln>
                <a:latin typeface="方正风雅宋简体" pitchFamily="2" charset="-122"/>
                <a:ea typeface="方正风雅宋简体" pitchFamily="2" charset="-122"/>
              </a:rPr>
              <a:t>资金或经济资源是支撑单位事业发展的物质基础和主要资源之一。也是单位事业发展成果的具体体现，管好用好这些资源是保证我所各项事业全面协调可持续发展的基本前提和必然要求</a:t>
            </a:r>
            <a:endParaRPr lang="en-US" altLang="zh-CN" sz="1800" dirty="0" smtClean="0">
              <a:ln w="3175">
                <a:solidFill>
                  <a:schemeClr val="tx1"/>
                </a:solidFill>
              </a:ln>
              <a:latin typeface="方正风雅宋简体" pitchFamily="2" charset="-122"/>
              <a:ea typeface="方正风雅宋简体" pitchFamily="2" charset="-122"/>
            </a:endParaRPr>
          </a:p>
          <a:p>
            <a:pPr marL="352425" indent="-352425" fontAlgn="auto">
              <a:lnSpc>
                <a:spcPct val="150000"/>
              </a:lnSpc>
              <a:spcBef>
                <a:spcPts val="0"/>
              </a:spcBef>
              <a:spcAft>
                <a:spcPts val="0"/>
              </a:spcAft>
              <a:buClr>
                <a:srgbClr val="FFFF00"/>
              </a:buClr>
              <a:buFont typeface="Wingdings" pitchFamily="2" charset="2"/>
              <a:buChar char="n"/>
              <a:defRPr/>
            </a:pPr>
            <a:r>
              <a:rPr lang="zh-CN" altLang="en-US" sz="1800" dirty="0" smtClean="0">
                <a:ln w="3175">
                  <a:solidFill>
                    <a:schemeClr val="tx1"/>
                  </a:solidFill>
                </a:ln>
                <a:latin typeface="方正风雅宋简体" pitchFamily="2" charset="-122"/>
                <a:ea typeface="方正风雅宋简体" pitchFamily="2" charset="-122"/>
              </a:rPr>
              <a:t>其次，财务工作是真实客观反映经济活动的平台，通过一系列专业方法，记录经济活动信息，分析经济活动规律，揭示经济现象本质，为管理和决策活动提供基本支持</a:t>
            </a:r>
            <a:endParaRPr lang="en-US" altLang="zh-CN" sz="1800" dirty="0" smtClean="0">
              <a:ln w="3175">
                <a:solidFill>
                  <a:schemeClr val="tx1"/>
                </a:solidFill>
              </a:ln>
              <a:latin typeface="方正风雅宋简体" pitchFamily="2" charset="-122"/>
              <a:ea typeface="方正风雅宋简体" pitchFamily="2" charset="-122"/>
            </a:endParaRPr>
          </a:p>
          <a:p>
            <a:pPr marL="352425" indent="-352425" fontAlgn="auto">
              <a:lnSpc>
                <a:spcPct val="150000"/>
              </a:lnSpc>
              <a:spcBef>
                <a:spcPts val="0"/>
              </a:spcBef>
              <a:spcAft>
                <a:spcPts val="0"/>
              </a:spcAft>
              <a:buClr>
                <a:srgbClr val="FFFF00"/>
              </a:buClr>
              <a:buFont typeface="Wingdings" pitchFamily="2" charset="2"/>
              <a:buChar char="n"/>
              <a:defRPr/>
            </a:pPr>
            <a:r>
              <a:rPr lang="zh-CN" altLang="en-US" sz="1800" dirty="0" smtClean="0">
                <a:ln w="3175">
                  <a:solidFill>
                    <a:schemeClr val="tx1"/>
                  </a:solidFill>
                </a:ln>
                <a:latin typeface="方正风雅宋简体" pitchFamily="2" charset="-122"/>
                <a:ea typeface="方正风雅宋简体" pitchFamily="2" charset="-122"/>
              </a:rPr>
              <a:t>第三，财务工作通过其监督、经济评价、分析预测及</a:t>
            </a:r>
            <a:r>
              <a:rPr lang="zh-CN" altLang="en-US" sz="1800" dirty="0">
                <a:ln w="3175">
                  <a:solidFill>
                    <a:schemeClr val="tx1"/>
                  </a:solidFill>
                </a:ln>
                <a:latin typeface="方正风雅宋简体" pitchFamily="2" charset="-122"/>
                <a:ea typeface="方正风雅宋简体" pitchFamily="2" charset="-122"/>
              </a:rPr>
              <a:t>资源调配等</a:t>
            </a:r>
            <a:r>
              <a:rPr lang="zh-CN" altLang="en-US" sz="1800" dirty="0" smtClean="0">
                <a:ln w="3175">
                  <a:solidFill>
                    <a:schemeClr val="tx1"/>
                  </a:solidFill>
                </a:ln>
                <a:latin typeface="方正风雅宋简体" pitchFamily="2" charset="-122"/>
                <a:ea typeface="方正风雅宋简体" pitchFamily="2" charset="-122"/>
              </a:rPr>
              <a:t>职能实现对经济活动和科研活动的控制作用，引导科研活动瞄准国家战略需求和单位发展目标与定位开展工作</a:t>
            </a:r>
            <a:endParaRPr lang="en-US" altLang="zh-CN" sz="1800" dirty="0">
              <a:ln w="3175">
                <a:solidFill>
                  <a:schemeClr val="tx1"/>
                </a:solidFill>
              </a:ln>
              <a:latin typeface="方正风雅宋简体" pitchFamily="2" charset="-122"/>
              <a:ea typeface="方正风雅宋简体" pitchFamily="2" charset="-122"/>
            </a:endParaRPr>
          </a:p>
        </p:txBody>
      </p:sp>
    </p:spTree>
    <p:extLst>
      <p:ext uri="{BB962C8B-B14F-4D97-AF65-F5344CB8AC3E}">
        <p14:creationId xmlns:p14="http://schemas.microsoft.com/office/powerpoint/2010/main" val="349430949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250"/>
                                        <p:tgtEl>
                                          <p:spTgt spid="5"/>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1250"/>
                                        <p:tgtEl>
                                          <p:spTgt spid="6"/>
                                        </p:tgtEl>
                                      </p:cBhvr>
                                    </p:animEffect>
                                  </p:childTnLst>
                                </p:cTn>
                              </p:par>
                            </p:childTnLst>
                          </p:cTn>
                        </p:par>
                        <p:par>
                          <p:cTn id="11" fill="hold">
                            <p:stCondLst>
                              <p:cond delay="1250"/>
                            </p:stCondLst>
                            <p:childTnLst>
                              <p:par>
                                <p:cTn id="12" presetID="55"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750" fill="hold"/>
                                        <p:tgtEl>
                                          <p:spTgt spid="7"/>
                                        </p:tgtEl>
                                        <p:attrNameLst>
                                          <p:attrName>ppt_w</p:attrName>
                                        </p:attrNameLst>
                                      </p:cBhvr>
                                      <p:tavLst>
                                        <p:tav tm="0">
                                          <p:val>
                                            <p:strVal val="#ppt_w*0.70"/>
                                          </p:val>
                                        </p:tav>
                                        <p:tav tm="100000">
                                          <p:val>
                                            <p:strVal val="#ppt_w"/>
                                          </p:val>
                                        </p:tav>
                                      </p:tavLst>
                                    </p:anim>
                                    <p:anim calcmode="lin" valueType="num">
                                      <p:cBhvr>
                                        <p:cTn id="15" dur="750" fill="hold"/>
                                        <p:tgtEl>
                                          <p:spTgt spid="7"/>
                                        </p:tgtEl>
                                        <p:attrNameLst>
                                          <p:attrName>ppt_h</p:attrName>
                                        </p:attrNameLst>
                                      </p:cBhvr>
                                      <p:tavLst>
                                        <p:tav tm="0">
                                          <p:val>
                                            <p:strVal val="#ppt_h"/>
                                          </p:val>
                                        </p:tav>
                                        <p:tav tm="100000">
                                          <p:val>
                                            <p:strVal val="#ppt_h"/>
                                          </p:val>
                                        </p:tav>
                                      </p:tavLst>
                                    </p:anim>
                                    <p:animEffect transition="in" filter="fade">
                                      <p:cBhvr>
                                        <p:cTn id="16" dur="750"/>
                                        <p:tgtEl>
                                          <p:spTgt spid="7"/>
                                        </p:tgtEl>
                                      </p:cBhvr>
                                    </p:animEffect>
                                  </p:childTnLst>
                                </p:cTn>
                              </p:par>
                            </p:childTnLst>
                          </p:cTn>
                        </p:par>
                        <p:par>
                          <p:cTn id="17" fill="hold">
                            <p:stCondLst>
                              <p:cond delay="2000"/>
                            </p:stCondLst>
                            <p:childTnLst>
                              <p:par>
                                <p:cTn id="18" presetID="12" presetClass="entr" presetSubtype="4"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p:tgtEl>
                                          <p:spTgt spid="8"/>
                                        </p:tgtEl>
                                        <p:attrNameLst>
                                          <p:attrName>ppt_y</p:attrName>
                                        </p:attrNameLst>
                                      </p:cBhvr>
                                      <p:tavLst>
                                        <p:tav tm="0">
                                          <p:val>
                                            <p:strVal val="#ppt_y+#ppt_h*1.125000"/>
                                          </p:val>
                                        </p:tav>
                                        <p:tav tm="100000">
                                          <p:val>
                                            <p:strVal val="#ppt_y"/>
                                          </p:val>
                                        </p:tav>
                                      </p:tavLst>
                                    </p:anim>
                                    <p:animEffect transition="in" filter="wipe(up)">
                                      <p:cBhvr>
                                        <p:cTn id="21" dur="500"/>
                                        <p:tgtEl>
                                          <p:spTgt spid="8"/>
                                        </p:tgtEl>
                                      </p:cBhvr>
                                    </p:animEffect>
                                  </p:childTnLst>
                                </p:cTn>
                              </p:par>
                            </p:childTnLst>
                          </p:cTn>
                        </p:par>
                        <p:par>
                          <p:cTn id="22" fill="hold">
                            <p:stCondLst>
                              <p:cond delay="2500"/>
                            </p:stCondLst>
                            <p:childTnLst>
                              <p:par>
                                <p:cTn id="23" presetID="23" presetClass="entr" presetSubtype="16" fill="hold" grpId="0" nodeType="afterEffect">
                                  <p:stCondLst>
                                    <p:cond delay="0"/>
                                  </p:stCondLst>
                                  <p:iterate type="lt">
                                    <p:tmPct val="10000"/>
                                  </p:iterate>
                                  <p:childTnLst>
                                    <p:set>
                                      <p:cBhvr>
                                        <p:cTn id="24" dur="1" fill="hold">
                                          <p:stCondLst>
                                            <p:cond delay="0"/>
                                          </p:stCondLst>
                                        </p:cTn>
                                        <p:tgtEl>
                                          <p:spTgt spid="9"/>
                                        </p:tgtEl>
                                        <p:attrNameLst>
                                          <p:attrName>style.visibility</p:attrName>
                                        </p:attrNameLst>
                                      </p:cBhvr>
                                      <p:to>
                                        <p:strVal val="visible"/>
                                      </p:to>
                                    </p:set>
                                    <p:anim calcmode="lin" valueType="num">
                                      <p:cBhvr>
                                        <p:cTn id="25" dur="500" fill="hold"/>
                                        <p:tgtEl>
                                          <p:spTgt spid="9"/>
                                        </p:tgtEl>
                                        <p:attrNameLst>
                                          <p:attrName>ppt_w</p:attrName>
                                        </p:attrNameLst>
                                      </p:cBhvr>
                                      <p:tavLst>
                                        <p:tav tm="0">
                                          <p:val>
                                            <p:fltVal val="0"/>
                                          </p:val>
                                        </p:tav>
                                        <p:tav tm="100000">
                                          <p:val>
                                            <p:strVal val="#ppt_w"/>
                                          </p:val>
                                        </p:tav>
                                      </p:tavLst>
                                    </p:anim>
                                    <p:anim calcmode="lin" valueType="num">
                                      <p:cBhvr>
                                        <p:cTn id="26" dur="500" fill="hold"/>
                                        <p:tgtEl>
                                          <p:spTgt spid="9"/>
                                        </p:tgtEl>
                                        <p:attrNameLst>
                                          <p:attrName>ppt_h</p:attrName>
                                        </p:attrNameLst>
                                      </p:cBhvr>
                                      <p:tavLst>
                                        <p:tav tm="0">
                                          <p:val>
                                            <p:fltVal val="0"/>
                                          </p:val>
                                        </p:tav>
                                        <p:tav tm="100000">
                                          <p:val>
                                            <p:strVal val="#ppt_h"/>
                                          </p:val>
                                        </p:tav>
                                      </p:tavLst>
                                    </p:anim>
                                  </p:childTnLst>
                                </p:cTn>
                              </p:par>
                              <p:par>
                                <p:cTn id="27" presetID="47" presetClass="entr" presetSubtype="0" fill="hold" grpId="0" nodeType="withEffect">
                                  <p:stCondLst>
                                    <p:cond delay="0"/>
                                  </p:stCondLst>
                                  <p:iterate type="lt">
                                    <p:tmPct val="10000"/>
                                  </p:iterate>
                                  <p:childTnLst>
                                    <p:set>
                                      <p:cBhvr>
                                        <p:cTn id="28" dur="1" fill="hold">
                                          <p:stCondLst>
                                            <p:cond delay="0"/>
                                          </p:stCondLst>
                                        </p:cTn>
                                        <p:tgtEl>
                                          <p:spTgt spid="10"/>
                                        </p:tgtEl>
                                        <p:attrNameLst>
                                          <p:attrName>style.visibility</p:attrName>
                                        </p:attrNameLst>
                                      </p:cBhvr>
                                      <p:to>
                                        <p:strVal val="visible"/>
                                      </p:to>
                                    </p:set>
                                    <p:animEffect transition="in" filter="fade">
                                      <p:cBhvr>
                                        <p:cTn id="29" dur="1250"/>
                                        <p:tgtEl>
                                          <p:spTgt spid="10"/>
                                        </p:tgtEl>
                                      </p:cBhvr>
                                    </p:animEffect>
                                    <p:anim calcmode="lin" valueType="num">
                                      <p:cBhvr>
                                        <p:cTn id="30" dur="1250" fill="hold"/>
                                        <p:tgtEl>
                                          <p:spTgt spid="10"/>
                                        </p:tgtEl>
                                        <p:attrNameLst>
                                          <p:attrName>ppt_x</p:attrName>
                                        </p:attrNameLst>
                                      </p:cBhvr>
                                      <p:tavLst>
                                        <p:tav tm="0">
                                          <p:val>
                                            <p:strVal val="#ppt_x"/>
                                          </p:val>
                                        </p:tav>
                                        <p:tav tm="100000">
                                          <p:val>
                                            <p:strVal val="#ppt_x"/>
                                          </p:val>
                                        </p:tav>
                                      </p:tavLst>
                                    </p:anim>
                                    <p:anim calcmode="lin" valueType="num">
                                      <p:cBhvr>
                                        <p:cTn id="31" dur="1250" fill="hold"/>
                                        <p:tgtEl>
                                          <p:spTgt spid="10"/>
                                        </p:tgtEl>
                                        <p:attrNameLst>
                                          <p:attrName>ppt_y</p:attrName>
                                        </p:attrNameLst>
                                      </p:cBhvr>
                                      <p:tavLst>
                                        <p:tav tm="0">
                                          <p:val>
                                            <p:strVal val="#ppt_y-.1"/>
                                          </p:val>
                                        </p:tav>
                                        <p:tav tm="100000">
                                          <p:val>
                                            <p:strVal val="#ppt_y"/>
                                          </p:val>
                                        </p:tav>
                                      </p:tavLst>
                                    </p:anim>
                                  </p:childTnLst>
                                </p:cTn>
                              </p:par>
                              <p:par>
                                <p:cTn id="32" presetID="14" presetClass="entr" presetSubtype="1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randombar(horizontal)">
                                      <p:cBhvr>
                                        <p:cTn id="34" dur="500"/>
                                        <p:tgtEl>
                                          <p:spTgt spid="14"/>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randombar(horizont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p:bldP spid="9" grpId="0"/>
      <p:bldP spid="10" grpId="0"/>
      <p:bldP spid="1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3564428290"/>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638675" y="3962400"/>
            <a:ext cx="419100" cy="409575"/>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8" name="TextBox 7"/>
          <p:cNvSpPr txBox="1"/>
          <p:nvPr/>
        </p:nvSpPr>
        <p:spPr>
          <a:xfrm>
            <a:off x="2686048" y="697030"/>
            <a:ext cx="3381375" cy="3308598"/>
          </a:xfrm>
          <a:prstGeom prst="rect">
            <a:avLst/>
          </a:prstGeom>
          <a:noFill/>
        </p:spPr>
        <p:txBody>
          <a:bodyPr wrap="square" rtlCol="0">
            <a:spAutoFit/>
          </a:bodyPr>
          <a:lstStyle/>
          <a:p>
            <a:r>
              <a:rPr lang="zh-CN" altLang="en-US" sz="1100" b="1" dirty="0" smtClean="0"/>
              <a:t>                             会议</a:t>
            </a:r>
            <a:r>
              <a:rPr lang="zh-CN" altLang="en-US" sz="1100" b="1" dirty="0"/>
              <a:t>费</a:t>
            </a:r>
            <a:r>
              <a:rPr lang="en-US" altLang="zh-CN" sz="1100" b="1" dirty="0"/>
              <a:t>—</a:t>
            </a:r>
            <a:r>
              <a:rPr lang="zh-CN" altLang="en-US" sz="1100" b="1" dirty="0">
                <a:solidFill>
                  <a:srgbClr val="FF0000"/>
                </a:solidFill>
              </a:rPr>
              <a:t>报销管理</a:t>
            </a:r>
          </a:p>
          <a:p>
            <a:endParaRPr lang="zh-CN" altLang="en-US" sz="1100" b="1" dirty="0"/>
          </a:p>
          <a:p>
            <a:pPr marL="285750" indent="-285750">
              <a:buFont typeface="Wingdings" panose="05000000000000000000" pitchFamily="2" charset="2"/>
              <a:buChar char="Ø"/>
            </a:pPr>
            <a:r>
              <a:rPr lang="zh-CN" altLang="en-US" sz="1100" b="1" dirty="0"/>
              <a:t>各部门应在会议结束后及时结清会议费用，并在一个月内一次性核销会议费用</a:t>
            </a:r>
          </a:p>
          <a:p>
            <a:pPr marL="285750" indent="-285750">
              <a:buFont typeface="Wingdings" panose="05000000000000000000" pitchFamily="2" charset="2"/>
              <a:buChar char="Ø"/>
            </a:pPr>
            <a:r>
              <a:rPr lang="zh-CN" altLang="en-US" sz="1100" b="1" dirty="0"/>
              <a:t>须提供预算审批表、决算表、会议通知或邀请信、会议手册或日程安排或学术报告通知、实际参会人员签到表</a:t>
            </a:r>
          </a:p>
          <a:p>
            <a:pPr marL="285750" indent="-285750">
              <a:buFont typeface="Wingdings" panose="05000000000000000000" pitchFamily="2" charset="2"/>
              <a:buChar char="Ø"/>
            </a:pPr>
            <a:r>
              <a:rPr lang="zh-CN" altLang="en-US" sz="1100" b="1" dirty="0"/>
              <a:t>如支付专家咨询（评审）费、差旅费的，还需单独提供专家签到表</a:t>
            </a:r>
          </a:p>
          <a:p>
            <a:pPr marL="285750" indent="-285750">
              <a:buFont typeface="Wingdings" panose="05000000000000000000" pitchFamily="2" charset="2"/>
              <a:buChar char="Ø"/>
            </a:pPr>
            <a:r>
              <a:rPr lang="zh-CN" altLang="en-US" sz="1100" b="1" dirty="0"/>
              <a:t>如会议费由专项经费承担的，还需提供专项经费预算表</a:t>
            </a:r>
          </a:p>
          <a:p>
            <a:pPr marL="285750" indent="-285750">
              <a:buFont typeface="Wingdings" panose="05000000000000000000" pitchFamily="2" charset="2"/>
              <a:buChar char="Ø"/>
            </a:pPr>
            <a:r>
              <a:rPr lang="zh-CN" altLang="en-US" sz="1100" b="1" dirty="0"/>
              <a:t>对未列入计划，以及超范围、超标准开支的经费不予报销</a:t>
            </a:r>
          </a:p>
          <a:p>
            <a:pPr marL="285750" indent="-285750">
              <a:buFont typeface="Wingdings" panose="05000000000000000000" pitchFamily="2" charset="2"/>
              <a:buChar char="Ø"/>
            </a:pPr>
            <a:r>
              <a:rPr lang="zh-CN" altLang="en-US" sz="1100" b="1" dirty="0"/>
              <a:t>由专项经费承担的会议，原则上会议费支出不得超出有关专项经费管理办法规定</a:t>
            </a:r>
          </a:p>
          <a:p>
            <a:pPr marL="285750" indent="-285750">
              <a:buFont typeface="Wingdings" panose="05000000000000000000" pitchFamily="2" charset="2"/>
              <a:buChar char="Ø"/>
            </a:pPr>
            <a:r>
              <a:rPr lang="zh-CN" altLang="en-US" sz="1100" b="1" dirty="0">
                <a:solidFill>
                  <a:srgbClr val="FF0000"/>
                </a:solidFill>
              </a:rPr>
              <a:t>联合承办的会议，报销会议费时必须提供会议通知、会议手册或日程安排，还需提供依据合办方会议开支标准的由财务部门出具的会议支出决算证明</a:t>
            </a:r>
          </a:p>
        </p:txBody>
      </p:sp>
    </p:spTree>
    <p:extLst>
      <p:ext uri="{BB962C8B-B14F-4D97-AF65-F5344CB8AC3E}">
        <p14:creationId xmlns:p14="http://schemas.microsoft.com/office/powerpoint/2010/main" val="117270149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2732109159"/>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直接箭头连接符 4"/>
          <p:cNvCxnSpPr/>
          <p:nvPr/>
        </p:nvCxnSpPr>
        <p:spPr>
          <a:xfrm>
            <a:off x="4486275" y="3645018"/>
            <a:ext cx="571500" cy="726957"/>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
        <p:nvSpPr>
          <p:cNvPr id="9" name="TextBox 8"/>
          <p:cNvSpPr txBox="1"/>
          <p:nvPr/>
        </p:nvSpPr>
        <p:spPr>
          <a:xfrm>
            <a:off x="2638423" y="1182805"/>
            <a:ext cx="3381375" cy="2462213"/>
          </a:xfrm>
          <a:prstGeom prst="rect">
            <a:avLst/>
          </a:prstGeom>
          <a:noFill/>
        </p:spPr>
        <p:txBody>
          <a:bodyPr wrap="square" rtlCol="0">
            <a:spAutoFit/>
          </a:bodyPr>
          <a:lstStyle/>
          <a:p>
            <a:r>
              <a:rPr lang="zh-CN" altLang="en-US" sz="1100" b="1" dirty="0" smtClean="0"/>
              <a:t>                             会议</a:t>
            </a:r>
            <a:r>
              <a:rPr lang="zh-CN" altLang="en-US" sz="1100" b="1" dirty="0"/>
              <a:t>费</a:t>
            </a:r>
            <a:r>
              <a:rPr lang="en-US" altLang="zh-CN" sz="1100" b="1" dirty="0" smtClean="0"/>
              <a:t>—</a:t>
            </a:r>
            <a:r>
              <a:rPr lang="zh-CN" altLang="en-US" sz="1100" b="1" dirty="0" smtClean="0">
                <a:solidFill>
                  <a:srgbClr val="FF0000"/>
                </a:solidFill>
              </a:rPr>
              <a:t>其他要求</a:t>
            </a:r>
            <a:endParaRPr lang="en-US" altLang="zh-CN" sz="1100" b="1" dirty="0" smtClean="0">
              <a:solidFill>
                <a:srgbClr val="FF0000"/>
              </a:solidFill>
            </a:endParaRPr>
          </a:p>
          <a:p>
            <a:endParaRPr lang="zh-CN" altLang="en-US" sz="1100" b="1" dirty="0">
              <a:solidFill>
                <a:srgbClr val="FF0000"/>
              </a:solidFill>
            </a:endParaRPr>
          </a:p>
          <a:p>
            <a:pPr marL="285750" indent="-285750">
              <a:buFont typeface="Wingdings" panose="05000000000000000000" pitchFamily="2" charset="2"/>
              <a:buChar char="Ø"/>
            </a:pPr>
            <a:r>
              <a:rPr lang="zh-CN" altLang="en-US" sz="1100" b="1" dirty="0">
                <a:solidFill>
                  <a:srgbClr val="FF0000"/>
                </a:solidFill>
              </a:rPr>
              <a:t>会议承办部门对会议费的真实性负直接责任</a:t>
            </a:r>
          </a:p>
          <a:p>
            <a:pPr marL="285750" indent="-285750">
              <a:buFont typeface="Wingdings" panose="05000000000000000000" pitchFamily="2" charset="2"/>
              <a:buChar char="Ø"/>
            </a:pPr>
            <a:r>
              <a:rPr lang="zh-CN" altLang="en-US" sz="1100" b="1" dirty="0"/>
              <a:t>涉密会议，应按照“谁主办、谁负责”的原则，由主办部门制定保密工作方案，明确专人负责；严格落实涉密会议有关规定，防止失、泄密事件发生</a:t>
            </a:r>
          </a:p>
          <a:p>
            <a:pPr marL="285750" indent="-285750">
              <a:buFont typeface="Wingdings" panose="05000000000000000000" pitchFamily="2" charset="2"/>
              <a:buChar char="Ø"/>
            </a:pPr>
            <a:r>
              <a:rPr lang="zh-CN" altLang="en-US" sz="1100" b="1" dirty="0"/>
              <a:t>每年，非涉密会议计划执行情况将在所工作平台进行公示</a:t>
            </a:r>
          </a:p>
          <a:p>
            <a:pPr marL="285750" indent="-285750">
              <a:buFont typeface="Wingdings" panose="05000000000000000000" pitchFamily="2" charset="2"/>
              <a:buChar char="Ø"/>
            </a:pPr>
            <a:r>
              <a:rPr lang="zh-CN" altLang="en-US" sz="1100" b="1" dirty="0"/>
              <a:t>会议收取注册费、会务费、资助费等，应遵循“收支两条线”的原则，由所财务部门统一管理。较大规模会议可委托具有相应资质的会议公司提供会议服务，应签订合同并按合同据实结算，会议收支结算表作为会议支出报销凭据</a:t>
            </a:r>
          </a:p>
        </p:txBody>
      </p:sp>
    </p:spTree>
    <p:extLst>
      <p:ext uri="{BB962C8B-B14F-4D97-AF65-F5344CB8AC3E}">
        <p14:creationId xmlns:p14="http://schemas.microsoft.com/office/powerpoint/2010/main" val="413481288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3684911224"/>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638423" y="954205"/>
            <a:ext cx="3381375" cy="2677656"/>
          </a:xfrm>
          <a:prstGeom prst="rect">
            <a:avLst/>
          </a:prstGeom>
          <a:noFill/>
        </p:spPr>
        <p:txBody>
          <a:bodyPr wrap="square" rtlCol="0">
            <a:spAutoFit/>
          </a:bodyPr>
          <a:lstStyle/>
          <a:p>
            <a:r>
              <a:rPr lang="zh-CN" altLang="en-US" sz="1100" b="1" dirty="0" smtClean="0"/>
              <a:t>                                    </a:t>
            </a:r>
            <a:r>
              <a:rPr lang="zh-CN" altLang="en-US" sz="1800" b="1" dirty="0" smtClean="0"/>
              <a:t>执行时</a:t>
            </a:r>
            <a:r>
              <a:rPr lang="zh-CN" altLang="en-US" sz="1800" b="1" dirty="0"/>
              <a:t>注意</a:t>
            </a:r>
          </a:p>
          <a:p>
            <a:endParaRPr lang="zh-CN" altLang="en-US" sz="1100" b="1" dirty="0"/>
          </a:p>
          <a:p>
            <a:pPr marL="285750" indent="-285750">
              <a:buFont typeface="Wingdings" panose="05000000000000000000" pitchFamily="2" charset="2"/>
              <a:buChar char="Ø"/>
            </a:pPr>
            <a:r>
              <a:rPr lang="zh-CN" altLang="en-US" sz="1600" b="1" dirty="0"/>
              <a:t>大宗专业资料和软件购置费支出应当有预算批复</a:t>
            </a:r>
          </a:p>
          <a:p>
            <a:pPr marL="285750" indent="-285750">
              <a:buFont typeface="Wingdings" panose="05000000000000000000" pitchFamily="2" charset="2"/>
              <a:buChar char="Ø"/>
            </a:pPr>
            <a:r>
              <a:rPr lang="zh-CN" altLang="en-US" sz="1600" b="1" dirty="0"/>
              <a:t>专业软件购买、出版专著等大额支出应有合同</a:t>
            </a:r>
          </a:p>
          <a:p>
            <a:pPr marL="285750" indent="-285750">
              <a:buFont typeface="Wingdings" panose="05000000000000000000" pitchFamily="2" charset="2"/>
              <a:buChar char="Ø"/>
            </a:pPr>
            <a:r>
              <a:rPr lang="zh-CN" altLang="en-US" sz="1600" b="1" dirty="0"/>
              <a:t>不得列支一般办公软件、</a:t>
            </a:r>
            <a:r>
              <a:rPr lang="zh-CN" altLang="en-US" sz="1600" b="1" dirty="0">
                <a:solidFill>
                  <a:srgbClr val="FF0000"/>
                </a:solidFill>
              </a:rPr>
              <a:t>专利年费</a:t>
            </a:r>
            <a:r>
              <a:rPr lang="zh-CN" altLang="en-US" sz="1600" b="1" dirty="0"/>
              <a:t>、广告费、普通通信费等，如移动电话</a:t>
            </a:r>
            <a:r>
              <a:rPr lang="zh-CN" altLang="en-US" sz="1600" b="1" dirty="0" smtClean="0"/>
              <a:t>费</a:t>
            </a:r>
            <a:endParaRPr lang="en-US" altLang="zh-CN" sz="1600" b="1" dirty="0" smtClean="0"/>
          </a:p>
          <a:p>
            <a:r>
              <a:rPr lang="zh-CN" altLang="en-US" sz="1600" b="1" dirty="0"/>
              <a:t> </a:t>
            </a:r>
            <a:r>
              <a:rPr lang="zh-CN" altLang="en-US" sz="1600" b="1" dirty="0" smtClean="0"/>
              <a:t>     院</a:t>
            </a:r>
            <a:r>
              <a:rPr lang="zh-CN" altLang="en-US" sz="1600" b="1" dirty="0"/>
              <a:t>经费可以开支专利维护费</a:t>
            </a:r>
          </a:p>
          <a:p>
            <a:pPr marL="285750" indent="-285750">
              <a:buFont typeface="Wingdings" panose="05000000000000000000" pitchFamily="2" charset="2"/>
              <a:buChar char="Ø"/>
            </a:pPr>
            <a:endParaRPr lang="zh-CN" altLang="en-US" sz="1100" b="1" dirty="0"/>
          </a:p>
        </p:txBody>
      </p:sp>
      <p:cxnSp>
        <p:nvCxnSpPr>
          <p:cNvPr id="5" name="直接箭头连接符 4"/>
          <p:cNvCxnSpPr/>
          <p:nvPr/>
        </p:nvCxnSpPr>
        <p:spPr>
          <a:xfrm flipH="1">
            <a:off x="2933700" y="3495675"/>
            <a:ext cx="1495425" cy="457200"/>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89473658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281602644"/>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638423" y="725605"/>
            <a:ext cx="3381375" cy="2646878"/>
          </a:xfrm>
          <a:prstGeom prst="rect">
            <a:avLst/>
          </a:prstGeom>
          <a:noFill/>
        </p:spPr>
        <p:txBody>
          <a:bodyPr wrap="square" rtlCol="0">
            <a:spAutoFit/>
          </a:bodyPr>
          <a:lstStyle/>
          <a:p>
            <a:endParaRPr lang="zh-CN" altLang="en-US" sz="1100" b="1" dirty="0"/>
          </a:p>
          <a:p>
            <a:pPr marL="285750" indent="-285750">
              <a:buFont typeface="Wingdings" panose="05000000000000000000" pitchFamily="2" charset="2"/>
              <a:buChar char="Ø"/>
            </a:pPr>
            <a:r>
              <a:rPr lang="zh-CN" altLang="en-US" sz="1600" b="1" dirty="0"/>
              <a:t>项目聘用人员的劳务费开支标准，参照当地科学研究和技术服务业从业人员平均工资水平，根据其在项目研究中承担的工作任务确定，其社会保险补助纳入劳务费科目列支。</a:t>
            </a:r>
          </a:p>
          <a:p>
            <a:pPr marL="285750" indent="-285750">
              <a:buFont typeface="Wingdings" panose="05000000000000000000" pitchFamily="2" charset="2"/>
              <a:buChar char="Ø"/>
            </a:pPr>
            <a:r>
              <a:rPr lang="zh-CN" altLang="en-US" sz="1600" b="1" dirty="0"/>
              <a:t>在预算编制是要编入</a:t>
            </a:r>
          </a:p>
          <a:p>
            <a:pPr marL="285750" indent="-285750">
              <a:buFont typeface="Wingdings" panose="05000000000000000000" pitchFamily="2" charset="2"/>
              <a:buChar char="Ø"/>
            </a:pPr>
            <a:r>
              <a:rPr lang="zh-CN" altLang="en-US" sz="1600" b="1" dirty="0"/>
              <a:t>如何操作（</a:t>
            </a:r>
            <a:r>
              <a:rPr lang="en-US" altLang="zh-CN" sz="1600" b="1" dirty="0"/>
              <a:t>1.</a:t>
            </a:r>
            <a:r>
              <a:rPr lang="zh-CN" altLang="en-US" sz="1600" b="1" dirty="0"/>
              <a:t>所劳务费暂行办法；</a:t>
            </a:r>
            <a:r>
              <a:rPr lang="en-US" altLang="zh-CN" sz="1600" b="1" dirty="0"/>
              <a:t>2.</a:t>
            </a:r>
            <a:r>
              <a:rPr lang="zh-CN" altLang="en-US" sz="1600" b="1" dirty="0"/>
              <a:t>？）</a:t>
            </a:r>
          </a:p>
          <a:p>
            <a:pPr marL="285750" indent="-285750">
              <a:buFont typeface="Wingdings" panose="05000000000000000000" pitchFamily="2" charset="2"/>
              <a:buChar char="Ø"/>
            </a:pPr>
            <a:endParaRPr lang="zh-CN" altLang="en-US" sz="1100" b="1" dirty="0"/>
          </a:p>
        </p:txBody>
      </p:sp>
      <p:cxnSp>
        <p:nvCxnSpPr>
          <p:cNvPr id="5" name="直接箭头连接符 4"/>
          <p:cNvCxnSpPr/>
          <p:nvPr/>
        </p:nvCxnSpPr>
        <p:spPr>
          <a:xfrm flipH="1" flipV="1">
            <a:off x="2400300" y="3038475"/>
            <a:ext cx="1895473" cy="204788"/>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202764612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1395431542"/>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828923" y="506530"/>
            <a:ext cx="3381375" cy="2893100"/>
          </a:xfrm>
          <a:prstGeom prst="rect">
            <a:avLst/>
          </a:prstGeom>
          <a:noFill/>
        </p:spPr>
        <p:txBody>
          <a:bodyPr wrap="square" rtlCol="0">
            <a:spAutoFit/>
          </a:bodyPr>
          <a:lstStyle/>
          <a:p>
            <a:endParaRPr lang="zh-CN" altLang="en-US" sz="1100" b="1" dirty="0"/>
          </a:p>
          <a:p>
            <a:pPr marL="285750" indent="-285750">
              <a:buFont typeface="Wingdings" panose="05000000000000000000" pitchFamily="2" charset="2"/>
              <a:buChar char="Ø"/>
            </a:pPr>
            <a:r>
              <a:rPr lang="zh-CN" altLang="en-US" sz="1600" b="1" dirty="0">
                <a:solidFill>
                  <a:srgbClr val="FF0000"/>
                </a:solidFill>
              </a:rPr>
              <a:t>注意</a:t>
            </a:r>
          </a:p>
          <a:p>
            <a:pPr marL="285750" indent="-285750">
              <a:buFont typeface="Wingdings" panose="05000000000000000000" pitchFamily="2" charset="2"/>
              <a:buChar char="Ø"/>
            </a:pPr>
            <a:r>
              <a:rPr lang="zh-CN" altLang="en-US" sz="1600" b="1" dirty="0"/>
              <a:t>发放对象应当符合相关规定</a:t>
            </a:r>
          </a:p>
          <a:p>
            <a:pPr marL="285750" indent="-285750">
              <a:buFont typeface="Wingdings" panose="05000000000000000000" pitchFamily="2" charset="2"/>
              <a:buChar char="Ø"/>
            </a:pPr>
            <a:r>
              <a:rPr lang="zh-CN" altLang="en-US" sz="1600" b="1" dirty="0"/>
              <a:t>只能发放给个人，其他方式不认可</a:t>
            </a:r>
          </a:p>
          <a:p>
            <a:pPr marL="285750" indent="-285750">
              <a:buFont typeface="Wingdings" panose="05000000000000000000" pitchFamily="2" charset="2"/>
              <a:buChar char="Ø"/>
            </a:pPr>
            <a:r>
              <a:rPr lang="zh-CN" altLang="en-US" sz="1600" b="1" dirty="0"/>
              <a:t>发放标准应当结合课题周期和劳务人员、专家投入的工作时间</a:t>
            </a:r>
          </a:p>
          <a:p>
            <a:pPr marL="285750" indent="-285750">
              <a:buFont typeface="Wingdings" panose="05000000000000000000" pitchFamily="2" charset="2"/>
              <a:buChar char="Ø"/>
            </a:pPr>
            <a:r>
              <a:rPr lang="zh-CN" altLang="en-US" sz="1600" b="1" dirty="0"/>
              <a:t>发放凭证应当具备人员姓名、工作单位、职称、身份证号、工作内容、工作时间、领取人签字等信息</a:t>
            </a:r>
          </a:p>
          <a:p>
            <a:pPr marL="285750" indent="-285750">
              <a:buFont typeface="Wingdings" panose="05000000000000000000" pitchFamily="2" charset="2"/>
              <a:buChar char="Ø"/>
            </a:pPr>
            <a:endParaRPr lang="zh-CN" altLang="en-US" sz="1100" b="1" dirty="0"/>
          </a:p>
        </p:txBody>
      </p:sp>
      <p:cxnSp>
        <p:nvCxnSpPr>
          <p:cNvPr id="5" name="直接箭头连接符 4"/>
          <p:cNvCxnSpPr/>
          <p:nvPr/>
        </p:nvCxnSpPr>
        <p:spPr>
          <a:xfrm flipH="1" flipV="1">
            <a:off x="2400300" y="3038475"/>
            <a:ext cx="1895473" cy="204788"/>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75386473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3770648370"/>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781298" y="1430455"/>
            <a:ext cx="3381375" cy="3277820"/>
          </a:xfrm>
          <a:prstGeom prst="rect">
            <a:avLst/>
          </a:prstGeom>
          <a:noFill/>
        </p:spPr>
        <p:txBody>
          <a:bodyPr wrap="square" rtlCol="0">
            <a:spAutoFit/>
          </a:bodyPr>
          <a:lstStyle/>
          <a:p>
            <a:endParaRPr lang="zh-CN" altLang="en-US" sz="1100" b="1" dirty="0"/>
          </a:p>
          <a:p>
            <a:pPr marL="285750" indent="-285750">
              <a:buFont typeface="Wingdings" panose="05000000000000000000" pitchFamily="2" charset="2"/>
              <a:buChar char="Ø"/>
            </a:pPr>
            <a:r>
              <a:rPr lang="zh-CN" altLang="en-US" sz="1400" b="1" dirty="0"/>
              <a:t>会议形式支付标准</a:t>
            </a:r>
          </a:p>
          <a:p>
            <a:r>
              <a:rPr lang="zh-CN" altLang="en-US" sz="1400" b="1" dirty="0"/>
              <a:t>高级专业技术职称人员的专家咨询费标准为</a:t>
            </a:r>
            <a:r>
              <a:rPr lang="en-US" altLang="zh-CN" sz="1400" b="1" dirty="0"/>
              <a:t>1500-2400</a:t>
            </a:r>
            <a:r>
              <a:rPr lang="zh-CN" altLang="en-US" sz="1400" b="1" dirty="0"/>
              <a:t>元／人天（税后）；其他专业人员的专家咨询费标准为</a:t>
            </a:r>
            <a:r>
              <a:rPr lang="en-US" altLang="zh-CN" sz="1400" b="1" dirty="0"/>
              <a:t>900-1500</a:t>
            </a:r>
            <a:r>
              <a:rPr lang="zh-CN" altLang="en-US" sz="1400" b="1" dirty="0"/>
              <a:t>元／人天（税后）。</a:t>
            </a:r>
          </a:p>
          <a:p>
            <a:r>
              <a:rPr lang="zh-CN" altLang="en-US" sz="1400" b="1" dirty="0"/>
              <a:t>院士、全国知名专家，可按照高级专业技术职称人员的专家咨询费标准上浮</a:t>
            </a:r>
            <a:r>
              <a:rPr lang="en-US" altLang="zh-CN" sz="1400" b="1" dirty="0"/>
              <a:t>50%</a:t>
            </a:r>
            <a:r>
              <a:rPr lang="zh-CN" altLang="en-US" sz="1400" b="1" dirty="0"/>
              <a:t>执行</a:t>
            </a:r>
          </a:p>
          <a:p>
            <a:r>
              <a:rPr lang="zh-CN" altLang="en-US" sz="1400" b="1" dirty="0"/>
              <a:t>会议半天按</a:t>
            </a:r>
            <a:r>
              <a:rPr lang="en-US" altLang="zh-CN" sz="1400" b="1" dirty="0"/>
              <a:t>60%</a:t>
            </a:r>
            <a:r>
              <a:rPr lang="zh-CN" altLang="en-US" sz="1400" b="1" dirty="0"/>
              <a:t>。会议第三天</a:t>
            </a:r>
            <a:r>
              <a:rPr lang="en-US" altLang="zh-CN" sz="1400" b="1" dirty="0"/>
              <a:t>50%</a:t>
            </a:r>
          </a:p>
          <a:p>
            <a:pPr marL="285750" indent="-285750">
              <a:buFont typeface="Wingdings" panose="05000000000000000000" pitchFamily="2" charset="2"/>
              <a:buChar char="Ø"/>
            </a:pPr>
            <a:r>
              <a:rPr lang="zh-CN" altLang="en-US" sz="1400" b="1" dirty="0"/>
              <a:t>通讯形式支付标准</a:t>
            </a:r>
          </a:p>
          <a:p>
            <a:pPr marL="285750" indent="-285750">
              <a:buFont typeface="Wingdings" panose="05000000000000000000" pitchFamily="2" charset="2"/>
              <a:buChar char="Ø"/>
            </a:pPr>
            <a:r>
              <a:rPr lang="zh-CN" altLang="en-US" sz="1400" b="1" dirty="0"/>
              <a:t>是指通过</a:t>
            </a:r>
            <a:r>
              <a:rPr lang="zh-CN" altLang="en-US" sz="1400" b="1" dirty="0">
                <a:solidFill>
                  <a:srgbClr val="FF0000"/>
                </a:solidFill>
              </a:rPr>
              <a:t>信函、邮件</a:t>
            </a:r>
            <a:r>
              <a:rPr lang="zh-CN" altLang="en-US" sz="1400" b="1" dirty="0"/>
              <a:t>等方式征询专家的意见和</a:t>
            </a:r>
            <a:r>
              <a:rPr lang="zh-CN" altLang="en-US" sz="1400" b="1" dirty="0">
                <a:solidFill>
                  <a:srgbClr val="FF0000"/>
                </a:solidFill>
              </a:rPr>
              <a:t>建议</a:t>
            </a:r>
          </a:p>
          <a:p>
            <a:pPr marL="285750" indent="-285750">
              <a:buFont typeface="Wingdings" panose="05000000000000000000" pitchFamily="2" charset="2"/>
              <a:buChar char="Ø"/>
            </a:pPr>
            <a:r>
              <a:rPr lang="zh-CN" altLang="en-US" sz="1400" b="1" dirty="0">
                <a:solidFill>
                  <a:srgbClr val="FF0000"/>
                </a:solidFill>
              </a:rPr>
              <a:t>按次计算，每次按照规定标准支付</a:t>
            </a:r>
            <a:r>
              <a:rPr lang="zh-CN" altLang="en-US" sz="1400" b="1" dirty="0"/>
              <a:t>（</a:t>
            </a:r>
            <a:r>
              <a:rPr lang="zh-CN" altLang="en-US" sz="1400" b="1" dirty="0" smtClean="0"/>
              <a:t>合算）</a:t>
            </a:r>
            <a:endParaRPr lang="zh-CN" altLang="en-US" sz="1400" b="1" dirty="0"/>
          </a:p>
        </p:txBody>
      </p:sp>
      <p:cxnSp>
        <p:nvCxnSpPr>
          <p:cNvPr id="5" name="直接箭头连接符 4"/>
          <p:cNvCxnSpPr/>
          <p:nvPr/>
        </p:nvCxnSpPr>
        <p:spPr>
          <a:xfrm flipH="1" flipV="1">
            <a:off x="2581275" y="1600201"/>
            <a:ext cx="2038348" cy="34799"/>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68631667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3544826954"/>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628898" y="1430455"/>
            <a:ext cx="3381375" cy="3062377"/>
          </a:xfrm>
          <a:prstGeom prst="rect">
            <a:avLst/>
          </a:prstGeom>
          <a:noFill/>
        </p:spPr>
        <p:txBody>
          <a:bodyPr wrap="square" rtlCol="0">
            <a:spAutoFit/>
          </a:bodyPr>
          <a:lstStyle/>
          <a:p>
            <a:endParaRPr lang="zh-CN" altLang="en-US" sz="1100" b="1" dirty="0"/>
          </a:p>
          <a:p>
            <a:pPr marL="285750" indent="-285750">
              <a:buFont typeface="Wingdings" panose="05000000000000000000" pitchFamily="2" charset="2"/>
              <a:buChar char="Ø"/>
            </a:pPr>
            <a:r>
              <a:rPr lang="zh-CN" altLang="en-US" sz="1400" b="1" dirty="0"/>
              <a:t>不得支付</a:t>
            </a:r>
          </a:p>
          <a:p>
            <a:r>
              <a:rPr lang="zh-CN" altLang="en-US" sz="1400" b="1" dirty="0"/>
              <a:t>专家咨询费不得支付给本项目及所属课题研究和管理的相关</a:t>
            </a:r>
            <a:r>
              <a:rPr lang="zh-CN" altLang="en-US" sz="1400" b="1" dirty="0" smtClean="0"/>
              <a:t>工作人员</a:t>
            </a:r>
            <a:endParaRPr lang="en-US" altLang="zh-CN" sz="1400" b="1" dirty="0"/>
          </a:p>
          <a:p>
            <a:pPr marL="285750" indent="-285750">
              <a:buFont typeface="Wingdings" panose="05000000000000000000" pitchFamily="2" charset="2"/>
              <a:buChar char="Ø"/>
            </a:pPr>
            <a:r>
              <a:rPr lang="zh-CN" altLang="en-US" sz="1400" b="1" dirty="0" smtClean="0">
                <a:solidFill>
                  <a:srgbClr val="FF0000"/>
                </a:solidFill>
              </a:rPr>
              <a:t>注意</a:t>
            </a:r>
            <a:endParaRPr lang="en-US" altLang="zh-CN" sz="1400" b="1" dirty="0" smtClean="0">
              <a:solidFill>
                <a:srgbClr val="FF0000"/>
              </a:solidFill>
            </a:endParaRPr>
          </a:p>
          <a:p>
            <a:pPr marL="285750" indent="-285750">
              <a:buFont typeface="Wingdings" panose="05000000000000000000" pitchFamily="2" charset="2"/>
              <a:buChar char="Ø"/>
            </a:pPr>
            <a:r>
              <a:rPr lang="zh-CN" altLang="en-US" sz="1400" b="1" dirty="0"/>
              <a:t>发放对象应当符合相关规定（所内不能发，税务规定二则选一）</a:t>
            </a:r>
          </a:p>
          <a:p>
            <a:pPr marL="285750" indent="-285750">
              <a:buFont typeface="Wingdings" panose="05000000000000000000" pitchFamily="2" charset="2"/>
              <a:buChar char="Ø"/>
            </a:pPr>
            <a:r>
              <a:rPr lang="zh-CN" altLang="en-US" sz="1400" b="1" dirty="0"/>
              <a:t>只能发放给个人，其他方式不认可</a:t>
            </a:r>
          </a:p>
          <a:p>
            <a:pPr marL="285750" indent="-285750">
              <a:buFont typeface="Wingdings" panose="05000000000000000000" pitchFamily="2" charset="2"/>
              <a:buChar char="Ø"/>
            </a:pPr>
            <a:r>
              <a:rPr lang="zh-CN" altLang="en-US" sz="1400" b="1" dirty="0"/>
              <a:t>发放标准应当结合课题周期和劳务人员、专家投入的工作时间</a:t>
            </a:r>
          </a:p>
          <a:p>
            <a:pPr marL="285750" indent="-285750">
              <a:buFont typeface="Wingdings" panose="05000000000000000000" pitchFamily="2" charset="2"/>
              <a:buChar char="Ø"/>
            </a:pPr>
            <a:r>
              <a:rPr lang="zh-CN" altLang="en-US" sz="1400" b="1" dirty="0"/>
              <a:t>发放凭证应当具备人员姓名、工作单位、职称、身份证号、工作内容、工作时间、领取人签字等信息（需代扣代缴个人所得税问题）</a:t>
            </a:r>
          </a:p>
        </p:txBody>
      </p:sp>
      <p:cxnSp>
        <p:nvCxnSpPr>
          <p:cNvPr id="5" name="直接箭头连接符 4"/>
          <p:cNvCxnSpPr/>
          <p:nvPr/>
        </p:nvCxnSpPr>
        <p:spPr>
          <a:xfrm flipH="1" flipV="1">
            <a:off x="2581275" y="1600201"/>
            <a:ext cx="2038348" cy="34799"/>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10276780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p:cNvGraphicFramePr/>
          <p:nvPr>
            <p:extLst>
              <p:ext uri="{D42A27DB-BD31-4B8C-83A1-F6EECF244321}">
                <p14:modId xmlns:p14="http://schemas.microsoft.com/office/powerpoint/2010/main" val="2810072645"/>
              </p:ext>
            </p:extLst>
          </p:nvPr>
        </p:nvGraphicFramePr>
        <p:xfrm>
          <a:off x="495299" y="-361950"/>
          <a:ext cx="7458075" cy="5632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2638423" y="1306630"/>
            <a:ext cx="3381375" cy="3262432"/>
          </a:xfrm>
          <a:prstGeom prst="rect">
            <a:avLst/>
          </a:prstGeom>
          <a:noFill/>
        </p:spPr>
        <p:txBody>
          <a:bodyPr wrap="square" rtlCol="0">
            <a:spAutoFit/>
          </a:bodyPr>
          <a:lstStyle/>
          <a:p>
            <a:endParaRPr lang="zh-CN" altLang="en-US" sz="1400" b="1" dirty="0"/>
          </a:p>
          <a:p>
            <a:pPr marL="285750" indent="-285750">
              <a:buFont typeface="Wingdings" panose="05000000000000000000" pitchFamily="2" charset="2"/>
              <a:buChar char="Ø"/>
            </a:pPr>
            <a:r>
              <a:rPr lang="zh-CN" altLang="en-US" sz="1400" b="1" dirty="0"/>
              <a:t> 不得填列</a:t>
            </a:r>
          </a:p>
          <a:p>
            <a:r>
              <a:rPr lang="zh-CN" altLang="en-US" sz="1400" b="1" dirty="0"/>
              <a:t>不能填列课题实施前发生的各项经费支出、奖励支出以及不可预见费</a:t>
            </a:r>
          </a:p>
          <a:p>
            <a:pPr marL="285750" indent="-285750">
              <a:buFont typeface="Wingdings" panose="05000000000000000000" pitchFamily="2" charset="2"/>
              <a:buChar char="Ø"/>
            </a:pPr>
            <a:r>
              <a:rPr lang="zh-CN" altLang="en-US" sz="1400" b="1" dirty="0"/>
              <a:t>支出内容</a:t>
            </a:r>
            <a:r>
              <a:rPr lang="zh-CN" altLang="en-US" sz="1400" b="1" dirty="0" smtClean="0"/>
              <a:t>要求</a:t>
            </a:r>
            <a:endParaRPr lang="en-US" altLang="zh-CN" sz="1400" b="1" dirty="0" smtClean="0"/>
          </a:p>
          <a:p>
            <a:r>
              <a:rPr lang="zh-CN" altLang="en-US" sz="1400" b="1" dirty="0"/>
              <a:t>支出内容不应与前述预算科目的支出内容重复列支</a:t>
            </a:r>
          </a:p>
          <a:p>
            <a:r>
              <a:rPr lang="zh-CN" altLang="en-US" sz="1400" b="1" dirty="0"/>
              <a:t>支出内容要与课题任务密切相关，且应说明其相关性、必要性并详细列示测算依据</a:t>
            </a:r>
          </a:p>
          <a:p>
            <a:pPr marL="285750" indent="-285750">
              <a:buFont typeface="Wingdings" panose="05000000000000000000" pitchFamily="2" charset="2"/>
              <a:buChar char="Ø"/>
            </a:pPr>
            <a:r>
              <a:rPr lang="zh-CN" altLang="en-US" sz="1100" b="1" dirty="0" smtClean="0">
                <a:solidFill>
                  <a:srgbClr val="FF0000"/>
                </a:solidFill>
              </a:rPr>
              <a:t>注意</a:t>
            </a:r>
            <a:endParaRPr lang="en-US" altLang="zh-CN" sz="1100" b="1" dirty="0" smtClean="0">
              <a:solidFill>
                <a:srgbClr val="FF0000"/>
              </a:solidFill>
            </a:endParaRPr>
          </a:p>
          <a:p>
            <a:r>
              <a:rPr lang="zh-CN" altLang="en-US" sz="1100" b="1" dirty="0" smtClean="0"/>
              <a:t>严格</a:t>
            </a:r>
            <a:r>
              <a:rPr lang="zh-CN" altLang="en-US" sz="1100" b="1" dirty="0"/>
              <a:t>依照预算批复的内容和金额</a:t>
            </a:r>
            <a:r>
              <a:rPr lang="zh-CN" altLang="en-US" sz="1100" b="1" dirty="0" smtClean="0"/>
              <a:t>使用</a:t>
            </a:r>
            <a:endParaRPr lang="en-US" altLang="zh-CN" sz="1100" b="1" dirty="0" smtClean="0"/>
          </a:p>
          <a:p>
            <a:r>
              <a:rPr lang="zh-CN" altLang="en-US" sz="1100" b="1" dirty="0"/>
              <a:t>专项设备维修费在编预算时先予以申请，如不成功只能在间接费开支</a:t>
            </a:r>
          </a:p>
          <a:p>
            <a:pPr marL="285750" indent="-285750">
              <a:buFont typeface="Wingdings" panose="05000000000000000000" pitchFamily="2" charset="2"/>
              <a:buChar char="Ø"/>
            </a:pPr>
            <a:endParaRPr lang="zh-CN" altLang="en-US" sz="1100" b="1" dirty="0"/>
          </a:p>
          <a:p>
            <a:pPr marL="285750" indent="-285750">
              <a:buFont typeface="Wingdings" panose="05000000000000000000" pitchFamily="2" charset="2"/>
              <a:buChar char="Ø"/>
            </a:pPr>
            <a:endParaRPr lang="zh-CN" altLang="en-US" sz="1100" b="1" dirty="0"/>
          </a:p>
        </p:txBody>
      </p:sp>
      <p:cxnSp>
        <p:nvCxnSpPr>
          <p:cNvPr id="5" name="直接箭头连接符 4"/>
          <p:cNvCxnSpPr/>
          <p:nvPr/>
        </p:nvCxnSpPr>
        <p:spPr>
          <a:xfrm flipH="1" flipV="1">
            <a:off x="3271837" y="923925"/>
            <a:ext cx="1057273" cy="628650"/>
          </a:xfrm>
          <a:prstGeom prst="straightConnector1">
            <a:avLst/>
          </a:prstGeom>
          <a:ln w="28575">
            <a:solidFill>
              <a:schemeClr val="tx1"/>
            </a:solidFill>
            <a:tailEnd type="arrow"/>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22972223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3"/>
          <p:cNvSpPr txBox="1"/>
          <p:nvPr/>
        </p:nvSpPr>
        <p:spPr>
          <a:xfrm>
            <a:off x="2372915" y="303499"/>
            <a:ext cx="4246960"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其他来源资金</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63" name="AutoShape 2"/>
          <p:cNvSpPr>
            <a:spLocks noChangeArrowheads="1"/>
          </p:cNvSpPr>
          <p:nvPr/>
        </p:nvSpPr>
        <p:spPr bwMode="gray">
          <a:xfrm>
            <a:off x="2540000" y="1143000"/>
            <a:ext cx="4140200" cy="1458913"/>
          </a:xfrm>
          <a:prstGeom prst="roundRect">
            <a:avLst>
              <a:gd name="adj" fmla="val 50000"/>
            </a:avLst>
          </a:prstGeom>
          <a:gradFill rotWithShape="0">
            <a:gsLst>
              <a:gs pos="0">
                <a:schemeClr val="accent1">
                  <a:gamma/>
                  <a:shade val="46275"/>
                  <a:invGamma/>
                </a:schemeClr>
              </a:gs>
              <a:gs pos="50000">
                <a:schemeClr val="accent1"/>
              </a:gs>
              <a:gs pos="100000">
                <a:schemeClr val="accent1">
                  <a:gamma/>
                  <a:shade val="46275"/>
                  <a:invGamma/>
                </a:schemeClr>
              </a:gs>
            </a:gsLst>
            <a:lin ang="5400000" scaled="1"/>
          </a:gradFill>
          <a:ln w="12700">
            <a:noFill/>
            <a:round/>
            <a:headEnd/>
            <a:tailEnd/>
          </a:ln>
          <a:effectLst/>
        </p:spPr>
        <p:txBody>
          <a:bodyPr wrap="none" anchor="ctr"/>
          <a:lstStyle/>
          <a:p>
            <a:pPr>
              <a:defRPr/>
            </a:pPr>
            <a:endParaRPr lang="zh-CN" altLang="en-US">
              <a:ea typeface="宋体" pitchFamily="2" charset="-122"/>
            </a:endParaRPr>
          </a:p>
        </p:txBody>
      </p:sp>
      <p:sp>
        <p:nvSpPr>
          <p:cNvPr id="64" name="AutoShape 3"/>
          <p:cNvSpPr>
            <a:spLocks noChangeArrowheads="1"/>
          </p:cNvSpPr>
          <p:nvPr/>
        </p:nvSpPr>
        <p:spPr bwMode="ltGray">
          <a:xfrm>
            <a:off x="2095500" y="3275013"/>
            <a:ext cx="5143500" cy="1727200"/>
          </a:xfrm>
          <a:prstGeom prst="roundRect">
            <a:avLst>
              <a:gd name="adj" fmla="val 50000"/>
            </a:avLst>
          </a:prstGeom>
          <a:gradFill rotWithShape="0">
            <a:gsLst>
              <a:gs pos="0">
                <a:schemeClr val="accent1">
                  <a:gamma/>
                  <a:shade val="46275"/>
                  <a:invGamma/>
                </a:schemeClr>
              </a:gs>
              <a:gs pos="50000">
                <a:schemeClr val="accent1"/>
              </a:gs>
              <a:gs pos="100000">
                <a:schemeClr val="accent1">
                  <a:gamma/>
                  <a:shade val="46275"/>
                  <a:invGamma/>
                </a:schemeClr>
              </a:gs>
            </a:gsLst>
            <a:lin ang="5400000" scaled="1"/>
          </a:gradFill>
          <a:ln w="12700">
            <a:noFill/>
            <a:round/>
            <a:headEnd/>
            <a:tailEnd/>
          </a:ln>
          <a:effectLst/>
        </p:spPr>
        <p:txBody>
          <a:bodyPr wrap="none" anchor="ctr"/>
          <a:lstStyle/>
          <a:p>
            <a:pPr>
              <a:defRPr/>
            </a:pPr>
            <a:endParaRPr lang="zh-CN" altLang="en-US">
              <a:ea typeface="宋体" pitchFamily="2" charset="-122"/>
            </a:endParaRPr>
          </a:p>
        </p:txBody>
      </p:sp>
      <p:sp>
        <p:nvSpPr>
          <p:cNvPr id="66" name="AutoShape 5"/>
          <p:cNvSpPr>
            <a:spLocks noChangeArrowheads="1"/>
          </p:cNvSpPr>
          <p:nvPr/>
        </p:nvSpPr>
        <p:spPr bwMode="gray">
          <a:xfrm>
            <a:off x="2286000" y="3275013"/>
            <a:ext cx="4795838" cy="1728787"/>
          </a:xfrm>
          <a:prstGeom prst="roundRect">
            <a:avLst>
              <a:gd name="adj" fmla="val 16667"/>
            </a:avLst>
          </a:prstGeom>
          <a:solidFill>
            <a:schemeClr val="folHlink"/>
          </a:solidFill>
          <a:ln>
            <a:noFill/>
          </a:ln>
          <a:extLst>
            <a:ext uri="{91240B29-F687-4F45-9708-019B960494DF}">
              <a14:hiddenLine xmlns:a14="http://schemas.microsoft.com/office/drawing/2010/main" w="38100">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67" name="AutoShape 6"/>
          <p:cNvSpPr>
            <a:spLocks noChangeArrowheads="1"/>
          </p:cNvSpPr>
          <p:nvPr/>
        </p:nvSpPr>
        <p:spPr bwMode="auto">
          <a:xfrm>
            <a:off x="2717800" y="1141413"/>
            <a:ext cx="3805238" cy="1474787"/>
          </a:xfrm>
          <a:prstGeom prst="roundRect">
            <a:avLst>
              <a:gd name="adj" fmla="val 16667"/>
            </a:avLst>
          </a:prstGeom>
          <a:solidFill>
            <a:schemeClr val="folHlink"/>
          </a:solidFill>
          <a:ln>
            <a:noFill/>
          </a:ln>
          <a:extLst>
            <a:ext uri="{91240B29-F687-4F45-9708-019B960494DF}">
              <a14:hiddenLine xmlns:a14="http://schemas.microsoft.com/office/drawing/2010/main" w="38100">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grpSp>
        <p:nvGrpSpPr>
          <p:cNvPr id="68" name="Group 7"/>
          <p:cNvGrpSpPr>
            <a:grpSpLocks/>
          </p:cNvGrpSpPr>
          <p:nvPr/>
        </p:nvGrpSpPr>
        <p:grpSpPr bwMode="auto">
          <a:xfrm>
            <a:off x="2390775" y="1284288"/>
            <a:ext cx="4445000" cy="1228725"/>
            <a:chOff x="1506" y="1586"/>
            <a:chExt cx="2800" cy="774"/>
          </a:xfrm>
        </p:grpSpPr>
        <p:sp>
          <p:nvSpPr>
            <p:cNvPr id="69" name="Line 8"/>
            <p:cNvSpPr>
              <a:spLocks noChangeShapeType="1"/>
            </p:cNvSpPr>
            <p:nvPr/>
          </p:nvSpPr>
          <p:spPr bwMode="ltGray">
            <a:xfrm>
              <a:off x="1692" y="1586"/>
              <a:ext cx="2431"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0" name="Line 9"/>
            <p:cNvSpPr>
              <a:spLocks noChangeShapeType="1"/>
            </p:cNvSpPr>
            <p:nvPr/>
          </p:nvSpPr>
          <p:spPr bwMode="ltGray">
            <a:xfrm>
              <a:off x="1638" y="1634"/>
              <a:ext cx="2536"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1" name="Line 10"/>
            <p:cNvSpPr>
              <a:spLocks noChangeShapeType="1"/>
            </p:cNvSpPr>
            <p:nvPr/>
          </p:nvSpPr>
          <p:spPr bwMode="ltGray">
            <a:xfrm>
              <a:off x="1596" y="1682"/>
              <a:ext cx="2623"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2" name="Line 11"/>
            <p:cNvSpPr>
              <a:spLocks noChangeShapeType="1"/>
            </p:cNvSpPr>
            <p:nvPr/>
          </p:nvSpPr>
          <p:spPr bwMode="ltGray">
            <a:xfrm>
              <a:off x="1566" y="1730"/>
              <a:ext cx="268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3" name="Line 12"/>
            <p:cNvSpPr>
              <a:spLocks noChangeShapeType="1"/>
            </p:cNvSpPr>
            <p:nvPr/>
          </p:nvSpPr>
          <p:spPr bwMode="ltGray">
            <a:xfrm>
              <a:off x="1545" y="1778"/>
              <a:ext cx="2728"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4" name="Line 13"/>
            <p:cNvSpPr>
              <a:spLocks noChangeShapeType="1"/>
            </p:cNvSpPr>
            <p:nvPr/>
          </p:nvSpPr>
          <p:spPr bwMode="ltGray">
            <a:xfrm>
              <a:off x="1524" y="1826"/>
              <a:ext cx="2767"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5" name="Line 14"/>
            <p:cNvSpPr>
              <a:spLocks noChangeShapeType="1"/>
            </p:cNvSpPr>
            <p:nvPr/>
          </p:nvSpPr>
          <p:spPr bwMode="ltGray">
            <a:xfrm>
              <a:off x="1509" y="1874"/>
              <a:ext cx="2791"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6" name="Line 15"/>
            <p:cNvSpPr>
              <a:spLocks noChangeShapeType="1"/>
            </p:cNvSpPr>
            <p:nvPr/>
          </p:nvSpPr>
          <p:spPr bwMode="ltGray">
            <a:xfrm>
              <a:off x="1506" y="1922"/>
              <a:ext cx="28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7" name="Line 16"/>
            <p:cNvSpPr>
              <a:spLocks noChangeShapeType="1"/>
            </p:cNvSpPr>
            <p:nvPr/>
          </p:nvSpPr>
          <p:spPr bwMode="ltGray">
            <a:xfrm>
              <a:off x="1506" y="1970"/>
              <a:ext cx="28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8" name="Line 17"/>
            <p:cNvSpPr>
              <a:spLocks noChangeShapeType="1"/>
            </p:cNvSpPr>
            <p:nvPr/>
          </p:nvSpPr>
          <p:spPr bwMode="ltGray">
            <a:xfrm>
              <a:off x="1506" y="2018"/>
              <a:ext cx="28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9" name="Line 18"/>
            <p:cNvSpPr>
              <a:spLocks noChangeShapeType="1"/>
            </p:cNvSpPr>
            <p:nvPr/>
          </p:nvSpPr>
          <p:spPr bwMode="ltGray">
            <a:xfrm>
              <a:off x="1521" y="2066"/>
              <a:ext cx="277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0" name="Line 19"/>
            <p:cNvSpPr>
              <a:spLocks noChangeShapeType="1"/>
            </p:cNvSpPr>
            <p:nvPr/>
          </p:nvSpPr>
          <p:spPr bwMode="ltGray">
            <a:xfrm>
              <a:off x="1536" y="2114"/>
              <a:ext cx="2743"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1" name="Line 20"/>
            <p:cNvSpPr>
              <a:spLocks noChangeShapeType="1"/>
            </p:cNvSpPr>
            <p:nvPr/>
          </p:nvSpPr>
          <p:spPr bwMode="ltGray">
            <a:xfrm>
              <a:off x="1554" y="2162"/>
              <a:ext cx="2701"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2" name="Line 21"/>
            <p:cNvSpPr>
              <a:spLocks noChangeShapeType="1"/>
            </p:cNvSpPr>
            <p:nvPr/>
          </p:nvSpPr>
          <p:spPr bwMode="ltGray">
            <a:xfrm>
              <a:off x="1587" y="2216"/>
              <a:ext cx="2641"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 name="Line 22"/>
            <p:cNvSpPr>
              <a:spLocks noChangeShapeType="1"/>
            </p:cNvSpPr>
            <p:nvPr/>
          </p:nvSpPr>
          <p:spPr bwMode="ltGray">
            <a:xfrm>
              <a:off x="1623" y="2264"/>
              <a:ext cx="2563"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4" name="Line 23"/>
            <p:cNvSpPr>
              <a:spLocks noChangeShapeType="1"/>
            </p:cNvSpPr>
            <p:nvPr/>
          </p:nvSpPr>
          <p:spPr bwMode="ltGray">
            <a:xfrm>
              <a:off x="1674" y="2312"/>
              <a:ext cx="2461"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5" name="Line 24"/>
            <p:cNvSpPr>
              <a:spLocks noChangeShapeType="1"/>
            </p:cNvSpPr>
            <p:nvPr/>
          </p:nvSpPr>
          <p:spPr bwMode="ltGray">
            <a:xfrm>
              <a:off x="1737" y="2360"/>
              <a:ext cx="2341"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sp>
        <p:nvSpPr>
          <p:cNvPr id="86" name="AutoShape 25"/>
          <p:cNvSpPr>
            <a:spLocks noChangeArrowheads="1"/>
          </p:cNvSpPr>
          <p:nvPr/>
        </p:nvSpPr>
        <p:spPr bwMode="gray">
          <a:xfrm>
            <a:off x="2771775" y="1179513"/>
            <a:ext cx="3713163" cy="1384300"/>
          </a:xfrm>
          <a:prstGeom prst="roundRect">
            <a:avLst>
              <a:gd name="adj" fmla="val 16667"/>
            </a:avLst>
          </a:prstGeom>
          <a:solidFill>
            <a:schemeClr val="bg1"/>
          </a:solidFill>
          <a:ln>
            <a:noFill/>
          </a:ln>
          <a:extLst>
            <a:ext uri="{91240B29-F687-4F45-9708-019B960494DF}">
              <a14:hiddenLine xmlns:a14="http://schemas.microsoft.com/office/drawing/2010/main" w="38100">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grpSp>
        <p:nvGrpSpPr>
          <p:cNvPr id="87" name="Group 26"/>
          <p:cNvGrpSpPr>
            <a:grpSpLocks/>
          </p:cNvGrpSpPr>
          <p:nvPr/>
        </p:nvGrpSpPr>
        <p:grpSpPr bwMode="auto">
          <a:xfrm>
            <a:off x="1943100" y="3405188"/>
            <a:ext cx="5454650" cy="1457325"/>
            <a:chOff x="1224" y="2946"/>
            <a:chExt cx="3436" cy="918"/>
          </a:xfrm>
        </p:grpSpPr>
        <p:sp>
          <p:nvSpPr>
            <p:cNvPr id="88" name="Line 27"/>
            <p:cNvSpPr>
              <a:spLocks noChangeShapeType="1"/>
            </p:cNvSpPr>
            <p:nvPr/>
          </p:nvSpPr>
          <p:spPr bwMode="gray">
            <a:xfrm>
              <a:off x="1479" y="2946"/>
              <a:ext cx="2926"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9" name="Line 28"/>
            <p:cNvSpPr>
              <a:spLocks noChangeShapeType="1"/>
            </p:cNvSpPr>
            <p:nvPr/>
          </p:nvSpPr>
          <p:spPr bwMode="gray">
            <a:xfrm>
              <a:off x="1422" y="2994"/>
              <a:ext cx="3055"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0" name="Line 29"/>
            <p:cNvSpPr>
              <a:spLocks noChangeShapeType="1"/>
            </p:cNvSpPr>
            <p:nvPr/>
          </p:nvSpPr>
          <p:spPr bwMode="gray">
            <a:xfrm>
              <a:off x="1374" y="3042"/>
              <a:ext cx="3148"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1" name="Line 30"/>
            <p:cNvSpPr>
              <a:spLocks noChangeShapeType="1"/>
            </p:cNvSpPr>
            <p:nvPr/>
          </p:nvSpPr>
          <p:spPr bwMode="gray">
            <a:xfrm>
              <a:off x="1332" y="3090"/>
              <a:ext cx="3226"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2" name="Line 31"/>
            <p:cNvSpPr>
              <a:spLocks noChangeShapeType="1"/>
            </p:cNvSpPr>
            <p:nvPr/>
          </p:nvSpPr>
          <p:spPr bwMode="gray">
            <a:xfrm>
              <a:off x="1302" y="3138"/>
              <a:ext cx="328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3" name="Line 32"/>
            <p:cNvSpPr>
              <a:spLocks noChangeShapeType="1"/>
            </p:cNvSpPr>
            <p:nvPr/>
          </p:nvSpPr>
          <p:spPr bwMode="gray">
            <a:xfrm>
              <a:off x="1272" y="3186"/>
              <a:ext cx="3337"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4" name="Line 33"/>
            <p:cNvSpPr>
              <a:spLocks noChangeShapeType="1"/>
            </p:cNvSpPr>
            <p:nvPr/>
          </p:nvSpPr>
          <p:spPr bwMode="gray">
            <a:xfrm>
              <a:off x="1254" y="3234"/>
              <a:ext cx="3373"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5" name="Line 34"/>
            <p:cNvSpPr>
              <a:spLocks noChangeShapeType="1"/>
            </p:cNvSpPr>
            <p:nvPr/>
          </p:nvSpPr>
          <p:spPr bwMode="gray">
            <a:xfrm>
              <a:off x="1242" y="3282"/>
              <a:ext cx="3403"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6" name="Line 35"/>
            <p:cNvSpPr>
              <a:spLocks noChangeShapeType="1"/>
            </p:cNvSpPr>
            <p:nvPr/>
          </p:nvSpPr>
          <p:spPr bwMode="gray">
            <a:xfrm>
              <a:off x="1236" y="3330"/>
              <a:ext cx="3418"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7" name="Line 36"/>
            <p:cNvSpPr>
              <a:spLocks noChangeShapeType="1"/>
            </p:cNvSpPr>
            <p:nvPr/>
          </p:nvSpPr>
          <p:spPr bwMode="gray">
            <a:xfrm>
              <a:off x="1224" y="3378"/>
              <a:ext cx="3436"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8" name="Line 37"/>
            <p:cNvSpPr>
              <a:spLocks noChangeShapeType="1"/>
            </p:cNvSpPr>
            <p:nvPr/>
          </p:nvSpPr>
          <p:spPr bwMode="gray">
            <a:xfrm>
              <a:off x="1227" y="3426"/>
              <a:ext cx="3433"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9" name="Line 38"/>
            <p:cNvSpPr>
              <a:spLocks noChangeShapeType="1"/>
            </p:cNvSpPr>
            <p:nvPr/>
          </p:nvSpPr>
          <p:spPr bwMode="gray">
            <a:xfrm>
              <a:off x="1233" y="3474"/>
              <a:ext cx="3418"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0" name="Line 39"/>
            <p:cNvSpPr>
              <a:spLocks noChangeShapeType="1"/>
            </p:cNvSpPr>
            <p:nvPr/>
          </p:nvSpPr>
          <p:spPr bwMode="gray">
            <a:xfrm>
              <a:off x="1242" y="3522"/>
              <a:ext cx="3406"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1" name="Line 40"/>
            <p:cNvSpPr>
              <a:spLocks noChangeShapeType="1"/>
            </p:cNvSpPr>
            <p:nvPr/>
          </p:nvSpPr>
          <p:spPr bwMode="gray">
            <a:xfrm>
              <a:off x="1254" y="3576"/>
              <a:ext cx="3373"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2" name="Line 41"/>
            <p:cNvSpPr>
              <a:spLocks noChangeShapeType="1"/>
            </p:cNvSpPr>
            <p:nvPr/>
          </p:nvSpPr>
          <p:spPr bwMode="gray">
            <a:xfrm>
              <a:off x="1275" y="3624"/>
              <a:ext cx="3343"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3" name="Line 42"/>
            <p:cNvSpPr>
              <a:spLocks noChangeShapeType="1"/>
            </p:cNvSpPr>
            <p:nvPr/>
          </p:nvSpPr>
          <p:spPr bwMode="gray">
            <a:xfrm>
              <a:off x="1296" y="3672"/>
              <a:ext cx="3295"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4" name="Line 43"/>
            <p:cNvSpPr>
              <a:spLocks noChangeShapeType="1"/>
            </p:cNvSpPr>
            <p:nvPr/>
          </p:nvSpPr>
          <p:spPr bwMode="gray">
            <a:xfrm>
              <a:off x="1326" y="3720"/>
              <a:ext cx="3235"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5" name="Line 44"/>
            <p:cNvSpPr>
              <a:spLocks noChangeShapeType="1"/>
            </p:cNvSpPr>
            <p:nvPr/>
          </p:nvSpPr>
          <p:spPr bwMode="gray">
            <a:xfrm>
              <a:off x="1365" y="3768"/>
              <a:ext cx="3154"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6" name="Line 45"/>
            <p:cNvSpPr>
              <a:spLocks noChangeShapeType="1"/>
            </p:cNvSpPr>
            <p:nvPr/>
          </p:nvSpPr>
          <p:spPr bwMode="gray">
            <a:xfrm>
              <a:off x="1413" y="3816"/>
              <a:ext cx="3061"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7" name="Line 46"/>
            <p:cNvSpPr>
              <a:spLocks noChangeShapeType="1"/>
            </p:cNvSpPr>
            <p:nvPr/>
          </p:nvSpPr>
          <p:spPr bwMode="gray">
            <a:xfrm>
              <a:off x="1470" y="3864"/>
              <a:ext cx="295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sp>
        <p:nvSpPr>
          <p:cNvPr id="108" name="AutoShape 47"/>
          <p:cNvSpPr>
            <a:spLocks noChangeArrowheads="1"/>
          </p:cNvSpPr>
          <p:nvPr/>
        </p:nvSpPr>
        <p:spPr bwMode="ltGray">
          <a:xfrm>
            <a:off x="2338388" y="3313113"/>
            <a:ext cx="4694237" cy="1639887"/>
          </a:xfrm>
          <a:prstGeom prst="roundRect">
            <a:avLst>
              <a:gd name="adj" fmla="val 16667"/>
            </a:avLst>
          </a:prstGeom>
          <a:solidFill>
            <a:schemeClr val="bg1"/>
          </a:solidFill>
          <a:ln>
            <a:noFill/>
          </a:ln>
          <a:extLst>
            <a:ext uri="{91240B29-F687-4F45-9708-019B960494DF}">
              <a14:hiddenLine xmlns:a14="http://schemas.microsoft.com/office/drawing/2010/main" w="38100">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109" name="AutoShape 48"/>
          <p:cNvSpPr>
            <a:spLocks noChangeArrowheads="1"/>
          </p:cNvSpPr>
          <p:nvPr/>
        </p:nvSpPr>
        <p:spPr bwMode="auto">
          <a:xfrm rot="10800000">
            <a:off x="4241800" y="2695575"/>
            <a:ext cx="762000" cy="373063"/>
          </a:xfrm>
          <a:prstGeom prst="upArrow">
            <a:avLst>
              <a:gd name="adj1" fmla="val 50000"/>
              <a:gd name="adj2" fmla="val 49241"/>
            </a:avLst>
          </a:prstGeom>
          <a:gradFill rotWithShape="0">
            <a:gsLst>
              <a:gs pos="0">
                <a:schemeClr val="accent2"/>
              </a:gs>
              <a:gs pos="100000">
                <a:schemeClr val="bg1"/>
              </a:gs>
            </a:gsLst>
            <a:lin ang="5400000" scaled="1"/>
          </a:gra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110" name="Rectangle 49"/>
          <p:cNvSpPr>
            <a:spLocks noChangeArrowheads="1"/>
          </p:cNvSpPr>
          <p:nvPr/>
        </p:nvSpPr>
        <p:spPr bwMode="gray">
          <a:xfrm>
            <a:off x="2930525" y="1349375"/>
            <a:ext cx="3422650" cy="117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10800" tIns="10800" rIns="18000" bIns="10800"/>
          <a:lstStyle>
            <a:lvl1pPr defTabSz="865188" eaLnBrk="0" hangingPunct="0">
              <a:defRPr>
                <a:solidFill>
                  <a:schemeClr val="tx1"/>
                </a:solidFill>
                <a:latin typeface="Arial" pitchFamily="34" charset="0"/>
              </a:defRPr>
            </a:lvl1pPr>
            <a:lvl2pPr marL="742950" indent="-285750" defTabSz="865188" eaLnBrk="0" hangingPunct="0">
              <a:defRPr>
                <a:solidFill>
                  <a:schemeClr val="tx1"/>
                </a:solidFill>
                <a:latin typeface="Arial" pitchFamily="34" charset="0"/>
              </a:defRPr>
            </a:lvl2pPr>
            <a:lvl3pPr marL="1143000" indent="-228600" defTabSz="865188" eaLnBrk="0" hangingPunct="0">
              <a:defRPr>
                <a:solidFill>
                  <a:schemeClr val="tx1"/>
                </a:solidFill>
                <a:latin typeface="Arial" pitchFamily="34" charset="0"/>
              </a:defRPr>
            </a:lvl3pPr>
            <a:lvl4pPr marL="1600200" indent="-228600" defTabSz="865188" eaLnBrk="0" hangingPunct="0">
              <a:defRPr>
                <a:solidFill>
                  <a:schemeClr val="tx1"/>
                </a:solidFill>
                <a:latin typeface="Arial" pitchFamily="34" charset="0"/>
              </a:defRPr>
            </a:lvl4pPr>
            <a:lvl5pPr marL="2057400" indent="-228600" defTabSz="865188" eaLnBrk="0" hangingPunct="0">
              <a:defRPr>
                <a:solidFill>
                  <a:schemeClr val="tx1"/>
                </a:solidFill>
                <a:latin typeface="Arial" pitchFamily="34" charset="0"/>
              </a:defRPr>
            </a:lvl5pPr>
            <a:lvl6pPr marL="2514600" indent="-228600" defTabSz="865188" eaLnBrk="0" fontAlgn="base" hangingPunct="0">
              <a:spcBef>
                <a:spcPct val="0"/>
              </a:spcBef>
              <a:spcAft>
                <a:spcPct val="0"/>
              </a:spcAft>
              <a:defRPr>
                <a:solidFill>
                  <a:schemeClr val="tx1"/>
                </a:solidFill>
                <a:latin typeface="Arial" pitchFamily="34" charset="0"/>
              </a:defRPr>
            </a:lvl6pPr>
            <a:lvl7pPr marL="2971800" indent="-228600" defTabSz="865188" eaLnBrk="0" fontAlgn="base" hangingPunct="0">
              <a:spcBef>
                <a:spcPct val="0"/>
              </a:spcBef>
              <a:spcAft>
                <a:spcPct val="0"/>
              </a:spcAft>
              <a:defRPr>
                <a:solidFill>
                  <a:schemeClr val="tx1"/>
                </a:solidFill>
                <a:latin typeface="Arial" pitchFamily="34" charset="0"/>
              </a:defRPr>
            </a:lvl7pPr>
            <a:lvl8pPr marL="3429000" indent="-228600" defTabSz="865188" eaLnBrk="0" fontAlgn="base" hangingPunct="0">
              <a:spcBef>
                <a:spcPct val="0"/>
              </a:spcBef>
              <a:spcAft>
                <a:spcPct val="0"/>
              </a:spcAft>
              <a:defRPr>
                <a:solidFill>
                  <a:schemeClr val="tx1"/>
                </a:solidFill>
                <a:latin typeface="Arial" pitchFamily="34" charset="0"/>
              </a:defRPr>
            </a:lvl8pPr>
            <a:lvl9pPr marL="3886200" indent="-228600" defTabSz="865188" eaLnBrk="0" fontAlgn="base" hangingPunct="0">
              <a:spcBef>
                <a:spcPct val="0"/>
              </a:spcBef>
              <a:spcAft>
                <a:spcPct val="0"/>
              </a:spcAft>
              <a:defRPr>
                <a:solidFill>
                  <a:schemeClr val="tx1"/>
                </a:solidFill>
                <a:latin typeface="Arial" pitchFamily="34" charset="0"/>
              </a:defRPr>
            </a:lvl9pPr>
          </a:lstStyle>
          <a:p>
            <a:pPr eaLnBrk="1" latinLnBrk="1" hangingPunct="1">
              <a:lnSpc>
                <a:spcPct val="120000"/>
              </a:lnSpc>
            </a:pPr>
            <a:r>
              <a:rPr kumimoji="1" lang="ko-KR" altLang="en-US" sz="2000" b="1" dirty="0">
                <a:solidFill>
                  <a:schemeClr val="hlink"/>
                </a:solidFill>
                <a:ea typeface="DotumChe" pitchFamily="49" charset="-127"/>
              </a:rPr>
              <a:t> </a:t>
            </a:r>
            <a:r>
              <a:rPr kumimoji="1" lang="zh-CN" altLang="en-US" sz="1400" b="1" dirty="0" smtClean="0">
                <a:solidFill>
                  <a:schemeClr val="hlink"/>
                </a:solidFill>
                <a:ea typeface="DotumChe" pitchFamily="49" charset="-127"/>
              </a:rPr>
              <a:t>财政部</a:t>
            </a:r>
            <a:r>
              <a:rPr kumimoji="1" lang="zh-CN" altLang="en-US" sz="1400" b="1" dirty="0">
                <a:solidFill>
                  <a:schemeClr val="hlink"/>
                </a:solidFill>
                <a:ea typeface="DotumChe" pitchFamily="49" charset="-127"/>
              </a:rPr>
              <a:t>科技部</a:t>
            </a:r>
            <a:r>
              <a:rPr kumimoji="1" lang="en-US" altLang="zh-CN" sz="1400" b="1" dirty="0">
                <a:solidFill>
                  <a:schemeClr val="hlink"/>
                </a:solidFill>
                <a:ea typeface="DotumChe" pitchFamily="49" charset="-127"/>
              </a:rPr>
              <a:t>2016</a:t>
            </a:r>
            <a:r>
              <a:rPr kumimoji="1" lang="zh-CN" altLang="en-US" sz="1400" b="1" dirty="0">
                <a:solidFill>
                  <a:schemeClr val="hlink"/>
                </a:solidFill>
                <a:ea typeface="DotumChe" pitchFamily="49" charset="-127"/>
              </a:rPr>
              <a:t>年</a:t>
            </a:r>
            <a:r>
              <a:rPr kumimoji="1" lang="en-US" altLang="zh-CN" sz="1400" b="1" dirty="0">
                <a:solidFill>
                  <a:schemeClr val="hlink"/>
                </a:solidFill>
                <a:ea typeface="DotumChe" pitchFamily="49" charset="-127"/>
              </a:rPr>
              <a:t>12</a:t>
            </a:r>
            <a:r>
              <a:rPr kumimoji="1" lang="zh-CN" altLang="en-US" sz="1400" b="1" dirty="0">
                <a:solidFill>
                  <a:schemeClr val="hlink"/>
                </a:solidFill>
                <a:ea typeface="DotumChe" pitchFamily="49" charset="-127"/>
              </a:rPr>
              <a:t>月</a:t>
            </a:r>
            <a:r>
              <a:rPr kumimoji="1" lang="en-US" altLang="zh-CN" sz="1400" b="1" dirty="0">
                <a:solidFill>
                  <a:schemeClr val="hlink"/>
                </a:solidFill>
                <a:ea typeface="DotumChe" pitchFamily="49" charset="-127"/>
              </a:rPr>
              <a:t>30</a:t>
            </a:r>
            <a:r>
              <a:rPr kumimoji="1" lang="zh-CN" altLang="en-US" sz="1400" b="1" dirty="0">
                <a:solidFill>
                  <a:schemeClr val="hlink"/>
                </a:solidFill>
                <a:ea typeface="DotumChe" pitchFamily="49" charset="-127"/>
              </a:rPr>
              <a:t>日颁布了</a:t>
            </a:r>
            <a:r>
              <a:rPr kumimoji="1" lang="en-US" altLang="zh-CN" sz="1400" b="1" dirty="0">
                <a:solidFill>
                  <a:schemeClr val="hlink"/>
                </a:solidFill>
                <a:ea typeface="DotumChe" pitchFamily="49" charset="-127"/>
              </a:rPr>
              <a:t>《</a:t>
            </a:r>
            <a:r>
              <a:rPr kumimoji="1" lang="zh-CN" altLang="en-US" sz="1400" b="1" dirty="0">
                <a:solidFill>
                  <a:schemeClr val="hlink"/>
                </a:solidFill>
                <a:ea typeface="DotumChe" pitchFamily="49" charset="-127"/>
              </a:rPr>
              <a:t>国家重点研发计划资金管理办法</a:t>
            </a:r>
            <a:r>
              <a:rPr kumimoji="1" lang="en-US" altLang="zh-CN" sz="1400" b="1" dirty="0">
                <a:solidFill>
                  <a:schemeClr val="hlink"/>
                </a:solidFill>
                <a:ea typeface="DotumChe" pitchFamily="49" charset="-127"/>
              </a:rPr>
              <a:t>》</a:t>
            </a:r>
            <a:r>
              <a:rPr kumimoji="1" lang="zh-CN" altLang="en-US" sz="1400" b="1" dirty="0">
                <a:solidFill>
                  <a:schemeClr val="hlink"/>
                </a:solidFill>
                <a:ea typeface="DotumChe" pitchFamily="49" charset="-127"/>
              </a:rPr>
              <a:t>：地方财政资金、单位自筹资金和其他渠道</a:t>
            </a:r>
            <a:r>
              <a:rPr kumimoji="1" lang="zh-CN" altLang="en-US" sz="1400" b="1" dirty="0" smtClean="0">
                <a:solidFill>
                  <a:schemeClr val="hlink"/>
                </a:solidFill>
                <a:ea typeface="DotumChe" pitchFamily="49" charset="-127"/>
              </a:rPr>
              <a:t>资金</a:t>
            </a:r>
            <a:endParaRPr kumimoji="1" lang="zh-CN" altLang="en-US" sz="1400" b="1" dirty="0">
              <a:solidFill>
                <a:schemeClr val="hlink"/>
              </a:solidFill>
              <a:ea typeface="DotumChe" pitchFamily="49" charset="-127"/>
            </a:endParaRPr>
          </a:p>
        </p:txBody>
      </p:sp>
      <p:sp>
        <p:nvSpPr>
          <p:cNvPr id="111" name="Rectangle 50"/>
          <p:cNvSpPr>
            <a:spLocks noChangeArrowheads="1"/>
          </p:cNvSpPr>
          <p:nvPr/>
        </p:nvSpPr>
        <p:spPr bwMode="gray">
          <a:xfrm>
            <a:off x="2565400" y="3352800"/>
            <a:ext cx="4313238"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10800" tIns="10800" rIns="18000" bIns="10800"/>
          <a:lstStyle>
            <a:lvl1pPr defTabSz="865188" eaLnBrk="0" hangingPunct="0">
              <a:defRPr>
                <a:solidFill>
                  <a:schemeClr val="tx1"/>
                </a:solidFill>
                <a:latin typeface="Arial" pitchFamily="34" charset="0"/>
              </a:defRPr>
            </a:lvl1pPr>
            <a:lvl2pPr marL="742950" indent="-285750" defTabSz="865188" eaLnBrk="0" hangingPunct="0">
              <a:defRPr>
                <a:solidFill>
                  <a:schemeClr val="tx1"/>
                </a:solidFill>
                <a:latin typeface="Arial" pitchFamily="34" charset="0"/>
              </a:defRPr>
            </a:lvl2pPr>
            <a:lvl3pPr marL="1143000" indent="-228600" defTabSz="865188" eaLnBrk="0" hangingPunct="0">
              <a:defRPr>
                <a:solidFill>
                  <a:schemeClr val="tx1"/>
                </a:solidFill>
                <a:latin typeface="Arial" pitchFamily="34" charset="0"/>
              </a:defRPr>
            </a:lvl3pPr>
            <a:lvl4pPr marL="1600200" indent="-228600" defTabSz="865188" eaLnBrk="0" hangingPunct="0">
              <a:defRPr>
                <a:solidFill>
                  <a:schemeClr val="tx1"/>
                </a:solidFill>
                <a:latin typeface="Arial" pitchFamily="34" charset="0"/>
              </a:defRPr>
            </a:lvl4pPr>
            <a:lvl5pPr marL="2057400" indent="-228600" defTabSz="865188" eaLnBrk="0" hangingPunct="0">
              <a:defRPr>
                <a:solidFill>
                  <a:schemeClr val="tx1"/>
                </a:solidFill>
                <a:latin typeface="Arial" pitchFamily="34" charset="0"/>
              </a:defRPr>
            </a:lvl5pPr>
            <a:lvl6pPr marL="2514600" indent="-228600" defTabSz="865188" eaLnBrk="0" fontAlgn="base" hangingPunct="0">
              <a:spcBef>
                <a:spcPct val="0"/>
              </a:spcBef>
              <a:spcAft>
                <a:spcPct val="0"/>
              </a:spcAft>
              <a:defRPr>
                <a:solidFill>
                  <a:schemeClr val="tx1"/>
                </a:solidFill>
                <a:latin typeface="Arial" pitchFamily="34" charset="0"/>
              </a:defRPr>
            </a:lvl6pPr>
            <a:lvl7pPr marL="2971800" indent="-228600" defTabSz="865188" eaLnBrk="0" fontAlgn="base" hangingPunct="0">
              <a:spcBef>
                <a:spcPct val="0"/>
              </a:spcBef>
              <a:spcAft>
                <a:spcPct val="0"/>
              </a:spcAft>
              <a:defRPr>
                <a:solidFill>
                  <a:schemeClr val="tx1"/>
                </a:solidFill>
                <a:latin typeface="Arial" pitchFamily="34" charset="0"/>
              </a:defRPr>
            </a:lvl7pPr>
            <a:lvl8pPr marL="3429000" indent="-228600" defTabSz="865188" eaLnBrk="0" fontAlgn="base" hangingPunct="0">
              <a:spcBef>
                <a:spcPct val="0"/>
              </a:spcBef>
              <a:spcAft>
                <a:spcPct val="0"/>
              </a:spcAft>
              <a:defRPr>
                <a:solidFill>
                  <a:schemeClr val="tx1"/>
                </a:solidFill>
                <a:latin typeface="Arial" pitchFamily="34" charset="0"/>
              </a:defRPr>
            </a:lvl8pPr>
            <a:lvl9pPr marL="3886200" indent="-228600" defTabSz="865188" eaLnBrk="0" fontAlgn="base" hangingPunct="0">
              <a:spcBef>
                <a:spcPct val="0"/>
              </a:spcBef>
              <a:spcAft>
                <a:spcPct val="0"/>
              </a:spcAft>
              <a:defRPr>
                <a:solidFill>
                  <a:schemeClr val="tx1"/>
                </a:solidFill>
                <a:latin typeface="Arial" pitchFamily="34" charset="0"/>
              </a:defRPr>
            </a:lvl9pPr>
          </a:lstStyle>
          <a:p>
            <a:pPr eaLnBrk="1" latinLnBrk="1" hangingPunct="1">
              <a:lnSpc>
                <a:spcPct val="120000"/>
              </a:lnSpc>
            </a:pPr>
            <a:r>
              <a:rPr kumimoji="1" lang="zh-CN" altLang="en-US" sz="1400" b="1" dirty="0" smtClean="0">
                <a:solidFill>
                  <a:schemeClr val="hlink"/>
                </a:solidFill>
                <a:ea typeface="DotumChe" pitchFamily="49" charset="-127"/>
              </a:rPr>
              <a:t>他来源</a:t>
            </a:r>
            <a:r>
              <a:rPr kumimoji="1" lang="zh-CN" altLang="en-US" sz="1400" b="1" dirty="0">
                <a:solidFill>
                  <a:schemeClr val="hlink"/>
                </a:solidFill>
                <a:ea typeface="DotumChe" pitchFamily="49" charset="-127"/>
              </a:rPr>
              <a:t>资金提供资金提供方出资承诺。</a:t>
            </a:r>
          </a:p>
          <a:p>
            <a:pPr eaLnBrk="1" latinLnBrk="1" hangingPunct="1">
              <a:lnSpc>
                <a:spcPct val="120000"/>
              </a:lnSpc>
              <a:buFontTx/>
              <a:buChar char="•"/>
            </a:pPr>
            <a:r>
              <a:rPr kumimoji="1" lang="zh-CN" altLang="en-US" sz="1200" b="1" dirty="0">
                <a:ea typeface="DotumChe" pitchFamily="49" charset="-127"/>
              </a:rPr>
              <a:t>原则上，谁出资谁证明，并应说明经费的来源、金额及具体用途等</a:t>
            </a:r>
          </a:p>
          <a:p>
            <a:pPr eaLnBrk="1" latinLnBrk="1" hangingPunct="1">
              <a:lnSpc>
                <a:spcPct val="120000"/>
              </a:lnSpc>
              <a:buFontTx/>
              <a:buChar char="•"/>
            </a:pPr>
            <a:r>
              <a:rPr kumimoji="1" lang="zh-CN" altLang="en-US" sz="1200" b="1" dirty="0">
                <a:ea typeface="DotumChe" pitchFamily="49" charset="-127"/>
              </a:rPr>
              <a:t>不得使用货币资金外的资产或其他中央财政资金作为资金来源</a:t>
            </a:r>
          </a:p>
          <a:p>
            <a:pPr eaLnBrk="1" latinLnBrk="1" hangingPunct="1">
              <a:lnSpc>
                <a:spcPct val="120000"/>
              </a:lnSpc>
              <a:buFontTx/>
              <a:buChar char="•"/>
            </a:pPr>
            <a:r>
              <a:rPr kumimoji="1" lang="zh-CN" altLang="en-US" sz="1200" b="1" dirty="0">
                <a:ea typeface="DotumChe" pitchFamily="49" charset="-127"/>
              </a:rPr>
              <a:t>课题承诺的自筹经费应当真实配套并落实到位</a:t>
            </a:r>
          </a:p>
          <a:p>
            <a:pPr eaLnBrk="1" latinLnBrk="1" hangingPunct="1">
              <a:lnSpc>
                <a:spcPct val="120000"/>
              </a:lnSpc>
              <a:buFontTx/>
              <a:buChar char="•"/>
            </a:pPr>
            <a:r>
              <a:rPr kumimoji="1" lang="zh-CN" altLang="en-US" sz="1200" b="1" dirty="0">
                <a:ea typeface="DotumChe" pitchFamily="49" charset="-127"/>
              </a:rPr>
              <a:t>虚假承诺其他来源的资金不得通过财务</a:t>
            </a:r>
            <a:r>
              <a:rPr kumimoji="1" lang="zh-CN" altLang="en-US" sz="1200" b="1" dirty="0" smtClean="0">
                <a:ea typeface="DotumChe" pitchFamily="49" charset="-127"/>
              </a:rPr>
              <a:t>验收</a:t>
            </a:r>
            <a:endParaRPr kumimoji="1" lang="zh-CN" altLang="en-US" sz="1200" b="1" dirty="0">
              <a:ea typeface="DotumChe" pitchFamily="49" charset="-127"/>
            </a:endParaRPr>
          </a:p>
        </p:txBody>
      </p:sp>
      <p:pic>
        <p:nvPicPr>
          <p:cNvPr id="51" name="图片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52" name="TextBox 51"/>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692441191"/>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3"/>
          <p:cNvSpPr>
            <a:spLocks noChangeArrowheads="1"/>
          </p:cNvSpPr>
          <p:nvPr/>
        </p:nvSpPr>
        <p:spPr bwMode="auto">
          <a:xfrm>
            <a:off x="134939" y="924031"/>
            <a:ext cx="4333874" cy="406293"/>
          </a:xfrm>
          <a:prstGeom prst="roundRect">
            <a:avLst>
              <a:gd name="adj" fmla="val 16667"/>
            </a:avLst>
          </a:prstGeom>
          <a:gradFill rotWithShape="1">
            <a:gsLst>
              <a:gs pos="0">
                <a:schemeClr val="bg1">
                  <a:lumMod val="75000"/>
                </a:schemeClr>
              </a:gs>
              <a:gs pos="100000">
                <a:schemeClr val="tx1">
                  <a:lumMod val="50000"/>
                  <a:lumOff val="50000"/>
                </a:schemeClr>
              </a:gs>
            </a:gsLst>
            <a:lin ang="5400000" scaled="1"/>
          </a:gradFill>
          <a:ln w="9525" algn="ctr">
            <a:noFill/>
            <a:round/>
            <a:headEnd/>
            <a:tailEnd/>
          </a:ln>
          <a:effectLst/>
        </p:spPr>
        <p:txBody>
          <a:bodyPr anchor="ctr"/>
          <a:lstStyle/>
          <a:p>
            <a:pPr>
              <a:defRPr/>
            </a:pPr>
            <a:endParaRPr lang="zh-CN" altLang="zh-CN">
              <a:latin typeface="Verdana" pitchFamily="34" charset="0"/>
              <a:ea typeface="宋体" pitchFamily="2" charset="-122"/>
            </a:endParaRPr>
          </a:p>
        </p:txBody>
      </p:sp>
      <p:sp>
        <p:nvSpPr>
          <p:cNvPr id="3" name="AutoShape 3"/>
          <p:cNvSpPr>
            <a:spLocks noChangeArrowheads="1"/>
          </p:cNvSpPr>
          <p:nvPr/>
        </p:nvSpPr>
        <p:spPr bwMode="gray">
          <a:xfrm>
            <a:off x="153988" y="973218"/>
            <a:ext cx="4256087" cy="304720"/>
          </a:xfrm>
          <a:prstGeom prst="roundRect">
            <a:avLst>
              <a:gd name="adj" fmla="val 16667"/>
            </a:avLst>
          </a:prstGeom>
          <a:solidFill>
            <a:schemeClr val="accent1"/>
          </a:solidFill>
          <a:ln w="25400" algn="ctr">
            <a:solidFill>
              <a:schemeClr val="bg1"/>
            </a:solidFill>
            <a:round/>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endParaRPr lang="zh-CN" altLang="zh-CN" sz="2000">
              <a:solidFill>
                <a:schemeClr val="tx2"/>
              </a:solidFill>
              <a:latin typeface="Calibri" pitchFamily="34" charset="0"/>
              <a:ea typeface="微软雅黑" pitchFamily="34" charset="-122"/>
            </a:endParaRPr>
          </a:p>
        </p:txBody>
      </p:sp>
      <p:sp>
        <p:nvSpPr>
          <p:cNvPr id="4" name="Rectangle 13"/>
          <p:cNvSpPr>
            <a:spLocks noChangeArrowheads="1"/>
          </p:cNvSpPr>
          <p:nvPr/>
        </p:nvSpPr>
        <p:spPr bwMode="auto">
          <a:xfrm>
            <a:off x="-231775" y="993999"/>
            <a:ext cx="497046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zh-CN" altLang="en-US" dirty="0">
                <a:latin typeface="微软雅黑" pitchFamily="34" charset="-122"/>
                <a:ea typeface="微软雅黑" pitchFamily="34" charset="-122"/>
              </a:rPr>
              <a:t> 中办</a:t>
            </a:r>
            <a:r>
              <a:rPr lang="en-US" altLang="zh-CN" dirty="0">
                <a:latin typeface="微软雅黑" pitchFamily="34" charset="-122"/>
                <a:ea typeface="微软雅黑" pitchFamily="34" charset="-122"/>
              </a:rPr>
              <a:t>50</a:t>
            </a:r>
            <a:r>
              <a:rPr lang="zh-CN" altLang="en-US" dirty="0">
                <a:latin typeface="微软雅黑" pitchFamily="34" charset="-122"/>
                <a:ea typeface="微软雅黑" pitchFamily="34" charset="-122"/>
              </a:rPr>
              <a:t>号文明确要求简化预算编制，下放预算调剂权限</a:t>
            </a:r>
          </a:p>
        </p:txBody>
      </p:sp>
      <p:sp>
        <p:nvSpPr>
          <p:cNvPr id="5" name="文本框 3"/>
          <p:cNvSpPr txBox="1"/>
          <p:nvPr/>
        </p:nvSpPr>
        <p:spPr>
          <a:xfrm>
            <a:off x="1115615" y="303499"/>
            <a:ext cx="3353198"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预算调整</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6" name="矩形 5"/>
          <p:cNvSpPr/>
          <p:nvPr/>
        </p:nvSpPr>
        <p:spPr>
          <a:xfrm>
            <a:off x="134939" y="1568356"/>
            <a:ext cx="8361684" cy="2308324"/>
          </a:xfrm>
          <a:prstGeom prst="rect">
            <a:avLst/>
          </a:prstGeom>
        </p:spPr>
        <p:txBody>
          <a:bodyPr wrap="square">
            <a:spAutoFit/>
          </a:bodyPr>
          <a:lstStyle/>
          <a:p>
            <a:pPr algn="just"/>
            <a:r>
              <a:rPr lang="zh-CN" altLang="en-US" b="1" dirty="0" smtClean="0"/>
              <a:t>科技部：</a:t>
            </a:r>
            <a:r>
              <a:rPr lang="zh-CN" altLang="zh-CN" dirty="0" smtClean="0"/>
              <a:t>课题</a:t>
            </a:r>
            <a:r>
              <a:rPr lang="zh-CN" altLang="zh-CN" dirty="0"/>
              <a:t>预算</a:t>
            </a:r>
            <a:r>
              <a:rPr lang="zh-CN" altLang="zh-CN" dirty="0">
                <a:solidFill>
                  <a:srgbClr val="FF0000"/>
                </a:solidFill>
              </a:rPr>
              <a:t>总额不变</a:t>
            </a:r>
            <a:r>
              <a:rPr lang="zh-CN" altLang="zh-CN" dirty="0"/>
              <a:t>，课题直接费用中</a:t>
            </a:r>
            <a:r>
              <a:rPr lang="zh-CN" altLang="zh-CN" dirty="0">
                <a:solidFill>
                  <a:srgbClr val="FF0000"/>
                </a:solidFill>
              </a:rPr>
              <a:t>材料费、测试化验加工费、燃料动力费、出版</a:t>
            </a:r>
            <a:r>
              <a:rPr lang="en-US" altLang="zh-CN" dirty="0">
                <a:solidFill>
                  <a:srgbClr val="FF0000"/>
                </a:solidFill>
              </a:rPr>
              <a:t>/</a:t>
            </a:r>
            <a:r>
              <a:rPr lang="zh-CN" altLang="zh-CN" dirty="0">
                <a:solidFill>
                  <a:srgbClr val="FF0000"/>
                </a:solidFill>
              </a:rPr>
              <a:t>文献</a:t>
            </a:r>
            <a:r>
              <a:rPr lang="en-US" altLang="zh-CN" dirty="0">
                <a:solidFill>
                  <a:srgbClr val="FF0000"/>
                </a:solidFill>
              </a:rPr>
              <a:t>/</a:t>
            </a:r>
            <a:r>
              <a:rPr lang="zh-CN" altLang="zh-CN" dirty="0">
                <a:solidFill>
                  <a:srgbClr val="FF0000"/>
                </a:solidFill>
              </a:rPr>
              <a:t>信息传播</a:t>
            </a:r>
            <a:r>
              <a:rPr lang="en-US" altLang="zh-CN" dirty="0">
                <a:solidFill>
                  <a:srgbClr val="FF0000"/>
                </a:solidFill>
              </a:rPr>
              <a:t>/</a:t>
            </a:r>
            <a:r>
              <a:rPr lang="zh-CN" altLang="zh-CN" dirty="0">
                <a:solidFill>
                  <a:srgbClr val="FF0000"/>
                </a:solidFill>
              </a:rPr>
              <a:t>知识产权事务费、其他支出</a:t>
            </a:r>
            <a:r>
              <a:rPr lang="zh-CN" altLang="zh-CN" dirty="0"/>
              <a:t>预算如需调剂，课题负责人根据实施过程中科研活动的实际需要提出申请，由课题承担</a:t>
            </a:r>
            <a:r>
              <a:rPr lang="zh-CN" altLang="zh-CN" dirty="0">
                <a:solidFill>
                  <a:srgbClr val="FF0000"/>
                </a:solidFill>
              </a:rPr>
              <a:t>单位批准</a:t>
            </a:r>
            <a:r>
              <a:rPr lang="zh-CN" altLang="zh-CN" dirty="0"/>
              <a:t>，报项目</a:t>
            </a:r>
            <a:r>
              <a:rPr lang="zh-CN" altLang="zh-CN" dirty="0">
                <a:solidFill>
                  <a:srgbClr val="FF0000"/>
                </a:solidFill>
              </a:rPr>
              <a:t>牵头承担单位备案</a:t>
            </a:r>
            <a:r>
              <a:rPr lang="zh-CN" altLang="zh-CN" dirty="0"/>
              <a:t>。</a:t>
            </a:r>
            <a:r>
              <a:rPr lang="zh-CN" altLang="zh-CN" dirty="0">
                <a:solidFill>
                  <a:srgbClr val="FF0000"/>
                </a:solidFill>
              </a:rPr>
              <a:t>设备费、差旅</a:t>
            </a:r>
            <a:r>
              <a:rPr lang="en-US" altLang="zh-CN" dirty="0">
                <a:solidFill>
                  <a:srgbClr val="FF0000"/>
                </a:solidFill>
              </a:rPr>
              <a:t>/</a:t>
            </a:r>
            <a:r>
              <a:rPr lang="zh-CN" altLang="zh-CN" dirty="0">
                <a:solidFill>
                  <a:srgbClr val="FF0000"/>
                </a:solidFill>
              </a:rPr>
              <a:t>会议</a:t>
            </a:r>
            <a:r>
              <a:rPr lang="en-US" altLang="zh-CN" dirty="0">
                <a:solidFill>
                  <a:srgbClr val="FF0000"/>
                </a:solidFill>
              </a:rPr>
              <a:t>/</a:t>
            </a:r>
            <a:r>
              <a:rPr lang="zh-CN" altLang="zh-CN" dirty="0">
                <a:solidFill>
                  <a:srgbClr val="FF0000"/>
                </a:solidFill>
              </a:rPr>
              <a:t>国际合作交流费、劳务费、专家咨询费</a:t>
            </a:r>
            <a:r>
              <a:rPr lang="zh-CN" altLang="zh-CN" dirty="0"/>
              <a:t>的预算一般</a:t>
            </a:r>
            <a:r>
              <a:rPr lang="zh-CN" altLang="zh-CN" dirty="0">
                <a:solidFill>
                  <a:srgbClr val="FF0000"/>
                </a:solidFill>
              </a:rPr>
              <a:t>不予调增</a:t>
            </a:r>
            <a:r>
              <a:rPr lang="zh-CN" altLang="zh-CN" dirty="0"/>
              <a:t>，需调减用于课题其他直接支出的，可按上述程序办理调剂审批手续；如有特殊情况确需调增的，由项目（课题）负责人提出申请，经项目牵头承担单位同意后，报专业机构批准</a:t>
            </a:r>
            <a:r>
              <a:rPr lang="zh-CN" altLang="zh-CN" dirty="0" smtClean="0"/>
              <a:t>。</a:t>
            </a:r>
            <a:r>
              <a:rPr lang="zh-CN" altLang="zh-CN" dirty="0">
                <a:solidFill>
                  <a:srgbClr val="FF0000"/>
                </a:solidFill>
              </a:rPr>
              <a:t>不得随意调账</a:t>
            </a:r>
            <a:r>
              <a:rPr lang="zh-CN" altLang="zh-CN" dirty="0" smtClean="0">
                <a:solidFill>
                  <a:srgbClr val="FF0000"/>
                </a:solidFill>
              </a:rPr>
              <a:t>变动支出</a:t>
            </a:r>
            <a:r>
              <a:rPr lang="zh-CN" altLang="en-US" dirty="0" smtClean="0">
                <a:solidFill>
                  <a:srgbClr val="FF0000"/>
                </a:solidFill>
              </a:rPr>
              <a:t>。</a:t>
            </a:r>
            <a:r>
              <a:rPr lang="zh-CN" altLang="zh-CN" dirty="0">
                <a:solidFill>
                  <a:srgbClr val="FF0000"/>
                </a:solidFill>
              </a:rPr>
              <a:t>未按规定执行和调剂</a:t>
            </a:r>
            <a:r>
              <a:rPr lang="zh-CN" altLang="zh-CN" dirty="0" smtClean="0">
                <a:solidFill>
                  <a:srgbClr val="FF0000"/>
                </a:solidFill>
              </a:rPr>
              <a:t>预算</a:t>
            </a:r>
            <a:r>
              <a:rPr lang="zh-CN" altLang="zh-CN" dirty="0">
                <a:solidFill>
                  <a:srgbClr val="FF0000"/>
                </a:solidFill>
              </a:rPr>
              <a:t>不得通过财务验收</a:t>
            </a:r>
            <a:endParaRPr lang="zh-CN" altLang="en-US" dirty="0">
              <a:solidFill>
                <a:srgbClr val="FF0000"/>
              </a:solidFill>
            </a:endParaRPr>
          </a:p>
        </p:txBody>
      </p:sp>
      <p:sp>
        <p:nvSpPr>
          <p:cNvPr id="7" name="矩形 6"/>
          <p:cNvSpPr/>
          <p:nvPr/>
        </p:nvSpPr>
        <p:spPr>
          <a:xfrm>
            <a:off x="134939" y="2987576"/>
            <a:ext cx="8361684" cy="1546577"/>
          </a:xfrm>
          <a:prstGeom prst="rect">
            <a:avLst/>
          </a:prstGeom>
        </p:spPr>
        <p:txBody>
          <a:bodyPr wrap="square">
            <a:spAutoFit/>
          </a:bodyPr>
          <a:lstStyle/>
          <a:p>
            <a:pPr algn="just"/>
            <a:r>
              <a:rPr lang="zh-CN" altLang="en-US" b="1" dirty="0" smtClean="0"/>
              <a:t>院规定</a:t>
            </a:r>
            <a:r>
              <a:rPr lang="zh-CN" altLang="en-US" dirty="0" smtClean="0"/>
              <a:t>：</a:t>
            </a:r>
            <a:r>
              <a:rPr lang="zh-CN" altLang="zh-CN" dirty="0" smtClean="0"/>
              <a:t>项目</a:t>
            </a:r>
            <a:r>
              <a:rPr lang="zh-CN" altLang="zh-CN" dirty="0"/>
              <a:t>（课题）</a:t>
            </a:r>
            <a:r>
              <a:rPr lang="zh-CN" altLang="zh-CN" dirty="0">
                <a:solidFill>
                  <a:srgbClr val="FF0000"/>
                </a:solidFill>
              </a:rPr>
              <a:t>总预算不变</a:t>
            </a:r>
            <a:r>
              <a:rPr lang="zh-CN" altLang="zh-CN" dirty="0"/>
              <a:t>的情况下，</a:t>
            </a:r>
            <a:r>
              <a:rPr lang="zh-CN" altLang="zh-CN" dirty="0">
                <a:solidFill>
                  <a:srgbClr val="FF0000"/>
                </a:solidFill>
              </a:rPr>
              <a:t>除设备费外</a:t>
            </a:r>
            <a:r>
              <a:rPr lang="zh-CN" altLang="zh-CN" dirty="0"/>
              <a:t>，支出预算如需调剂，项目（课题）负责人根据实施过程中科研活动的实际需要提出申请，由项目（课题）承担</a:t>
            </a:r>
            <a:r>
              <a:rPr lang="zh-CN" altLang="zh-CN" dirty="0">
                <a:solidFill>
                  <a:srgbClr val="FF0000"/>
                </a:solidFill>
              </a:rPr>
              <a:t>单位审批</a:t>
            </a:r>
            <a:r>
              <a:rPr lang="zh-CN" altLang="zh-CN" dirty="0"/>
              <a:t>，在</a:t>
            </a:r>
            <a:r>
              <a:rPr lang="zh-CN" altLang="zh-CN" dirty="0">
                <a:solidFill>
                  <a:srgbClr val="FF0000"/>
                </a:solidFill>
              </a:rPr>
              <a:t>中期</a:t>
            </a:r>
            <a:r>
              <a:rPr lang="zh-CN" altLang="zh-CN" dirty="0"/>
              <a:t>财务检查或财务</a:t>
            </a:r>
            <a:r>
              <a:rPr lang="zh-CN" altLang="zh-CN" dirty="0">
                <a:solidFill>
                  <a:srgbClr val="FF0000"/>
                </a:solidFill>
              </a:rPr>
              <a:t>验收</a:t>
            </a:r>
            <a:r>
              <a:rPr lang="zh-CN" altLang="zh-CN" dirty="0"/>
              <a:t>时</a:t>
            </a:r>
            <a:r>
              <a:rPr lang="zh-CN" altLang="zh-CN" dirty="0">
                <a:solidFill>
                  <a:srgbClr val="FF0000"/>
                </a:solidFill>
              </a:rPr>
              <a:t>予以确认</a:t>
            </a:r>
            <a:r>
              <a:rPr lang="zh-CN" altLang="zh-CN" dirty="0"/>
              <a:t>。</a:t>
            </a:r>
            <a:r>
              <a:rPr lang="en-US" altLang="zh-CN" dirty="0"/>
              <a:t> </a:t>
            </a:r>
            <a:endParaRPr lang="zh-CN" altLang="zh-CN" dirty="0"/>
          </a:p>
          <a:p>
            <a:pPr algn="just"/>
            <a:r>
              <a:rPr lang="zh-CN" altLang="zh-CN" dirty="0">
                <a:solidFill>
                  <a:srgbClr val="FF0000"/>
                </a:solidFill>
              </a:rPr>
              <a:t>设备费</a:t>
            </a:r>
            <a:r>
              <a:rPr lang="zh-CN" altLang="zh-CN" dirty="0"/>
              <a:t>一般</a:t>
            </a:r>
            <a:r>
              <a:rPr lang="zh-CN" altLang="zh-CN" dirty="0">
                <a:solidFill>
                  <a:srgbClr val="FF0000"/>
                </a:solidFill>
              </a:rPr>
              <a:t>不予调增</a:t>
            </a:r>
            <a:r>
              <a:rPr lang="zh-CN" altLang="zh-CN" dirty="0"/>
              <a:t>，如需调减可按上述程序调剂用于项目其他方面支出。如有特殊情况</a:t>
            </a:r>
            <a:r>
              <a:rPr lang="zh-CN" altLang="zh-CN" dirty="0">
                <a:solidFill>
                  <a:srgbClr val="FF0000"/>
                </a:solidFill>
              </a:rPr>
              <a:t>确需调增</a:t>
            </a:r>
            <a:r>
              <a:rPr lang="zh-CN" altLang="zh-CN" dirty="0"/>
              <a:t>或购置内容变动较大的，由项目（课题）负责人提出申请，经项目（课题）承担单位同意后，</a:t>
            </a:r>
            <a:r>
              <a:rPr lang="zh-CN" altLang="zh-CN" dirty="0">
                <a:solidFill>
                  <a:srgbClr val="FF0000"/>
                </a:solidFill>
              </a:rPr>
              <a:t>报机关项目主管部门</a:t>
            </a:r>
            <a:r>
              <a:rPr lang="zh-CN" altLang="zh-CN" dirty="0" smtClean="0">
                <a:solidFill>
                  <a:srgbClr val="FF0000"/>
                </a:solidFill>
              </a:rPr>
              <a:t>批准</a:t>
            </a:r>
            <a:r>
              <a:rPr lang="zh-CN" altLang="en-US" dirty="0" smtClean="0">
                <a:solidFill>
                  <a:srgbClr val="FF0000"/>
                </a:solidFill>
              </a:rPr>
              <a:t>。</a:t>
            </a:r>
            <a:r>
              <a:rPr lang="zh-CN" altLang="zh-CN" dirty="0">
                <a:solidFill>
                  <a:srgbClr val="FF0000"/>
                </a:solidFill>
              </a:rPr>
              <a:t>不得随意调账变动支出、随意修改记账</a:t>
            </a:r>
            <a:r>
              <a:rPr lang="zh-CN" altLang="zh-CN" dirty="0" smtClean="0">
                <a:solidFill>
                  <a:srgbClr val="FF0000"/>
                </a:solidFill>
              </a:rPr>
              <a:t>凭证</a:t>
            </a:r>
            <a:r>
              <a:rPr lang="zh-CN" altLang="en-US" dirty="0" smtClean="0">
                <a:solidFill>
                  <a:srgbClr val="FF0000"/>
                </a:solidFill>
              </a:rPr>
              <a:t>。</a:t>
            </a:r>
            <a:r>
              <a:rPr lang="zh-CN" altLang="zh-CN" dirty="0">
                <a:solidFill>
                  <a:srgbClr val="FF0000"/>
                </a:solidFill>
              </a:rPr>
              <a:t>未按规定执行和调剂预算不得通过财务验收</a:t>
            </a:r>
            <a:endParaRPr lang="zh-CN" altLang="en-US" dirty="0">
              <a:solidFill>
                <a:srgbClr val="FF0000"/>
              </a:solidFill>
            </a:endParaRPr>
          </a:p>
          <a:p>
            <a:pPr algn="just"/>
            <a:endParaRPr lang="zh-CN" altLang="en-US" dirty="0">
              <a:solidFill>
                <a:srgbClr val="FF0000"/>
              </a:solidFill>
            </a:endParaRPr>
          </a:p>
        </p:txBody>
      </p:sp>
      <p:pic>
        <p:nvPicPr>
          <p:cNvPr id="8" name="图片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9" name="TextBox 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802729941"/>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200"/>
                                        <p:tgtEl>
                                          <p:spTgt spid="2"/>
                                        </p:tgtEl>
                                      </p:cBhvr>
                                    </p:animEffect>
                                  </p:childTnLst>
                                </p:cTn>
                              </p:par>
                            </p:childTnLst>
                          </p:cTn>
                        </p:par>
                        <p:par>
                          <p:cTn id="8" fill="hold">
                            <p:stCondLst>
                              <p:cond delay="1000"/>
                            </p:stCondLst>
                            <p:childTnLst>
                              <p:par>
                                <p:cTn id="9" presetID="16" presetClass="entr" presetSubtype="42" fill="hold" grpId="0" nodeType="afterEffect">
                                  <p:stCondLst>
                                    <p:cond delay="700"/>
                                  </p:stCondLst>
                                  <p:childTnLst>
                                    <p:set>
                                      <p:cBhvr>
                                        <p:cTn id="10" dur="1" fill="hold">
                                          <p:stCondLst>
                                            <p:cond delay="0"/>
                                          </p:stCondLst>
                                        </p:cTn>
                                        <p:tgtEl>
                                          <p:spTgt spid="3"/>
                                        </p:tgtEl>
                                        <p:attrNameLst>
                                          <p:attrName>style.visibility</p:attrName>
                                        </p:attrNameLst>
                                      </p:cBhvr>
                                      <p:to>
                                        <p:strVal val="visible"/>
                                      </p:to>
                                    </p:set>
                                    <p:animEffect transition="in" filter="barn(outHorizontal)">
                                      <p:cBhvr>
                                        <p:cTn id="11" dur="100"/>
                                        <p:tgtEl>
                                          <p:spTgt spid="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任意多边形 4"/>
          <p:cNvSpPr/>
          <p:nvPr/>
        </p:nvSpPr>
        <p:spPr>
          <a:xfrm rot="198227">
            <a:off x="-19215" y="359279"/>
            <a:ext cx="9192052" cy="649290"/>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0C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6" name="任意多边形 5"/>
          <p:cNvSpPr/>
          <p:nvPr/>
        </p:nvSpPr>
        <p:spPr>
          <a:xfrm rot="21338589" flipV="1">
            <a:off x="-24934" y="348681"/>
            <a:ext cx="9192052" cy="325553"/>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4B5E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7" name="Freeform 5"/>
          <p:cNvSpPr>
            <a:spLocks/>
          </p:cNvSpPr>
          <p:nvPr/>
        </p:nvSpPr>
        <p:spPr bwMode="auto">
          <a:xfrm rot="5400000">
            <a:off x="4021697" y="-949794"/>
            <a:ext cx="709959" cy="3171839"/>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dirty="0"/>
          </a:p>
        </p:txBody>
      </p:sp>
      <p:sp>
        <p:nvSpPr>
          <p:cNvPr id="8" name="矩形 7"/>
          <p:cNvSpPr/>
          <p:nvPr/>
        </p:nvSpPr>
        <p:spPr>
          <a:xfrm>
            <a:off x="3854555" y="262095"/>
            <a:ext cx="973049" cy="32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t>01</a:t>
            </a:r>
            <a:endParaRPr lang="zh-CN" altLang="en-US" sz="2400" b="1" dirty="0"/>
          </a:p>
        </p:txBody>
      </p:sp>
      <p:sp>
        <p:nvSpPr>
          <p:cNvPr id="9" name="文本框 3"/>
          <p:cNvSpPr txBox="1"/>
          <p:nvPr/>
        </p:nvSpPr>
        <p:spPr>
          <a:xfrm>
            <a:off x="3046230" y="453092"/>
            <a:ext cx="2783016" cy="461665"/>
          </a:xfrm>
          <a:prstGeom prst="rect">
            <a:avLst/>
          </a:prstGeom>
          <a:noFill/>
          <a:effectLst/>
        </p:spPr>
        <p:txBody>
          <a:bodyPr wrap="square" rtlCol="0">
            <a:spAutoFit/>
          </a:bodyPr>
          <a:lstStyle/>
          <a:p>
            <a:r>
              <a:rPr lang="zh-CN" altLang="en-US" sz="2400" b="1" dirty="0" smtClean="0">
                <a:solidFill>
                  <a:srgbClr val="FBFCF2"/>
                </a:solidFill>
                <a:latin typeface="微软雅黑" pitchFamily="34" charset="-122"/>
                <a:ea typeface="微软雅黑" pitchFamily="34" charset="-122"/>
              </a:rPr>
              <a:t>科研财务助理制度</a:t>
            </a:r>
            <a:endParaRPr lang="zh-CN" altLang="en-US" sz="2400" b="1" dirty="0">
              <a:solidFill>
                <a:srgbClr val="FBFCF2"/>
              </a:solidFill>
              <a:latin typeface="微软雅黑" pitchFamily="34" charset="-122"/>
              <a:ea typeface="微软雅黑" pitchFamily="34" charset="-122"/>
            </a:endParaRPr>
          </a:p>
        </p:txBody>
      </p:sp>
      <p:sp>
        <p:nvSpPr>
          <p:cNvPr id="10" name="矩形 9"/>
          <p:cNvSpPr/>
          <p:nvPr/>
        </p:nvSpPr>
        <p:spPr>
          <a:xfrm>
            <a:off x="248748" y="1157291"/>
            <a:ext cx="1723549" cy="369332"/>
          </a:xfrm>
          <a:prstGeom prst="rect">
            <a:avLst/>
          </a:prstGeom>
        </p:spPr>
        <p:txBody>
          <a:bodyPr wrap="none">
            <a:spAutoFit/>
          </a:bodyPr>
          <a:lstStyle/>
          <a:p>
            <a:pPr marL="342900" indent="-342900">
              <a:buFont typeface="Wingdings" pitchFamily="2" charset="2"/>
              <a:buChar char="l"/>
            </a:pPr>
            <a:r>
              <a:rPr lang="zh-CN" altLang="en-US" sz="1800" b="1" dirty="0" smtClean="0">
                <a:solidFill>
                  <a:srgbClr val="EEECE1">
                    <a:lumMod val="25000"/>
                  </a:srgbClr>
                </a:solidFill>
                <a:latin typeface="微软雅黑" pitchFamily="34" charset="-122"/>
                <a:ea typeface="微软雅黑" pitchFamily="34" charset="-122"/>
              </a:rPr>
              <a:t>中办</a:t>
            </a:r>
            <a:r>
              <a:rPr lang="en-US" altLang="zh-CN" sz="1800" b="1" dirty="0" smtClean="0">
                <a:solidFill>
                  <a:srgbClr val="EEECE1">
                    <a:lumMod val="25000"/>
                  </a:srgbClr>
                </a:solidFill>
                <a:latin typeface="微软雅黑" pitchFamily="34" charset="-122"/>
                <a:ea typeface="微软雅黑" pitchFamily="34" charset="-122"/>
              </a:rPr>
              <a:t>50</a:t>
            </a:r>
            <a:r>
              <a:rPr lang="zh-CN" altLang="en-US" sz="1800" b="1" dirty="0" smtClean="0">
                <a:solidFill>
                  <a:srgbClr val="EEECE1">
                    <a:lumMod val="25000"/>
                  </a:srgbClr>
                </a:solidFill>
                <a:latin typeface="微软雅黑" pitchFamily="34" charset="-122"/>
                <a:ea typeface="微软雅黑" pitchFamily="34" charset="-122"/>
              </a:rPr>
              <a:t>号文</a:t>
            </a:r>
            <a:endParaRPr lang="en-US" altLang="zh-CN" sz="1800" b="1" dirty="0">
              <a:solidFill>
                <a:srgbClr val="EEECE1">
                  <a:lumMod val="25000"/>
                </a:srgbClr>
              </a:solidFill>
              <a:latin typeface="微软雅黑" pitchFamily="34" charset="-122"/>
              <a:ea typeface="微软雅黑" pitchFamily="34" charset="-122"/>
            </a:endParaRPr>
          </a:p>
        </p:txBody>
      </p:sp>
      <p:grpSp>
        <p:nvGrpSpPr>
          <p:cNvPr id="14" name="组合 22"/>
          <p:cNvGrpSpPr>
            <a:grpSpLocks/>
          </p:cNvGrpSpPr>
          <p:nvPr/>
        </p:nvGrpSpPr>
        <p:grpSpPr bwMode="auto">
          <a:xfrm>
            <a:off x="2005874" y="1044552"/>
            <a:ext cx="7252425" cy="1061829"/>
            <a:chOff x="2591727" y="1364892"/>
            <a:chExt cx="4692185" cy="3036753"/>
          </a:xfrm>
        </p:grpSpPr>
        <p:sp>
          <p:nvSpPr>
            <p:cNvPr id="15" name="矩形 14"/>
            <p:cNvSpPr/>
            <p:nvPr/>
          </p:nvSpPr>
          <p:spPr>
            <a:xfrm>
              <a:off x="2591727" y="1469394"/>
              <a:ext cx="4515439" cy="1229510"/>
            </a:xfrm>
            <a:prstGeom prst="rect">
              <a:avLst/>
            </a:prstGeom>
            <a:solidFill>
              <a:schemeClr val="bg2">
                <a:lumMod val="90000"/>
                <a:alpha val="20000"/>
              </a:schemeClr>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6" name="矩形 40"/>
            <p:cNvSpPr>
              <a:spLocks noChangeArrowheads="1"/>
            </p:cNvSpPr>
            <p:nvPr/>
          </p:nvSpPr>
          <p:spPr bwMode="auto">
            <a:xfrm>
              <a:off x="2639837" y="1364892"/>
              <a:ext cx="4644075" cy="303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800" b="1" dirty="0" smtClean="0">
                  <a:solidFill>
                    <a:srgbClr val="FF0000"/>
                  </a:solidFill>
                  <a:latin typeface="方正粗雅宋_GBK" pitchFamily="2" charset="-122"/>
                  <a:ea typeface="方正粗雅宋_GBK" pitchFamily="2" charset="-122"/>
                </a:rPr>
                <a:t>院</a:t>
              </a:r>
              <a:r>
                <a:rPr lang="zh-CN" altLang="en-US" sz="1800" b="1" dirty="0">
                  <a:solidFill>
                    <a:srgbClr val="FF0000"/>
                  </a:solidFill>
                  <a:latin typeface="方正粗雅宋_GBK" pitchFamily="2" charset="-122"/>
                  <a:ea typeface="方正粗雅宋_GBK" pitchFamily="2" charset="-122"/>
                </a:rPr>
                <a:t>关于推进科研财务助理工作指导意见</a:t>
              </a:r>
              <a:r>
                <a:rPr lang="en-US" altLang="zh-CN" sz="1800" b="1" dirty="0" smtClean="0">
                  <a:solidFill>
                    <a:srgbClr val="FF0000"/>
                  </a:solidFill>
                  <a:latin typeface="方正粗雅宋_GBK" pitchFamily="2" charset="-122"/>
                  <a:ea typeface="方正粗雅宋_GBK" pitchFamily="2" charset="-122"/>
                </a:rPr>
                <a:t>—</a:t>
              </a:r>
              <a:r>
                <a:rPr lang="zh-CN" altLang="zh-CN" sz="1800" b="1" dirty="0">
                  <a:solidFill>
                    <a:srgbClr val="FF0000"/>
                  </a:solidFill>
                  <a:latin typeface="方正粗雅宋_GBK" pitchFamily="2" charset="-122"/>
                  <a:ea typeface="方正粗雅宋_GBK" pitchFamily="2" charset="-122"/>
                </a:rPr>
                <a:t>所科研财务助理管理办法</a:t>
              </a:r>
              <a:endParaRPr lang="zh-CN" altLang="en-US" sz="1800" b="1" dirty="0">
                <a:solidFill>
                  <a:srgbClr val="FF0000"/>
                </a:solidFill>
                <a:latin typeface="方正粗雅宋_GBK" pitchFamily="2" charset="-122"/>
                <a:ea typeface="方正粗雅宋_GBK" pitchFamily="2" charset="-122"/>
              </a:endParaRPr>
            </a:p>
            <a:p>
              <a:pPr>
                <a:lnSpc>
                  <a:spcPct val="150000"/>
                </a:lnSpc>
              </a:pPr>
              <a:endParaRPr lang="zh-CN" altLang="en-US" sz="2400" b="1" dirty="0">
                <a:solidFill>
                  <a:srgbClr val="FF0000"/>
                </a:solidFill>
                <a:latin typeface="方正粗雅宋_GBK" pitchFamily="2" charset="-122"/>
                <a:ea typeface="方正粗雅宋_GBK" pitchFamily="2" charset="-122"/>
              </a:endParaRPr>
            </a:p>
          </p:txBody>
        </p:sp>
      </p:grpSp>
      <p:sp>
        <p:nvSpPr>
          <p:cNvPr id="17" name="矩形 16"/>
          <p:cNvSpPr/>
          <p:nvPr/>
        </p:nvSpPr>
        <p:spPr bwMode="auto">
          <a:xfrm>
            <a:off x="19050" y="1525538"/>
            <a:ext cx="9182050" cy="3554819"/>
          </a:xfrm>
          <a:prstGeom prst="rect">
            <a:avLst/>
          </a:prstGeom>
        </p:spPr>
        <p:txBody>
          <a:bodyPr wrap="square">
            <a:spAutoFit/>
          </a:bodyPr>
          <a:lstStyle/>
          <a:p>
            <a:pPr marL="352425" indent="-352425" fontAlgn="auto">
              <a:lnSpc>
                <a:spcPct val="250000"/>
              </a:lnSpc>
              <a:spcBef>
                <a:spcPts val="0"/>
              </a:spcBef>
              <a:spcAft>
                <a:spcPts val="0"/>
              </a:spcAft>
              <a:buClr>
                <a:srgbClr val="FFFF00"/>
              </a:buClr>
              <a:buFont typeface="Wingdings" pitchFamily="2" charset="2"/>
              <a:buChar char="n"/>
              <a:defRPr/>
            </a:pPr>
            <a:r>
              <a:rPr lang="zh-CN" altLang="zh-CN" sz="1800" dirty="0" smtClean="0">
                <a:ln w="3175">
                  <a:solidFill>
                    <a:schemeClr val="tx1"/>
                  </a:solidFill>
                </a:ln>
                <a:latin typeface="方正风雅宋简体" pitchFamily="2" charset="-122"/>
                <a:ea typeface="方正风雅宋简体" pitchFamily="2" charset="-122"/>
              </a:rPr>
              <a:t>通过</a:t>
            </a:r>
            <a:r>
              <a:rPr lang="zh-CN" altLang="zh-CN" sz="1800" dirty="0">
                <a:ln w="3175">
                  <a:solidFill>
                    <a:schemeClr val="tx1"/>
                  </a:solidFill>
                </a:ln>
                <a:latin typeface="方正风雅宋简体" pitchFamily="2" charset="-122"/>
                <a:ea typeface="方正风雅宋简体" pitchFamily="2" charset="-122"/>
              </a:rPr>
              <a:t>建立健全科研财务助理管理办法，逐步形成专业化的科研财务助理队伍，为科研人员在项目预算编制和调剂、经费支出、财务决算和验收、经费审计、项目管理等方面提供全过程专业化服务，让科研人员潜心从事科学研究。通过创新服务方式，加强财务与科研工作的有效衔接，促进我所科研项目顺利实施，提高资金使用效率，规范资金使用和资产管理，确保科研工作有序开展。</a:t>
            </a:r>
            <a:endParaRPr lang="en-US" altLang="zh-CN" sz="1800" dirty="0">
              <a:ln w="3175">
                <a:solidFill>
                  <a:schemeClr val="tx1"/>
                </a:solidFill>
              </a:ln>
              <a:latin typeface="方正风雅宋简体" pitchFamily="2" charset="-122"/>
              <a:ea typeface="方正风雅宋简体" pitchFamily="2" charset="-122"/>
            </a:endParaRPr>
          </a:p>
        </p:txBody>
      </p:sp>
    </p:spTree>
    <p:extLst>
      <p:ext uri="{BB962C8B-B14F-4D97-AF65-F5344CB8AC3E}">
        <p14:creationId xmlns:p14="http://schemas.microsoft.com/office/powerpoint/2010/main" val="337185378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250"/>
                                        <p:tgtEl>
                                          <p:spTgt spid="5"/>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1250"/>
                                        <p:tgtEl>
                                          <p:spTgt spid="6"/>
                                        </p:tgtEl>
                                      </p:cBhvr>
                                    </p:animEffect>
                                  </p:childTnLst>
                                </p:cTn>
                              </p:par>
                            </p:childTnLst>
                          </p:cTn>
                        </p:par>
                        <p:par>
                          <p:cTn id="11" fill="hold">
                            <p:stCondLst>
                              <p:cond delay="1250"/>
                            </p:stCondLst>
                            <p:childTnLst>
                              <p:par>
                                <p:cTn id="12" presetID="55"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750" fill="hold"/>
                                        <p:tgtEl>
                                          <p:spTgt spid="7"/>
                                        </p:tgtEl>
                                        <p:attrNameLst>
                                          <p:attrName>ppt_w</p:attrName>
                                        </p:attrNameLst>
                                      </p:cBhvr>
                                      <p:tavLst>
                                        <p:tav tm="0">
                                          <p:val>
                                            <p:strVal val="#ppt_w*0.70"/>
                                          </p:val>
                                        </p:tav>
                                        <p:tav tm="100000">
                                          <p:val>
                                            <p:strVal val="#ppt_w"/>
                                          </p:val>
                                        </p:tav>
                                      </p:tavLst>
                                    </p:anim>
                                    <p:anim calcmode="lin" valueType="num">
                                      <p:cBhvr>
                                        <p:cTn id="15" dur="750" fill="hold"/>
                                        <p:tgtEl>
                                          <p:spTgt spid="7"/>
                                        </p:tgtEl>
                                        <p:attrNameLst>
                                          <p:attrName>ppt_h</p:attrName>
                                        </p:attrNameLst>
                                      </p:cBhvr>
                                      <p:tavLst>
                                        <p:tav tm="0">
                                          <p:val>
                                            <p:strVal val="#ppt_h"/>
                                          </p:val>
                                        </p:tav>
                                        <p:tav tm="100000">
                                          <p:val>
                                            <p:strVal val="#ppt_h"/>
                                          </p:val>
                                        </p:tav>
                                      </p:tavLst>
                                    </p:anim>
                                    <p:animEffect transition="in" filter="fade">
                                      <p:cBhvr>
                                        <p:cTn id="16" dur="750"/>
                                        <p:tgtEl>
                                          <p:spTgt spid="7"/>
                                        </p:tgtEl>
                                      </p:cBhvr>
                                    </p:animEffect>
                                  </p:childTnLst>
                                </p:cTn>
                              </p:par>
                            </p:childTnLst>
                          </p:cTn>
                        </p:par>
                        <p:par>
                          <p:cTn id="17" fill="hold">
                            <p:stCondLst>
                              <p:cond delay="2000"/>
                            </p:stCondLst>
                            <p:childTnLst>
                              <p:par>
                                <p:cTn id="18" presetID="12" presetClass="entr" presetSubtype="4"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p:tgtEl>
                                          <p:spTgt spid="8"/>
                                        </p:tgtEl>
                                        <p:attrNameLst>
                                          <p:attrName>ppt_y</p:attrName>
                                        </p:attrNameLst>
                                      </p:cBhvr>
                                      <p:tavLst>
                                        <p:tav tm="0">
                                          <p:val>
                                            <p:strVal val="#ppt_y+#ppt_h*1.125000"/>
                                          </p:val>
                                        </p:tav>
                                        <p:tav tm="100000">
                                          <p:val>
                                            <p:strVal val="#ppt_y"/>
                                          </p:val>
                                        </p:tav>
                                      </p:tavLst>
                                    </p:anim>
                                    <p:animEffect transition="in" filter="wipe(up)">
                                      <p:cBhvr>
                                        <p:cTn id="21" dur="500"/>
                                        <p:tgtEl>
                                          <p:spTgt spid="8"/>
                                        </p:tgtEl>
                                      </p:cBhvr>
                                    </p:animEffect>
                                  </p:childTnLst>
                                </p:cTn>
                              </p:par>
                            </p:childTnLst>
                          </p:cTn>
                        </p:par>
                        <p:par>
                          <p:cTn id="22" fill="hold">
                            <p:stCondLst>
                              <p:cond delay="2500"/>
                            </p:stCondLst>
                            <p:childTnLst>
                              <p:par>
                                <p:cTn id="23" presetID="23" presetClass="entr" presetSubtype="16" fill="hold" grpId="0" nodeType="afterEffect">
                                  <p:stCondLst>
                                    <p:cond delay="0"/>
                                  </p:stCondLst>
                                  <p:iterate type="lt">
                                    <p:tmPct val="10000"/>
                                  </p:iterate>
                                  <p:childTnLst>
                                    <p:set>
                                      <p:cBhvr>
                                        <p:cTn id="24" dur="1" fill="hold">
                                          <p:stCondLst>
                                            <p:cond delay="0"/>
                                          </p:stCondLst>
                                        </p:cTn>
                                        <p:tgtEl>
                                          <p:spTgt spid="9"/>
                                        </p:tgtEl>
                                        <p:attrNameLst>
                                          <p:attrName>style.visibility</p:attrName>
                                        </p:attrNameLst>
                                      </p:cBhvr>
                                      <p:to>
                                        <p:strVal val="visible"/>
                                      </p:to>
                                    </p:set>
                                    <p:anim calcmode="lin" valueType="num">
                                      <p:cBhvr>
                                        <p:cTn id="25" dur="500" fill="hold"/>
                                        <p:tgtEl>
                                          <p:spTgt spid="9"/>
                                        </p:tgtEl>
                                        <p:attrNameLst>
                                          <p:attrName>ppt_w</p:attrName>
                                        </p:attrNameLst>
                                      </p:cBhvr>
                                      <p:tavLst>
                                        <p:tav tm="0">
                                          <p:val>
                                            <p:fltVal val="0"/>
                                          </p:val>
                                        </p:tav>
                                        <p:tav tm="100000">
                                          <p:val>
                                            <p:strVal val="#ppt_w"/>
                                          </p:val>
                                        </p:tav>
                                      </p:tavLst>
                                    </p:anim>
                                    <p:anim calcmode="lin" valueType="num">
                                      <p:cBhvr>
                                        <p:cTn id="26" dur="500" fill="hold"/>
                                        <p:tgtEl>
                                          <p:spTgt spid="9"/>
                                        </p:tgtEl>
                                        <p:attrNameLst>
                                          <p:attrName>ppt_h</p:attrName>
                                        </p:attrNameLst>
                                      </p:cBhvr>
                                      <p:tavLst>
                                        <p:tav tm="0">
                                          <p:val>
                                            <p:fltVal val="0"/>
                                          </p:val>
                                        </p:tav>
                                        <p:tav tm="100000">
                                          <p:val>
                                            <p:strVal val="#ppt_h"/>
                                          </p:val>
                                        </p:tav>
                                      </p:tavLst>
                                    </p:anim>
                                  </p:childTnLst>
                                </p:cTn>
                              </p:par>
                              <p:par>
                                <p:cTn id="27" presetID="47" presetClass="entr" presetSubtype="0" fill="hold" grpId="0" nodeType="withEffect">
                                  <p:stCondLst>
                                    <p:cond delay="0"/>
                                  </p:stCondLst>
                                  <p:iterate type="lt">
                                    <p:tmPct val="10000"/>
                                  </p:iterate>
                                  <p:childTnLst>
                                    <p:set>
                                      <p:cBhvr>
                                        <p:cTn id="28" dur="1" fill="hold">
                                          <p:stCondLst>
                                            <p:cond delay="0"/>
                                          </p:stCondLst>
                                        </p:cTn>
                                        <p:tgtEl>
                                          <p:spTgt spid="10"/>
                                        </p:tgtEl>
                                        <p:attrNameLst>
                                          <p:attrName>style.visibility</p:attrName>
                                        </p:attrNameLst>
                                      </p:cBhvr>
                                      <p:to>
                                        <p:strVal val="visible"/>
                                      </p:to>
                                    </p:set>
                                    <p:animEffect transition="in" filter="fade">
                                      <p:cBhvr>
                                        <p:cTn id="29" dur="1250"/>
                                        <p:tgtEl>
                                          <p:spTgt spid="10"/>
                                        </p:tgtEl>
                                      </p:cBhvr>
                                    </p:animEffect>
                                    <p:anim calcmode="lin" valueType="num">
                                      <p:cBhvr>
                                        <p:cTn id="30" dur="1250" fill="hold"/>
                                        <p:tgtEl>
                                          <p:spTgt spid="10"/>
                                        </p:tgtEl>
                                        <p:attrNameLst>
                                          <p:attrName>ppt_x</p:attrName>
                                        </p:attrNameLst>
                                      </p:cBhvr>
                                      <p:tavLst>
                                        <p:tav tm="0">
                                          <p:val>
                                            <p:strVal val="#ppt_x"/>
                                          </p:val>
                                        </p:tav>
                                        <p:tav tm="100000">
                                          <p:val>
                                            <p:strVal val="#ppt_x"/>
                                          </p:val>
                                        </p:tav>
                                      </p:tavLst>
                                    </p:anim>
                                    <p:anim calcmode="lin" valueType="num">
                                      <p:cBhvr>
                                        <p:cTn id="31" dur="1250" fill="hold"/>
                                        <p:tgtEl>
                                          <p:spTgt spid="10"/>
                                        </p:tgtEl>
                                        <p:attrNameLst>
                                          <p:attrName>ppt_y</p:attrName>
                                        </p:attrNameLst>
                                      </p:cBhvr>
                                      <p:tavLst>
                                        <p:tav tm="0">
                                          <p:val>
                                            <p:strVal val="#ppt_y-.1"/>
                                          </p:val>
                                        </p:tav>
                                        <p:tav tm="100000">
                                          <p:val>
                                            <p:strVal val="#ppt_y"/>
                                          </p:val>
                                        </p:tav>
                                      </p:tavLst>
                                    </p:anim>
                                  </p:childTnLst>
                                </p:cTn>
                              </p:par>
                              <p:par>
                                <p:cTn id="32" presetID="14" presetClass="entr" presetSubtype="1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randombar(horizontal)">
                                      <p:cBhvr>
                                        <p:cTn id="34" dur="500"/>
                                        <p:tgtEl>
                                          <p:spTgt spid="14"/>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randombar(horizont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p:bldP spid="9" grpId="0"/>
      <p:bldP spid="10" grpId="0"/>
      <p:bldP spid="17"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3"/>
          <p:cNvSpPr>
            <a:spLocks noChangeArrowheads="1"/>
          </p:cNvSpPr>
          <p:nvPr/>
        </p:nvSpPr>
        <p:spPr bwMode="auto">
          <a:xfrm>
            <a:off x="382427" y="1238357"/>
            <a:ext cx="8255482" cy="1104794"/>
          </a:xfrm>
          <a:prstGeom prst="roundRect">
            <a:avLst>
              <a:gd name="adj" fmla="val 16667"/>
            </a:avLst>
          </a:prstGeom>
          <a:gradFill rotWithShape="1">
            <a:gsLst>
              <a:gs pos="0">
                <a:schemeClr val="bg1">
                  <a:lumMod val="75000"/>
                </a:schemeClr>
              </a:gs>
              <a:gs pos="100000">
                <a:schemeClr val="tx1">
                  <a:lumMod val="50000"/>
                  <a:lumOff val="50000"/>
                </a:schemeClr>
              </a:gs>
            </a:gsLst>
            <a:lin ang="5400000" scaled="1"/>
          </a:gradFill>
          <a:ln w="9525" algn="ctr">
            <a:noFill/>
            <a:round/>
            <a:headEnd/>
            <a:tailEnd/>
          </a:ln>
          <a:effectLst/>
        </p:spPr>
        <p:txBody>
          <a:bodyPr anchor="ctr"/>
          <a:lstStyle/>
          <a:p>
            <a:pPr>
              <a:defRPr/>
            </a:pPr>
            <a:endParaRPr lang="zh-CN" altLang="zh-CN">
              <a:latin typeface="Verdana" pitchFamily="34" charset="0"/>
              <a:ea typeface="宋体" pitchFamily="2" charset="-122"/>
            </a:endParaRPr>
          </a:p>
        </p:txBody>
      </p:sp>
      <p:sp>
        <p:nvSpPr>
          <p:cNvPr id="3" name="AutoShape 3"/>
          <p:cNvSpPr>
            <a:spLocks noChangeArrowheads="1"/>
          </p:cNvSpPr>
          <p:nvPr/>
        </p:nvSpPr>
        <p:spPr bwMode="gray">
          <a:xfrm>
            <a:off x="401638" y="1316118"/>
            <a:ext cx="8207696" cy="941308"/>
          </a:xfrm>
          <a:prstGeom prst="roundRect">
            <a:avLst>
              <a:gd name="adj" fmla="val 16667"/>
            </a:avLst>
          </a:prstGeom>
          <a:solidFill>
            <a:schemeClr val="accent1"/>
          </a:solidFill>
          <a:ln w="25400" algn="ctr">
            <a:solidFill>
              <a:schemeClr val="bg1"/>
            </a:solidFill>
            <a:round/>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endParaRPr lang="zh-CN" altLang="zh-CN" sz="2000">
              <a:solidFill>
                <a:schemeClr val="tx2"/>
              </a:solidFill>
              <a:latin typeface="Calibri" pitchFamily="34" charset="0"/>
              <a:ea typeface="微软雅黑" pitchFamily="34" charset="-122"/>
            </a:endParaRPr>
          </a:p>
        </p:txBody>
      </p:sp>
      <p:sp>
        <p:nvSpPr>
          <p:cNvPr id="4" name="Rectangle 13"/>
          <p:cNvSpPr>
            <a:spLocks noChangeArrowheads="1"/>
          </p:cNvSpPr>
          <p:nvPr/>
        </p:nvSpPr>
        <p:spPr bwMode="auto">
          <a:xfrm>
            <a:off x="583208" y="1420657"/>
            <a:ext cx="7932142"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zh-CN" altLang="en-US" dirty="0">
                <a:latin typeface="微软雅黑" pitchFamily="34" charset="-122"/>
                <a:ea typeface="微软雅黑" pitchFamily="34" charset="-122"/>
              </a:rPr>
              <a:t>中办</a:t>
            </a:r>
            <a:r>
              <a:rPr lang="en-US" altLang="zh-CN" dirty="0">
                <a:latin typeface="微软雅黑" pitchFamily="34" charset="-122"/>
                <a:ea typeface="微软雅黑" pitchFamily="34" charset="-122"/>
              </a:rPr>
              <a:t>50</a:t>
            </a:r>
            <a:r>
              <a:rPr lang="zh-CN" altLang="en-US" dirty="0">
                <a:latin typeface="微软雅黑" pitchFamily="34" charset="-122"/>
                <a:ea typeface="微软雅黑" pitchFamily="34" charset="-122"/>
              </a:rPr>
              <a:t>号文明确要求改进结转结余资金留用处理方式。项目实施期间，年度剩余资金可结转下一年度继续使用。项目完成任务目标并通过验收后，结余资金按规定留归项目承担单位使用，在</a:t>
            </a:r>
            <a:r>
              <a:rPr lang="en-US" altLang="zh-CN" dirty="0">
                <a:latin typeface="微软雅黑" pitchFamily="34" charset="-122"/>
                <a:ea typeface="微软雅黑" pitchFamily="34" charset="-122"/>
              </a:rPr>
              <a:t>2</a:t>
            </a:r>
            <a:r>
              <a:rPr lang="zh-CN" altLang="en-US" dirty="0">
                <a:latin typeface="微软雅黑" pitchFamily="34" charset="-122"/>
                <a:ea typeface="微软雅黑" pitchFamily="34" charset="-122"/>
              </a:rPr>
              <a:t>年内由项目承担单位统筹安排用于科研活动的直接支出；</a:t>
            </a:r>
            <a:r>
              <a:rPr lang="en-US" altLang="zh-CN" dirty="0">
                <a:latin typeface="微软雅黑" pitchFamily="34" charset="-122"/>
                <a:ea typeface="微软雅黑" pitchFamily="34" charset="-122"/>
              </a:rPr>
              <a:t>2</a:t>
            </a:r>
            <a:r>
              <a:rPr lang="zh-CN" altLang="en-US" dirty="0">
                <a:latin typeface="微软雅黑" pitchFamily="34" charset="-122"/>
                <a:ea typeface="微软雅黑" pitchFamily="34" charset="-122"/>
              </a:rPr>
              <a:t>年后未使用完的，按规定收回</a:t>
            </a:r>
          </a:p>
        </p:txBody>
      </p:sp>
      <p:sp>
        <p:nvSpPr>
          <p:cNvPr id="5" name="文本框 3"/>
          <p:cNvSpPr txBox="1"/>
          <p:nvPr/>
        </p:nvSpPr>
        <p:spPr>
          <a:xfrm>
            <a:off x="1115615" y="303499"/>
            <a:ext cx="3353198"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结余经费</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7" name="矩形 6"/>
          <p:cNvSpPr/>
          <p:nvPr/>
        </p:nvSpPr>
        <p:spPr>
          <a:xfrm>
            <a:off x="382588" y="2770011"/>
            <a:ext cx="8361684" cy="915635"/>
          </a:xfrm>
          <a:prstGeom prst="rect">
            <a:avLst/>
          </a:prstGeom>
        </p:spPr>
        <p:txBody>
          <a:bodyPr wrap="square">
            <a:spAutoFit/>
          </a:bodyPr>
          <a:lstStyle/>
          <a:p>
            <a:pPr algn="just"/>
            <a:r>
              <a:rPr lang="zh-CN" altLang="en-US" sz="2000" b="1" dirty="0">
                <a:solidFill>
                  <a:srgbClr val="FF0000"/>
                </a:solidFill>
              </a:rPr>
              <a:t>结余资金是所自主部署项目经费的来源之一，由所统筹并严格按照</a:t>
            </a:r>
            <a:r>
              <a:rPr lang="en-US" altLang="zh-CN" sz="2000" b="1" dirty="0">
                <a:solidFill>
                  <a:srgbClr val="FF0000"/>
                </a:solidFill>
              </a:rPr>
              <a:t>《</a:t>
            </a:r>
            <a:r>
              <a:rPr lang="zh-CN" altLang="en-US" sz="2000" b="1" dirty="0">
                <a:solidFill>
                  <a:srgbClr val="FF0000"/>
                </a:solidFill>
              </a:rPr>
              <a:t>上海有机所自主部署项目经费管理办法</a:t>
            </a:r>
            <a:r>
              <a:rPr lang="en-US" altLang="zh-CN" sz="2000" b="1" dirty="0">
                <a:solidFill>
                  <a:srgbClr val="FF0000"/>
                </a:solidFill>
              </a:rPr>
              <a:t>》</a:t>
            </a:r>
            <a:r>
              <a:rPr lang="zh-CN" altLang="en-US" sz="2000" b="1" dirty="0">
                <a:solidFill>
                  <a:srgbClr val="FF0000"/>
                </a:solidFill>
              </a:rPr>
              <a:t>使用</a:t>
            </a:r>
          </a:p>
          <a:p>
            <a:pPr algn="just"/>
            <a:endParaRPr lang="zh-CN" altLang="en-US" dirty="0">
              <a:solidFill>
                <a:srgbClr val="FF0000"/>
              </a:solidFill>
            </a:endParaRPr>
          </a:p>
        </p:txBody>
      </p:sp>
      <p:pic>
        <p:nvPicPr>
          <p:cNvPr id="8" name="图片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9" name="TextBox 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管好账</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28418365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200"/>
                                        <p:tgtEl>
                                          <p:spTgt spid="2"/>
                                        </p:tgtEl>
                                      </p:cBhvr>
                                    </p:animEffect>
                                  </p:childTnLst>
                                </p:cTn>
                              </p:par>
                            </p:childTnLst>
                          </p:cTn>
                        </p:par>
                        <p:par>
                          <p:cTn id="8" fill="hold">
                            <p:stCondLst>
                              <p:cond delay="1000"/>
                            </p:stCondLst>
                            <p:childTnLst>
                              <p:par>
                                <p:cTn id="9" presetID="16" presetClass="entr" presetSubtype="42" fill="hold" grpId="0" nodeType="afterEffect">
                                  <p:stCondLst>
                                    <p:cond delay="700"/>
                                  </p:stCondLst>
                                  <p:childTnLst>
                                    <p:set>
                                      <p:cBhvr>
                                        <p:cTn id="10" dur="1" fill="hold">
                                          <p:stCondLst>
                                            <p:cond delay="0"/>
                                          </p:stCondLst>
                                        </p:cTn>
                                        <p:tgtEl>
                                          <p:spTgt spid="3"/>
                                        </p:tgtEl>
                                        <p:attrNameLst>
                                          <p:attrName>style.visibility</p:attrName>
                                        </p:attrNameLst>
                                      </p:cBhvr>
                                      <p:to>
                                        <p:strVal val="visible"/>
                                      </p:to>
                                    </p:set>
                                    <p:animEffect transition="in" filter="barn(outHorizontal)">
                                      <p:cBhvr>
                                        <p:cTn id="11" dur="100"/>
                                        <p:tgtEl>
                                          <p:spTgt spid="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3"/>
          <p:cNvSpPr/>
          <p:nvPr/>
        </p:nvSpPr>
        <p:spPr>
          <a:xfrm rot="198227">
            <a:off x="-19966" y="1804316"/>
            <a:ext cx="9192052" cy="649290"/>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0C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5" name="任意多边形 4"/>
          <p:cNvSpPr/>
          <p:nvPr/>
        </p:nvSpPr>
        <p:spPr>
          <a:xfrm rot="21338589" flipV="1">
            <a:off x="-19966" y="1820900"/>
            <a:ext cx="9192052" cy="325553"/>
          </a:xfrm>
          <a:custGeom>
            <a:avLst/>
            <a:gdLst>
              <a:gd name="connsiteX0" fmla="*/ 20526 w 12256069"/>
              <a:gd name="connsiteY0" fmla="*/ 79640 h 865720"/>
              <a:gd name="connsiteX1" fmla="*/ 165669 w 12256069"/>
              <a:gd name="connsiteY1" fmla="*/ 253811 h 865720"/>
              <a:gd name="connsiteX2" fmla="*/ 1239726 w 12256069"/>
              <a:gd name="connsiteY2" fmla="*/ 863411 h 865720"/>
              <a:gd name="connsiteX3" fmla="*/ 2995955 w 12256069"/>
              <a:gd name="connsiteY3" fmla="*/ 7068 h 865720"/>
              <a:gd name="connsiteX4" fmla="*/ 4636069 w 12256069"/>
              <a:gd name="connsiteY4" fmla="*/ 544097 h 865720"/>
              <a:gd name="connsiteX5" fmla="*/ 6029441 w 12256069"/>
              <a:gd name="connsiteY5" fmla="*/ 573125 h 865720"/>
              <a:gd name="connsiteX6" fmla="*/ 7234126 w 12256069"/>
              <a:gd name="connsiteY6" fmla="*/ 7068 h 865720"/>
              <a:gd name="connsiteX7" fmla="*/ 8627498 w 12256069"/>
              <a:gd name="connsiteY7" fmla="*/ 457011 h 865720"/>
              <a:gd name="connsiteX8" fmla="*/ 9875726 w 12256069"/>
              <a:gd name="connsiteY8" fmla="*/ 7068 h 865720"/>
              <a:gd name="connsiteX9" fmla="*/ 11225555 w 12256069"/>
              <a:gd name="connsiteY9" fmla="*/ 195754 h 865720"/>
              <a:gd name="connsiteX10" fmla="*/ 11835155 w 12256069"/>
              <a:gd name="connsiteY10" fmla="*/ 384440 h 865720"/>
              <a:gd name="connsiteX11" fmla="*/ 12256069 w 12256069"/>
              <a:gd name="connsiteY11" fmla="*/ 398954 h 8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56069" h="865720">
                <a:moveTo>
                  <a:pt x="20526" y="79640"/>
                </a:moveTo>
                <a:cubicBezTo>
                  <a:pt x="-8503" y="101411"/>
                  <a:pt x="-37531" y="123183"/>
                  <a:pt x="165669" y="253811"/>
                </a:cubicBezTo>
                <a:cubicBezTo>
                  <a:pt x="368869" y="384440"/>
                  <a:pt x="768012" y="904535"/>
                  <a:pt x="1239726" y="863411"/>
                </a:cubicBezTo>
                <a:cubicBezTo>
                  <a:pt x="1711440" y="822287"/>
                  <a:pt x="2429898" y="60287"/>
                  <a:pt x="2995955" y="7068"/>
                </a:cubicBezTo>
                <a:cubicBezTo>
                  <a:pt x="3562012" y="-46151"/>
                  <a:pt x="4130488" y="449754"/>
                  <a:pt x="4636069" y="544097"/>
                </a:cubicBezTo>
                <a:cubicBezTo>
                  <a:pt x="5141650" y="638440"/>
                  <a:pt x="5596432" y="662630"/>
                  <a:pt x="6029441" y="573125"/>
                </a:cubicBezTo>
                <a:cubicBezTo>
                  <a:pt x="6462450" y="483620"/>
                  <a:pt x="6801117" y="26420"/>
                  <a:pt x="7234126" y="7068"/>
                </a:cubicBezTo>
                <a:cubicBezTo>
                  <a:pt x="7667136" y="-12284"/>
                  <a:pt x="8187231" y="457011"/>
                  <a:pt x="8627498" y="457011"/>
                </a:cubicBezTo>
                <a:cubicBezTo>
                  <a:pt x="9067765" y="457011"/>
                  <a:pt x="9442717" y="50611"/>
                  <a:pt x="9875726" y="7068"/>
                </a:cubicBezTo>
                <a:cubicBezTo>
                  <a:pt x="10308736" y="-36475"/>
                  <a:pt x="10898984" y="132859"/>
                  <a:pt x="11225555" y="195754"/>
                </a:cubicBezTo>
                <a:cubicBezTo>
                  <a:pt x="11552126" y="258649"/>
                  <a:pt x="11663403" y="350573"/>
                  <a:pt x="11835155" y="384440"/>
                </a:cubicBezTo>
                <a:cubicBezTo>
                  <a:pt x="12006907" y="418307"/>
                  <a:pt x="12256069" y="398954"/>
                  <a:pt x="12256069" y="398954"/>
                </a:cubicBezTo>
              </a:path>
            </a:pathLst>
          </a:custGeom>
          <a:ln>
            <a:solidFill>
              <a:srgbClr val="04B5E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6" name="矩形 5"/>
          <p:cNvSpPr/>
          <p:nvPr/>
        </p:nvSpPr>
        <p:spPr>
          <a:xfrm>
            <a:off x="338288" y="2824013"/>
            <a:ext cx="2339103"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科研财务助理制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7" name="矩形 6"/>
          <p:cNvSpPr/>
          <p:nvPr/>
        </p:nvSpPr>
        <p:spPr>
          <a:xfrm>
            <a:off x="3258590" y="2717936"/>
            <a:ext cx="992580"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善理财</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8" name="矩形 7"/>
          <p:cNvSpPr/>
          <p:nvPr/>
        </p:nvSpPr>
        <p:spPr>
          <a:xfrm>
            <a:off x="5207672" y="2702884"/>
            <a:ext cx="992579"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管好账</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9" name="矩形 8"/>
          <p:cNvSpPr/>
          <p:nvPr/>
        </p:nvSpPr>
        <p:spPr>
          <a:xfrm>
            <a:off x="7183308" y="2638010"/>
            <a:ext cx="723276" cy="415498"/>
          </a:xfrm>
          <a:prstGeom prst="rect">
            <a:avLst/>
          </a:prstGeom>
        </p:spPr>
        <p:txBody>
          <a:bodyPr wrap="none">
            <a:spAutoFit/>
          </a:bodyPr>
          <a:lstStyle/>
          <a:p>
            <a:pPr lvl="0" algn="ctr"/>
            <a:r>
              <a:rPr lang="zh-CN" altLang="en-US" sz="2100" dirty="0" smtClean="0">
                <a:solidFill>
                  <a:schemeClr val="tx1">
                    <a:lumMod val="75000"/>
                    <a:lumOff val="25000"/>
                  </a:schemeClr>
                </a:solidFill>
                <a:latin typeface="微软雅黑" pitchFamily="34" charset="-122"/>
                <a:ea typeface="微软雅黑" pitchFamily="34" charset="-122"/>
              </a:rPr>
              <a:t>其他</a:t>
            </a:r>
            <a:endParaRPr lang="en-US" altLang="zh-CN" sz="2100" dirty="0">
              <a:solidFill>
                <a:schemeClr val="tx1">
                  <a:lumMod val="75000"/>
                  <a:lumOff val="25000"/>
                </a:schemeClr>
              </a:solidFill>
              <a:latin typeface="微软雅黑" pitchFamily="34" charset="-122"/>
              <a:ea typeface="微软雅黑" pitchFamily="34" charset="-122"/>
            </a:endParaRPr>
          </a:p>
        </p:txBody>
      </p:sp>
      <p:sp>
        <p:nvSpPr>
          <p:cNvPr id="10" name="文本框 3"/>
          <p:cNvSpPr txBox="1"/>
          <p:nvPr/>
        </p:nvSpPr>
        <p:spPr>
          <a:xfrm>
            <a:off x="-321961" y="42263"/>
            <a:ext cx="2362389" cy="715581"/>
          </a:xfrm>
          <a:prstGeom prst="rect">
            <a:avLst/>
          </a:prstGeom>
          <a:noFill/>
          <a:effectLst/>
        </p:spPr>
        <p:txBody>
          <a:bodyPr wrap="square" rtlCol="0">
            <a:spAutoFit/>
          </a:bodyPr>
          <a:lstStyle/>
          <a:p>
            <a:pPr algn="ctr"/>
            <a:r>
              <a:rPr lang="zh-CN" altLang="en-US" sz="4050" b="1" dirty="0">
                <a:gradFill flip="none" rotWithShape="1">
                  <a:gsLst>
                    <a:gs pos="0">
                      <a:srgbClr val="04B5EC"/>
                    </a:gs>
                    <a:gs pos="100000">
                      <a:srgbClr val="00C88A"/>
                    </a:gs>
                  </a:gsLst>
                  <a:lin ang="0" scaled="1"/>
                  <a:tileRect/>
                </a:gradFill>
                <a:latin typeface="微软雅黑" pitchFamily="34" charset="-122"/>
                <a:ea typeface="微软雅黑" pitchFamily="34" charset="-122"/>
              </a:rPr>
              <a:t>内容</a:t>
            </a:r>
          </a:p>
        </p:txBody>
      </p:sp>
      <p:grpSp>
        <p:nvGrpSpPr>
          <p:cNvPr id="12" name="组合 11"/>
          <p:cNvGrpSpPr/>
          <p:nvPr/>
        </p:nvGrpSpPr>
        <p:grpSpPr>
          <a:xfrm>
            <a:off x="1093065" y="1555849"/>
            <a:ext cx="973049" cy="963364"/>
            <a:chOff x="1486694" y="2665507"/>
            <a:chExt cx="1297399" cy="1284485"/>
          </a:xfrm>
        </p:grpSpPr>
        <p:sp>
          <p:nvSpPr>
            <p:cNvPr id="13" name="Freeform 5"/>
            <p:cNvSpPr>
              <a:spLocks/>
            </p:cNvSpPr>
            <p:nvPr/>
          </p:nvSpPr>
          <p:spPr bwMode="auto">
            <a:xfrm rot="5400000">
              <a:off x="1476182"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4" name="矩形 13"/>
            <p:cNvSpPr/>
            <p:nvPr/>
          </p:nvSpPr>
          <p:spPr>
            <a:xfrm>
              <a:off x="1486694" y="3047437"/>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chemeClr val="bg1"/>
                  </a:solidFill>
                  <a:latin typeface="微软雅黑" pitchFamily="34" charset="-122"/>
                  <a:ea typeface="微软雅黑" pitchFamily="34" charset="-122"/>
                </a:rPr>
                <a:t>01</a:t>
              </a:r>
              <a:endParaRPr lang="zh-CN" altLang="en-US" sz="2100" b="1" dirty="0">
                <a:solidFill>
                  <a:schemeClr val="bg1"/>
                </a:solidFill>
                <a:latin typeface="微软雅黑" pitchFamily="34" charset="-122"/>
                <a:ea typeface="微软雅黑" pitchFamily="34" charset="-122"/>
              </a:endParaRPr>
            </a:p>
          </p:txBody>
        </p:sp>
      </p:grpSp>
      <p:grpSp>
        <p:nvGrpSpPr>
          <p:cNvPr id="15" name="组合 14"/>
          <p:cNvGrpSpPr/>
          <p:nvPr/>
        </p:nvGrpSpPr>
        <p:grpSpPr>
          <a:xfrm>
            <a:off x="3145293" y="1555849"/>
            <a:ext cx="973049" cy="963364"/>
            <a:chOff x="4222998" y="2665507"/>
            <a:chExt cx="1297399" cy="1284485"/>
          </a:xfrm>
        </p:grpSpPr>
        <p:sp>
          <p:nvSpPr>
            <p:cNvPr id="16" name="Freeform 5"/>
            <p:cNvSpPr>
              <a:spLocks/>
            </p:cNvSpPr>
            <p:nvPr/>
          </p:nvSpPr>
          <p:spPr bwMode="auto">
            <a:xfrm rot="5400000">
              <a:off x="4226425" y="2728182"/>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17" name="矩形 16"/>
            <p:cNvSpPr/>
            <p:nvPr/>
          </p:nvSpPr>
          <p:spPr>
            <a:xfrm>
              <a:off x="4222998" y="3078969"/>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chemeClr val="bg1"/>
                  </a:solidFill>
                  <a:latin typeface="微软雅黑" pitchFamily="34" charset="-122"/>
                  <a:ea typeface="微软雅黑" pitchFamily="34" charset="-122"/>
                </a:rPr>
                <a:t>02</a:t>
              </a:r>
              <a:endParaRPr lang="zh-CN" altLang="en-US" sz="2100" b="1" dirty="0">
                <a:solidFill>
                  <a:schemeClr val="bg1"/>
                </a:solidFill>
                <a:latin typeface="微软雅黑" pitchFamily="34" charset="-122"/>
                <a:ea typeface="微软雅黑" pitchFamily="34" charset="-122"/>
              </a:endParaRPr>
            </a:p>
          </p:txBody>
        </p:sp>
      </p:grpSp>
      <p:grpSp>
        <p:nvGrpSpPr>
          <p:cNvPr id="18" name="组合 17"/>
          <p:cNvGrpSpPr/>
          <p:nvPr/>
        </p:nvGrpSpPr>
        <p:grpSpPr>
          <a:xfrm>
            <a:off x="5197521" y="1573838"/>
            <a:ext cx="973049" cy="963364"/>
            <a:chOff x="6959302" y="2689493"/>
            <a:chExt cx="1297399" cy="1284485"/>
          </a:xfrm>
        </p:grpSpPr>
        <p:sp>
          <p:nvSpPr>
            <p:cNvPr id="19" name="Freeform 5"/>
            <p:cNvSpPr>
              <a:spLocks/>
            </p:cNvSpPr>
            <p:nvPr/>
          </p:nvSpPr>
          <p:spPr bwMode="auto">
            <a:xfrm rot="5400000">
              <a:off x="6967655" y="2752168"/>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0" name="矩形 19"/>
            <p:cNvSpPr/>
            <p:nvPr/>
          </p:nvSpPr>
          <p:spPr>
            <a:xfrm>
              <a:off x="6959302" y="3068303"/>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chemeClr val="bg1"/>
                  </a:solidFill>
                  <a:latin typeface="微软雅黑" pitchFamily="34" charset="-122"/>
                  <a:ea typeface="微软雅黑" pitchFamily="34" charset="-122"/>
                </a:rPr>
                <a:t>03</a:t>
              </a:r>
              <a:endParaRPr lang="zh-CN" altLang="en-US" sz="2100" b="1" dirty="0">
                <a:solidFill>
                  <a:schemeClr val="bg1"/>
                </a:solidFill>
                <a:latin typeface="微软雅黑" pitchFamily="34" charset="-122"/>
                <a:ea typeface="微软雅黑" pitchFamily="34" charset="-122"/>
              </a:endParaRPr>
            </a:p>
          </p:txBody>
        </p:sp>
      </p:grpSp>
      <p:grpSp>
        <p:nvGrpSpPr>
          <p:cNvPr id="21" name="组合 20"/>
          <p:cNvGrpSpPr/>
          <p:nvPr/>
        </p:nvGrpSpPr>
        <p:grpSpPr>
          <a:xfrm>
            <a:off x="7087731" y="1621145"/>
            <a:ext cx="973049" cy="963364"/>
            <a:chOff x="9479582" y="2562069"/>
            <a:chExt cx="1297399" cy="1284485"/>
          </a:xfrm>
        </p:grpSpPr>
        <p:sp>
          <p:nvSpPr>
            <p:cNvPr id="22" name="Freeform 5"/>
            <p:cNvSpPr>
              <a:spLocks/>
            </p:cNvSpPr>
            <p:nvPr/>
          </p:nvSpPr>
          <p:spPr bwMode="auto">
            <a:xfrm rot="5400000">
              <a:off x="9456528" y="2624744"/>
              <a:ext cx="1284485" cy="115913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2100" b="1" dirty="0">
                <a:latin typeface="微软雅黑" pitchFamily="34" charset="-122"/>
                <a:ea typeface="微软雅黑" pitchFamily="34" charset="-122"/>
              </a:endParaRPr>
            </a:p>
          </p:txBody>
        </p:sp>
        <p:sp>
          <p:nvSpPr>
            <p:cNvPr id="23" name="矩形 22"/>
            <p:cNvSpPr/>
            <p:nvPr/>
          </p:nvSpPr>
          <p:spPr>
            <a:xfrm>
              <a:off x="9479582" y="2996952"/>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altLang="zh-CN" sz="2100" b="1" dirty="0">
                  <a:solidFill>
                    <a:srgbClr val="FF0000"/>
                  </a:solidFill>
                  <a:latin typeface="微软雅黑" pitchFamily="34" charset="-122"/>
                  <a:ea typeface="微软雅黑" pitchFamily="34" charset="-122"/>
                </a:rPr>
                <a:t>04</a:t>
              </a:r>
              <a:endParaRPr lang="zh-CN" altLang="en-US" sz="2100" b="1" dirty="0">
                <a:solidFill>
                  <a:srgbClr val="FF0000"/>
                </a:solidFill>
                <a:latin typeface="微软雅黑" pitchFamily="34" charset="-122"/>
                <a:ea typeface="微软雅黑" pitchFamily="34" charset="-122"/>
              </a:endParaRPr>
            </a:p>
          </p:txBody>
        </p:sp>
      </p:gr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7275679" y="482651"/>
            <a:ext cx="552886" cy="703818"/>
          </a:xfrm>
          <a:prstGeom prst="rect">
            <a:avLst/>
          </a:prstGeom>
        </p:spPr>
      </p:pic>
    </p:spTree>
    <p:extLst>
      <p:ext uri="{BB962C8B-B14F-4D97-AF65-F5344CB8AC3E}">
        <p14:creationId xmlns:p14="http://schemas.microsoft.com/office/powerpoint/2010/main" val="346794077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8"/>
          <p:cNvSpPr>
            <a:spLocks noChangeArrowheads="1"/>
          </p:cNvSpPr>
          <p:nvPr/>
        </p:nvSpPr>
        <p:spPr bwMode="auto">
          <a:xfrm>
            <a:off x="2746531" y="1856733"/>
            <a:ext cx="4216247" cy="2306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财务票据（网上报销填制的招待费报销单、发票等有效凭证）</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邀请函复印件</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接待计划</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发生住宿费的还需提供结算清单</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发生宴请费的还需提供点菜清单</a:t>
            </a: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8" name="矩形 17"/>
          <p:cNvSpPr/>
          <p:nvPr/>
        </p:nvSpPr>
        <p:spPr>
          <a:xfrm>
            <a:off x="2746531" y="1101181"/>
            <a:ext cx="639746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46009"/>
            <a:ext cx="1456638" cy="833437"/>
          </a:xfrm>
          <a:prstGeom prst="rect">
            <a:avLst/>
          </a:prstGeom>
        </p:spPr>
      </p:pic>
      <p:sp>
        <p:nvSpPr>
          <p:cNvPr id="47"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外事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4" name="矩形 13"/>
          <p:cNvSpPr/>
          <p:nvPr/>
        </p:nvSpPr>
        <p:spPr>
          <a:xfrm>
            <a:off x="168089" y="15619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5" name="矩形 14"/>
          <p:cNvSpPr/>
          <p:nvPr/>
        </p:nvSpPr>
        <p:spPr>
          <a:xfrm>
            <a:off x="850742" y="15731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6" name="矩形 15"/>
          <p:cNvSpPr/>
          <p:nvPr/>
        </p:nvSpPr>
        <p:spPr>
          <a:xfrm>
            <a:off x="1593076" y="1647652"/>
            <a:ext cx="661924" cy="55814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175183" y="2223457"/>
            <a:ext cx="675559" cy="614630"/>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878049" y="22894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1575844" y="22248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4" name="矩形 23"/>
          <p:cNvSpPr/>
          <p:nvPr/>
        </p:nvSpPr>
        <p:spPr>
          <a:xfrm>
            <a:off x="196664" y="29436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546125" y="298874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26" name="图片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65175" y="2894493"/>
            <a:ext cx="661923" cy="661924"/>
          </a:xfrm>
          <a:prstGeom prst="rect">
            <a:avLst/>
          </a:prstGeom>
        </p:spPr>
      </p:pic>
      <p:pic>
        <p:nvPicPr>
          <p:cNvPr id="32" name="图片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89682" y="1561927"/>
            <a:ext cx="668061" cy="643870"/>
          </a:xfrm>
          <a:prstGeom prst="rect">
            <a:avLst/>
          </a:prstGeom>
        </p:spPr>
      </p:pic>
      <p:pic>
        <p:nvPicPr>
          <p:cNvPr id="33" name="图片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2238" y="2221225"/>
            <a:ext cx="698394" cy="673267"/>
          </a:xfrm>
          <a:prstGeom prst="rect">
            <a:avLst/>
          </a:prstGeom>
        </p:spPr>
      </p:pic>
      <p:pic>
        <p:nvPicPr>
          <p:cNvPr id="34" name="图片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4029" y="2896069"/>
            <a:ext cx="671145" cy="661924"/>
          </a:xfrm>
          <a:prstGeom prst="rect">
            <a:avLst/>
          </a:prstGeom>
        </p:spPr>
      </p:pic>
      <p:pic>
        <p:nvPicPr>
          <p:cNvPr id="35" name="图片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5660" y="2858879"/>
            <a:ext cx="710210" cy="716587"/>
          </a:xfrm>
          <a:prstGeom prst="rect">
            <a:avLst/>
          </a:prstGeom>
        </p:spPr>
      </p:pic>
      <p:pic>
        <p:nvPicPr>
          <p:cNvPr id="36" name="图片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5660" y="1545868"/>
            <a:ext cx="656033" cy="673932"/>
          </a:xfrm>
          <a:prstGeom prst="rect">
            <a:avLst/>
          </a:prstGeom>
        </p:spPr>
      </p:pic>
      <p:sp>
        <p:nvSpPr>
          <p:cNvPr id="37" name="矩形 36"/>
          <p:cNvSpPr/>
          <p:nvPr/>
        </p:nvSpPr>
        <p:spPr>
          <a:xfrm>
            <a:off x="-10869" y="1826623"/>
            <a:ext cx="1138241" cy="338554"/>
          </a:xfrm>
          <a:prstGeom prst="rect">
            <a:avLst/>
          </a:prstGeom>
        </p:spPr>
        <p:txBody>
          <a:bodyPr wrap="square">
            <a:spAutoFit/>
          </a:bodyPr>
          <a:lstStyle/>
          <a:p>
            <a:r>
              <a:rPr lang="zh-CN" altLang="en-US" sz="1600" b="1" dirty="0"/>
              <a:t>报销凭证</a:t>
            </a:r>
          </a:p>
        </p:txBody>
      </p:sp>
      <p:sp>
        <p:nvSpPr>
          <p:cNvPr id="38" name="矩形 37"/>
          <p:cNvSpPr/>
          <p:nvPr/>
        </p:nvSpPr>
        <p:spPr>
          <a:xfrm>
            <a:off x="299628" y="1581964"/>
            <a:ext cx="585377" cy="338554"/>
          </a:xfrm>
          <a:prstGeom prst="rect">
            <a:avLst/>
          </a:prstGeom>
        </p:spPr>
        <p:txBody>
          <a:bodyPr wrap="square">
            <a:spAutoFit/>
          </a:bodyPr>
          <a:lstStyle/>
          <a:p>
            <a:r>
              <a:rPr lang="en-US" altLang="zh-CN" sz="1600" b="1" dirty="0" smtClean="0"/>
              <a:t>01</a:t>
            </a:r>
            <a:endParaRPr lang="zh-CN" altLang="en-US" sz="1600" b="1" dirty="0"/>
          </a:p>
        </p:txBody>
      </p:sp>
      <p:sp>
        <p:nvSpPr>
          <p:cNvPr id="39" name="矩形 38"/>
          <p:cNvSpPr/>
          <p:nvPr/>
        </p:nvSpPr>
        <p:spPr>
          <a:xfrm>
            <a:off x="1570282" y="1855198"/>
            <a:ext cx="682396"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0" name="矩形 39"/>
          <p:cNvSpPr/>
          <p:nvPr/>
        </p:nvSpPr>
        <p:spPr>
          <a:xfrm>
            <a:off x="1736989" y="1658846"/>
            <a:ext cx="385333"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1" name="矩形 40"/>
          <p:cNvSpPr/>
          <p:nvPr/>
        </p:nvSpPr>
        <p:spPr>
          <a:xfrm>
            <a:off x="189157" y="31670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2" name="矩形 41"/>
          <p:cNvSpPr/>
          <p:nvPr/>
        </p:nvSpPr>
        <p:spPr>
          <a:xfrm>
            <a:off x="384205" y="29503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3" name="矩形 42"/>
          <p:cNvSpPr/>
          <p:nvPr/>
        </p:nvSpPr>
        <p:spPr>
          <a:xfrm>
            <a:off x="855414" y="24938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4" name="矩形 43"/>
          <p:cNvSpPr/>
          <p:nvPr/>
        </p:nvSpPr>
        <p:spPr>
          <a:xfrm>
            <a:off x="1055296" y="22707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5" name="矩形 44"/>
          <p:cNvSpPr/>
          <p:nvPr/>
        </p:nvSpPr>
        <p:spPr>
          <a:xfrm>
            <a:off x="892304" y="31756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1067487" y="29602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0" name="矩形 49"/>
          <p:cNvSpPr/>
          <p:nvPr/>
        </p:nvSpPr>
        <p:spPr>
          <a:xfrm>
            <a:off x="1546125" y="319313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1" name="矩形 50"/>
          <p:cNvSpPr/>
          <p:nvPr/>
        </p:nvSpPr>
        <p:spPr>
          <a:xfrm>
            <a:off x="1709056" y="296962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270890950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0" presetClass="path" presetSubtype="0" accel="50000" decel="50000" fill="hold" grpId="0" nodeType="withEffect">
                                  <p:stCondLst>
                                    <p:cond delay="0"/>
                                  </p:stCondLst>
                                  <p:childTnLst>
                                    <p:animMotion origin="layout" path="M 0.01562 -0.02592 C 0.01944 -0.03024 0.02378 -0.03457 0.02812 -0.03703 C 0.03646 -0.04876 0.05156 -0.06574 0.06146 -0.07222 C 0.06406 -0.07407 0.06701 -0.07407 0.06979 -0.07592 C 0.07916 -0.08179 0.08732 -0.09259 0.09687 -0.09815 C 0.11545 -0.10926 0.13385 -0.12099 0.15312 -0.12778 C 0.16909 -0.14197 0.18871 -0.14568 0.20625 -0.14815 C 0.23021 -0.14753 0.25416 -0.14753 0.27812 -0.14629 C 0.28489 -0.14599 0.29757 -0.12438 0.30416 -0.12037 C 0.30607 -0.11697 0.3085 -0.1145 0.31041 -0.11111 C 0.31354 -0.10555 0.31406 -0.10092 0.31875 -0.09815 C 0.32014 -0.09568 0.32152 -0.09321 0.32291 -0.09074 " pathEditMode="relative" rAng="0" ptsTypes="fffffffffffA">
                                      <p:cBhvr>
                                        <p:cTn id="10" dur="2000" fill="hold"/>
                                        <p:tgtEl>
                                          <p:spTgt spid="38"/>
                                        </p:tgtEl>
                                        <p:attrNameLst>
                                          <p:attrName>ppt_x</p:attrName>
                                          <p:attrName>ppt_y</p:attrName>
                                        </p:attrNameLst>
                                      </p:cBhvr>
                                      <p:rCtr x="15365" y="-6111"/>
                                    </p:animMotion>
                                  </p:childTnLst>
                                </p:cTn>
                              </p:par>
                              <p:par>
                                <p:cTn id="11" presetID="0" presetClass="path" presetSubtype="0" accel="50000" decel="50000" fill="hold" grpId="0" nodeType="withEffect">
                                  <p:stCondLst>
                                    <p:cond delay="0"/>
                                  </p:stCondLst>
                                  <p:childTnLst>
                                    <p:animMotion origin="layout" path="M 0.01562 -0.02592 C 0.01944 -0.03024 0.02378 -0.03456 0.02812 -0.03703 C 0.03646 -0.04876 0.05156 -0.06574 0.06146 -0.07222 C 0.06406 -0.07407 0.06701 -0.07407 0.06979 -0.07592 C 0.07916 -0.08179 0.08732 -0.09259 0.09687 -0.09815 C 0.11545 -0.10926 0.13385 -0.12098 0.15312 -0.12777 C 0.16909 -0.14197 0.18871 -0.14568 0.20625 -0.14815 C 0.23021 -0.14753 0.25416 -0.14753 0.27812 -0.14629 C 0.28489 -0.14598 0.29757 -0.12438 0.30416 -0.12037 C 0.30607 -0.11697 0.3085 -0.1145 0.31041 -0.11111 C 0.31354 -0.10555 0.31406 -0.10092 0.31875 -0.09815 C 0.32014 -0.09568 0.32153 -0.09321 0.32291 -0.09074 " pathEditMode="relative" rAng="0" ptsTypes="fffffffffffA">
                                      <p:cBhvr>
                                        <p:cTn id="12" dur="2000" fill="hold"/>
                                        <p:tgtEl>
                                          <p:spTgt spid="37"/>
                                        </p:tgtEl>
                                        <p:attrNameLst>
                                          <p:attrName>ppt_x</p:attrName>
                                          <p:attrName>ppt_y</p:attrName>
                                        </p:attrNameLst>
                                      </p:cBhvr>
                                      <p:rCtr x="15365" y="-6111"/>
                                    </p:animMotion>
                                  </p:childTnLst>
                                </p:cTn>
                              </p:par>
                              <p:par>
                                <p:cTn id="13" presetID="0" presetClass="path" presetSubtype="0" accel="50000" decel="50000" fill="hold" nodeType="withEffect">
                                  <p:stCondLst>
                                    <p:cond delay="0"/>
                                  </p:stCondLst>
                                  <p:childTnLst>
                                    <p:animMotion origin="layout" path="M 0.01563 -0.02593 C 0.01945 -0.03025 0.02379 -0.03457 0.02813 -0.03704 C 0.03646 -0.04877 0.05157 -0.06574 0.06146 -0.07222 C 0.06407 -0.07407 0.06702 -0.07407 0.0698 -0.07593 C 0.07917 -0.08179 0.08733 -0.09259 0.09688 -0.09815 C 0.11546 -0.10926 0.13386 -0.12099 0.15313 -0.12778 C 0.1691 -0.14198 0.18872 -0.14568 0.20625 -0.14815 C 0.23021 -0.14753 0.25417 -0.14753 0.27813 -0.1463 C 0.2849 -0.14599 0.29757 -0.12438 0.30417 -0.12037 C 0.30608 -0.11698 0.30851 -0.11451 0.31042 -0.11111 C 0.31355 -0.10556 0.31407 -0.10093 0.31875 -0.09815 C 0.32014 -0.09568 0.32153 -0.09321 0.32292 -0.09074 " pathEditMode="relative" rAng="0" ptsTypes="fffffffffffA">
                                      <p:cBhvr>
                                        <p:cTn id="14" dur="2000" fill="hold"/>
                                        <p:tgtEl>
                                          <p:spTgt spid="36"/>
                                        </p:tgtEl>
                                        <p:attrNameLst>
                                          <p:attrName>ppt_x</p:attrName>
                                          <p:attrName>ppt_y</p:attrName>
                                        </p:attrNameLst>
                                      </p:cBhvr>
                                      <p:rCtr x="15365" y="-6111"/>
                                    </p:animMotion>
                                  </p:childTnLst>
                                </p:cTn>
                              </p:par>
                            </p:childTnLst>
                          </p:cTn>
                        </p:par>
                        <p:par>
                          <p:cTn id="15" fill="hold">
                            <p:stCondLst>
                              <p:cond delay="2000"/>
                            </p:stCondLst>
                            <p:childTnLst>
                              <p:par>
                                <p:cTn id="16" presetID="6" presetClass="emph" presetSubtype="0" fill="hold" grpId="1" nodeType="afterEffect">
                                  <p:stCondLst>
                                    <p:cond delay="0"/>
                                  </p:stCondLst>
                                  <p:childTnLst>
                                    <p:animScale>
                                      <p:cBhvr>
                                        <p:cTn id="17" dur="2000" fill="hold"/>
                                        <p:tgtEl>
                                          <p:spTgt spid="38"/>
                                        </p:tgtEl>
                                      </p:cBhvr>
                                      <p:by x="150000" y="150000"/>
                                    </p:animScale>
                                  </p:childTnLst>
                                </p:cTn>
                              </p:par>
                              <p:par>
                                <p:cTn id="18" presetID="6" presetClass="emph" presetSubtype="0" fill="hold" grpId="1" nodeType="withEffect">
                                  <p:stCondLst>
                                    <p:cond delay="0"/>
                                  </p:stCondLst>
                                  <p:childTnLst>
                                    <p:animScale>
                                      <p:cBhvr>
                                        <p:cTn id="19" dur="2000" fill="hold"/>
                                        <p:tgtEl>
                                          <p:spTgt spid="37"/>
                                        </p:tgtEl>
                                      </p:cBhvr>
                                      <p:by x="150000" y="150000"/>
                                    </p:animScale>
                                  </p:childTnLst>
                                </p:cTn>
                              </p:par>
                            </p:childTnLst>
                          </p:cTn>
                        </p:par>
                        <p:par>
                          <p:cTn id="20" fill="hold">
                            <p:stCondLst>
                              <p:cond delay="4000"/>
                            </p:stCondLst>
                            <p:childTnLst>
                              <p:par>
                                <p:cTn id="21" presetID="12" presetClass="entr" presetSubtype="4"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p:tgtEl>
                                          <p:spTgt spid="17"/>
                                        </p:tgtEl>
                                        <p:attrNameLst>
                                          <p:attrName>ppt_y</p:attrName>
                                        </p:attrNameLst>
                                      </p:cBhvr>
                                      <p:tavLst>
                                        <p:tav tm="0">
                                          <p:val>
                                            <p:strVal val="#ppt_y+#ppt_h*1.125000"/>
                                          </p:val>
                                        </p:tav>
                                        <p:tav tm="100000">
                                          <p:val>
                                            <p:strVal val="#ppt_y"/>
                                          </p:val>
                                        </p:tav>
                                      </p:tavLst>
                                    </p:anim>
                                    <p:animEffect transition="in" filter="wipe(up)">
                                      <p:cBhvr>
                                        <p:cTn id="2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P spid="37" grpId="0"/>
      <p:bldP spid="37" grpId="1"/>
      <p:bldP spid="38" grpId="0"/>
      <p:bldP spid="38"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8"/>
          <p:cNvSpPr>
            <a:spLocks noChangeArrowheads="1"/>
          </p:cNvSpPr>
          <p:nvPr/>
        </p:nvSpPr>
        <p:spPr bwMode="auto">
          <a:xfrm>
            <a:off x="2746531" y="1856733"/>
            <a:ext cx="4216247" cy="67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公务接待费属于公务卡强制结算目录范围</a:t>
            </a:r>
            <a:endParaRPr lang="en-US" altLang="zh-CN"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8" name="矩形 17"/>
          <p:cNvSpPr/>
          <p:nvPr/>
        </p:nvSpPr>
        <p:spPr>
          <a:xfrm>
            <a:off x="2746531" y="1101181"/>
            <a:ext cx="639746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46009"/>
            <a:ext cx="1456638" cy="833437"/>
          </a:xfrm>
          <a:prstGeom prst="rect">
            <a:avLst/>
          </a:prstGeom>
        </p:spPr>
      </p:pic>
      <p:sp>
        <p:nvSpPr>
          <p:cNvPr id="47"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外事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4" name="矩形 13"/>
          <p:cNvSpPr/>
          <p:nvPr/>
        </p:nvSpPr>
        <p:spPr>
          <a:xfrm>
            <a:off x="168089" y="15619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5" name="矩形 14"/>
          <p:cNvSpPr/>
          <p:nvPr/>
        </p:nvSpPr>
        <p:spPr>
          <a:xfrm>
            <a:off x="850742" y="15731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6" name="矩形 15"/>
          <p:cNvSpPr/>
          <p:nvPr/>
        </p:nvSpPr>
        <p:spPr>
          <a:xfrm>
            <a:off x="1574026" y="157312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175183" y="2223457"/>
            <a:ext cx="675559" cy="614630"/>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878049" y="22894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1575844" y="22248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4" name="矩形 23"/>
          <p:cNvSpPr/>
          <p:nvPr/>
        </p:nvSpPr>
        <p:spPr>
          <a:xfrm>
            <a:off x="196664" y="29436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546125" y="298874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26" name="图片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65175" y="2894493"/>
            <a:ext cx="661923" cy="661924"/>
          </a:xfrm>
          <a:prstGeom prst="rect">
            <a:avLst/>
          </a:prstGeom>
        </p:spPr>
      </p:pic>
      <p:pic>
        <p:nvPicPr>
          <p:cNvPr id="32" name="图片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71630" y="1571363"/>
            <a:ext cx="668061" cy="643870"/>
          </a:xfrm>
          <a:prstGeom prst="rect">
            <a:avLst/>
          </a:prstGeom>
        </p:spPr>
      </p:pic>
      <p:pic>
        <p:nvPicPr>
          <p:cNvPr id="33" name="图片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2238" y="2221225"/>
            <a:ext cx="698394" cy="673267"/>
          </a:xfrm>
          <a:prstGeom prst="rect">
            <a:avLst/>
          </a:prstGeom>
        </p:spPr>
      </p:pic>
      <p:pic>
        <p:nvPicPr>
          <p:cNvPr id="34" name="图片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4029" y="2896069"/>
            <a:ext cx="671145" cy="661924"/>
          </a:xfrm>
          <a:prstGeom prst="rect">
            <a:avLst/>
          </a:prstGeom>
        </p:spPr>
      </p:pic>
      <p:pic>
        <p:nvPicPr>
          <p:cNvPr id="35" name="图片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5660" y="2858879"/>
            <a:ext cx="710210" cy="716587"/>
          </a:xfrm>
          <a:prstGeom prst="rect">
            <a:avLst/>
          </a:prstGeom>
        </p:spPr>
      </p:pic>
      <p:pic>
        <p:nvPicPr>
          <p:cNvPr id="36" name="图片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6135" y="1545868"/>
            <a:ext cx="656033" cy="673932"/>
          </a:xfrm>
          <a:prstGeom prst="rect">
            <a:avLst/>
          </a:prstGeom>
        </p:spPr>
      </p:pic>
      <p:sp>
        <p:nvSpPr>
          <p:cNvPr id="37" name="矩形 36"/>
          <p:cNvSpPr/>
          <p:nvPr/>
        </p:nvSpPr>
        <p:spPr>
          <a:xfrm>
            <a:off x="189157" y="182662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38" name="矩形 37"/>
          <p:cNvSpPr/>
          <p:nvPr/>
        </p:nvSpPr>
        <p:spPr>
          <a:xfrm>
            <a:off x="356779" y="161053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39" name="矩形 38"/>
          <p:cNvSpPr/>
          <p:nvPr/>
        </p:nvSpPr>
        <p:spPr>
          <a:xfrm>
            <a:off x="1379781" y="1817098"/>
            <a:ext cx="1030043" cy="338554"/>
          </a:xfrm>
          <a:prstGeom prst="rect">
            <a:avLst/>
          </a:prstGeom>
        </p:spPr>
        <p:txBody>
          <a:bodyPr wrap="square">
            <a:spAutoFit/>
          </a:bodyPr>
          <a:lstStyle/>
          <a:p>
            <a:r>
              <a:rPr lang="zh-CN" altLang="en-US" sz="1600" b="1" dirty="0" smtClean="0"/>
              <a:t>支付方式</a:t>
            </a:r>
            <a:endParaRPr lang="zh-CN" altLang="en-US" sz="1600" b="1" dirty="0"/>
          </a:p>
        </p:txBody>
      </p:sp>
      <p:sp>
        <p:nvSpPr>
          <p:cNvPr id="40" name="矩形 39"/>
          <p:cNvSpPr/>
          <p:nvPr/>
        </p:nvSpPr>
        <p:spPr>
          <a:xfrm>
            <a:off x="1736989" y="1592171"/>
            <a:ext cx="663311" cy="338554"/>
          </a:xfrm>
          <a:prstGeom prst="rect">
            <a:avLst/>
          </a:prstGeom>
        </p:spPr>
        <p:txBody>
          <a:bodyPr wrap="square">
            <a:spAutoFit/>
          </a:bodyPr>
          <a:lstStyle/>
          <a:p>
            <a:r>
              <a:rPr lang="en-US" altLang="zh-CN" sz="1600" b="1" dirty="0" smtClean="0"/>
              <a:t>02</a:t>
            </a:r>
            <a:endParaRPr lang="zh-CN" altLang="en-US" sz="1600" b="1" dirty="0"/>
          </a:p>
        </p:txBody>
      </p:sp>
      <p:sp>
        <p:nvSpPr>
          <p:cNvPr id="41" name="矩形 40"/>
          <p:cNvSpPr/>
          <p:nvPr/>
        </p:nvSpPr>
        <p:spPr>
          <a:xfrm>
            <a:off x="189157" y="31670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2" name="矩形 41"/>
          <p:cNvSpPr/>
          <p:nvPr/>
        </p:nvSpPr>
        <p:spPr>
          <a:xfrm>
            <a:off x="384205" y="29503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3" name="矩形 42"/>
          <p:cNvSpPr/>
          <p:nvPr/>
        </p:nvSpPr>
        <p:spPr>
          <a:xfrm>
            <a:off x="855414" y="24938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4" name="矩形 43"/>
          <p:cNvSpPr/>
          <p:nvPr/>
        </p:nvSpPr>
        <p:spPr>
          <a:xfrm>
            <a:off x="1055296" y="22707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5" name="矩形 44"/>
          <p:cNvSpPr/>
          <p:nvPr/>
        </p:nvSpPr>
        <p:spPr>
          <a:xfrm>
            <a:off x="892304" y="31756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1067487" y="29602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0" name="矩形 49"/>
          <p:cNvSpPr/>
          <p:nvPr/>
        </p:nvSpPr>
        <p:spPr>
          <a:xfrm>
            <a:off x="1546125" y="319313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1" name="矩形 50"/>
          <p:cNvSpPr/>
          <p:nvPr/>
        </p:nvSpPr>
        <p:spPr>
          <a:xfrm>
            <a:off x="1709056" y="296962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385686523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0" presetClass="path" presetSubtype="0" accel="50000" decel="50000" fill="hold" grpId="0" nodeType="withEffect">
                                  <p:stCondLst>
                                    <p:cond delay="0"/>
                                  </p:stCondLst>
                                  <p:childTnLst>
                                    <p:animMotion origin="layout" path="M 0.02187 -0.03333 C 0.02621 -0.04845 0.03281 -0.06018 0.03958 -0.07222 C 0.04062 -0.07407 0.04062 -0.07747 0.04166 -0.07963 C 0.04409 -0.08487 0.04774 -0.08858 0.05 -0.09444 C 0.05399 -0.10493 0.05121 -0.09845 0.05937 -0.11296 C 0.06041 -0.11481 0.0625 -0.11851 0.0625 -0.11821 C 0.06614 -0.13765 0.07968 -0.14012 0.08958 -0.14444 C 0.10607 -0.14382 0.13454 -0.15771 0.15208 -0.13703 C 0.15434 -0.13086 0.16041 -0.12037 0.16041 -0.12006 C 0.16267 -0.10802 0.16145 -0.11265 0.16354 -0.10555 " pathEditMode="relative" rAng="0" ptsTypes="fffffffffA">
                                      <p:cBhvr>
                                        <p:cTn id="10" dur="2000" fill="hold"/>
                                        <p:tgtEl>
                                          <p:spTgt spid="40"/>
                                        </p:tgtEl>
                                        <p:attrNameLst>
                                          <p:attrName>ppt_x</p:attrName>
                                          <p:attrName>ppt_y</p:attrName>
                                        </p:attrNameLst>
                                      </p:cBhvr>
                                      <p:rCtr x="7083" y="-6235"/>
                                    </p:animMotion>
                                  </p:childTnLst>
                                </p:cTn>
                              </p:par>
                              <p:par>
                                <p:cTn id="11" presetID="0" presetClass="path" presetSubtype="0" accel="50000" decel="50000" fill="hold" grpId="0" nodeType="withEffect">
                                  <p:stCondLst>
                                    <p:cond delay="0"/>
                                  </p:stCondLst>
                                  <p:childTnLst>
                                    <p:animMotion origin="layout" path="M 0.02187 -0.03333 C 0.02621 -0.04846 0.03281 -0.06018 0.03958 -0.07222 C 0.04062 -0.07407 0.04062 -0.07747 0.04166 -0.07963 C 0.0441 -0.08488 0.04774 -0.08858 0.05 -0.09444 C 0.05399 -0.10494 0.05121 -0.09846 0.05937 -0.11296 C 0.06041 -0.11481 0.0625 -0.11852 0.0625 -0.11821 C 0.06614 -0.13765 0.07969 -0.14012 0.08958 -0.14444 C 0.10607 -0.14383 0.13455 -0.15771 0.15208 -0.13704 C 0.15434 -0.13086 0.16041 -0.12037 0.16041 -0.12006 C 0.16267 -0.10802 0.16146 -0.11265 0.16354 -0.10555 " pathEditMode="relative" rAng="0" ptsTypes="fffffffffA">
                                      <p:cBhvr>
                                        <p:cTn id="12" dur="2000" fill="hold"/>
                                        <p:tgtEl>
                                          <p:spTgt spid="39"/>
                                        </p:tgtEl>
                                        <p:attrNameLst>
                                          <p:attrName>ppt_x</p:attrName>
                                          <p:attrName>ppt_y</p:attrName>
                                        </p:attrNameLst>
                                      </p:cBhvr>
                                      <p:rCtr x="7083" y="-6235"/>
                                    </p:animMotion>
                                  </p:childTnLst>
                                </p:cTn>
                              </p:par>
                              <p:par>
                                <p:cTn id="13" presetID="0" presetClass="path" presetSubtype="0" accel="50000" decel="50000" fill="hold" nodeType="withEffect">
                                  <p:stCondLst>
                                    <p:cond delay="0"/>
                                  </p:stCondLst>
                                  <p:childTnLst>
                                    <p:animMotion origin="layout" path="M 0.02188 -0.03333 C 0.02622 -0.04846 0.03282 -0.06018 0.03959 -0.07222 C 0.04063 -0.07407 0.04063 -0.07747 0.04167 -0.07963 C 0.0441 -0.08488 0.04775 -0.08858 0.05 -0.09444 C 0.054 -0.10494 0.05122 -0.09846 0.05938 -0.11296 C 0.06042 -0.11481 0.0625 -0.11852 0.0625 -0.11821 C 0.06615 -0.13765 0.07969 -0.14012 0.08959 -0.14444 C 0.10608 -0.14383 0.13455 -0.15771 0.15209 -0.13704 C 0.15434 -0.13086 0.16042 -0.12037 0.16042 -0.12006 C 0.16268 -0.10802 0.16146 -0.11265 0.16355 -0.10555 " pathEditMode="relative" rAng="0" ptsTypes="fffffffffA">
                                      <p:cBhvr>
                                        <p:cTn id="14" dur="2000" fill="hold"/>
                                        <p:tgtEl>
                                          <p:spTgt spid="32"/>
                                        </p:tgtEl>
                                        <p:attrNameLst>
                                          <p:attrName>ppt_x</p:attrName>
                                          <p:attrName>ppt_y</p:attrName>
                                        </p:attrNameLst>
                                      </p:cBhvr>
                                      <p:rCtr x="7083" y="-6235"/>
                                    </p:animMotion>
                                  </p:childTnLst>
                                </p:cTn>
                              </p:par>
                            </p:childTnLst>
                          </p:cTn>
                        </p:par>
                        <p:par>
                          <p:cTn id="15" fill="hold">
                            <p:stCondLst>
                              <p:cond delay="2000"/>
                            </p:stCondLst>
                            <p:childTnLst>
                              <p:par>
                                <p:cTn id="16" presetID="6" presetClass="emph" presetSubtype="0" fill="hold" grpId="1" nodeType="afterEffect">
                                  <p:stCondLst>
                                    <p:cond delay="0"/>
                                  </p:stCondLst>
                                  <p:childTnLst>
                                    <p:animScale>
                                      <p:cBhvr>
                                        <p:cTn id="17" dur="2000" fill="hold"/>
                                        <p:tgtEl>
                                          <p:spTgt spid="40"/>
                                        </p:tgtEl>
                                      </p:cBhvr>
                                      <p:by x="150000" y="150000"/>
                                    </p:animScale>
                                  </p:childTnLst>
                                </p:cTn>
                              </p:par>
                              <p:par>
                                <p:cTn id="18" presetID="6" presetClass="emph" presetSubtype="0" fill="hold" grpId="1" nodeType="withEffect">
                                  <p:stCondLst>
                                    <p:cond delay="0"/>
                                  </p:stCondLst>
                                  <p:childTnLst>
                                    <p:animScale>
                                      <p:cBhvr>
                                        <p:cTn id="19" dur="2000" fill="hold"/>
                                        <p:tgtEl>
                                          <p:spTgt spid="39"/>
                                        </p:tgtEl>
                                      </p:cBhvr>
                                      <p:by x="150000" y="150000"/>
                                    </p:animScale>
                                  </p:childTnLst>
                                </p:cTn>
                              </p:par>
                            </p:childTnLst>
                          </p:cTn>
                        </p:par>
                        <p:par>
                          <p:cTn id="20" fill="hold">
                            <p:stCondLst>
                              <p:cond delay="4000"/>
                            </p:stCondLst>
                            <p:childTnLst>
                              <p:par>
                                <p:cTn id="21" presetID="12" presetClass="entr" presetSubtype="4"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p:tgtEl>
                                          <p:spTgt spid="17"/>
                                        </p:tgtEl>
                                        <p:attrNameLst>
                                          <p:attrName>ppt_y</p:attrName>
                                        </p:attrNameLst>
                                      </p:cBhvr>
                                      <p:tavLst>
                                        <p:tav tm="0">
                                          <p:val>
                                            <p:strVal val="#ppt_y+#ppt_h*1.125000"/>
                                          </p:val>
                                        </p:tav>
                                        <p:tav tm="100000">
                                          <p:val>
                                            <p:strVal val="#ppt_y"/>
                                          </p:val>
                                        </p:tav>
                                      </p:tavLst>
                                    </p:anim>
                                    <p:animEffect transition="in" filter="wipe(up)">
                                      <p:cBhvr>
                                        <p:cTn id="2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P spid="39" grpId="0"/>
      <p:bldP spid="39" grpId="1"/>
      <p:bldP spid="40" grpId="0"/>
      <p:bldP spid="40"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069200"/>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46009"/>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5" name="TextBox 18"/>
          <p:cNvSpPr>
            <a:spLocks noChangeArrowheads="1"/>
          </p:cNvSpPr>
          <p:nvPr/>
        </p:nvSpPr>
        <p:spPr bwMode="auto">
          <a:xfrm>
            <a:off x="2155981" y="2009454"/>
            <a:ext cx="4216247" cy="1885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所级接待费由财政基本运行经费或所公用经费支付</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课题组接待费由课题横向经费支付</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挂靠的非法人研究中心接待费由研究中心的财政基本运行经费（每年初由所下达预算控制数）或横向经费中支付</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矩形 13"/>
          <p:cNvSpPr/>
          <p:nvPr/>
        </p:nvSpPr>
        <p:spPr>
          <a:xfrm>
            <a:off x="44264" y="15619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6" name="矩形 15"/>
          <p:cNvSpPr/>
          <p:nvPr/>
        </p:nvSpPr>
        <p:spPr>
          <a:xfrm>
            <a:off x="726917" y="15731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7" name="矩形 16"/>
          <p:cNvSpPr/>
          <p:nvPr/>
        </p:nvSpPr>
        <p:spPr>
          <a:xfrm>
            <a:off x="1450201" y="157312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51358" y="2223457"/>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754224" y="2242164"/>
            <a:ext cx="661924" cy="644380"/>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1452019" y="22248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4" name="矩形 23"/>
          <p:cNvSpPr/>
          <p:nvPr/>
        </p:nvSpPr>
        <p:spPr>
          <a:xfrm>
            <a:off x="72839" y="29436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22300" y="298874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26" name="图片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41350" y="2894493"/>
            <a:ext cx="661923" cy="661924"/>
          </a:xfrm>
          <a:prstGeom prst="rect">
            <a:avLst/>
          </a:prstGeom>
        </p:spPr>
      </p:pic>
      <p:pic>
        <p:nvPicPr>
          <p:cNvPr id="32" name="图片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7805" y="1571363"/>
            <a:ext cx="668061" cy="643870"/>
          </a:xfrm>
          <a:prstGeom prst="rect">
            <a:avLst/>
          </a:prstGeom>
        </p:spPr>
      </p:pic>
      <p:pic>
        <p:nvPicPr>
          <p:cNvPr id="33" name="图片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8678" y="2219800"/>
            <a:ext cx="698394" cy="673267"/>
          </a:xfrm>
          <a:prstGeom prst="rect">
            <a:avLst/>
          </a:prstGeom>
        </p:spPr>
      </p:pic>
      <p:pic>
        <p:nvPicPr>
          <p:cNvPr id="34" name="图片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6918" y="2896069"/>
            <a:ext cx="714432" cy="661924"/>
          </a:xfrm>
          <a:prstGeom prst="rect">
            <a:avLst/>
          </a:prstGeom>
        </p:spPr>
      </p:pic>
      <p:pic>
        <p:nvPicPr>
          <p:cNvPr id="35" name="图片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212" y="2894322"/>
            <a:ext cx="671231" cy="681144"/>
          </a:xfrm>
          <a:prstGeom prst="rect">
            <a:avLst/>
          </a:prstGeom>
        </p:spPr>
      </p:pic>
      <p:pic>
        <p:nvPicPr>
          <p:cNvPr id="36" name="图片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835" y="1545868"/>
            <a:ext cx="656033" cy="673932"/>
          </a:xfrm>
          <a:prstGeom prst="rect">
            <a:avLst/>
          </a:prstGeom>
        </p:spPr>
      </p:pic>
      <p:sp>
        <p:nvSpPr>
          <p:cNvPr id="37" name="矩形 36"/>
          <p:cNvSpPr/>
          <p:nvPr/>
        </p:nvSpPr>
        <p:spPr>
          <a:xfrm>
            <a:off x="65332" y="182662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38" name="矩形 37"/>
          <p:cNvSpPr/>
          <p:nvPr/>
        </p:nvSpPr>
        <p:spPr>
          <a:xfrm>
            <a:off x="232954" y="161053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39" name="矩形 38"/>
          <p:cNvSpPr/>
          <p:nvPr/>
        </p:nvSpPr>
        <p:spPr>
          <a:xfrm>
            <a:off x="1473916" y="1853727"/>
            <a:ext cx="1030043"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0" name="矩形 39"/>
          <p:cNvSpPr/>
          <p:nvPr/>
        </p:nvSpPr>
        <p:spPr>
          <a:xfrm>
            <a:off x="1663241" y="1628800"/>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1" name="矩形 40"/>
          <p:cNvSpPr/>
          <p:nvPr/>
        </p:nvSpPr>
        <p:spPr>
          <a:xfrm>
            <a:off x="65332" y="31670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2" name="矩形 41"/>
          <p:cNvSpPr/>
          <p:nvPr/>
        </p:nvSpPr>
        <p:spPr>
          <a:xfrm>
            <a:off x="260380" y="29503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3" name="矩形 42"/>
          <p:cNvSpPr/>
          <p:nvPr/>
        </p:nvSpPr>
        <p:spPr>
          <a:xfrm>
            <a:off x="588713" y="2493853"/>
            <a:ext cx="1068623" cy="338554"/>
          </a:xfrm>
          <a:prstGeom prst="rect">
            <a:avLst/>
          </a:prstGeom>
        </p:spPr>
        <p:txBody>
          <a:bodyPr wrap="square">
            <a:spAutoFit/>
          </a:bodyPr>
          <a:lstStyle/>
          <a:p>
            <a:r>
              <a:rPr lang="zh-CN" altLang="en-US" sz="1600" b="1" dirty="0" smtClean="0"/>
              <a:t>经费支付</a:t>
            </a:r>
            <a:endParaRPr lang="zh-CN" altLang="en-US" sz="1600" b="1" dirty="0"/>
          </a:p>
        </p:txBody>
      </p:sp>
      <p:sp>
        <p:nvSpPr>
          <p:cNvPr id="44" name="矩形 43"/>
          <p:cNvSpPr/>
          <p:nvPr/>
        </p:nvSpPr>
        <p:spPr>
          <a:xfrm>
            <a:off x="912421" y="2251689"/>
            <a:ext cx="404402" cy="338554"/>
          </a:xfrm>
          <a:prstGeom prst="rect">
            <a:avLst/>
          </a:prstGeom>
        </p:spPr>
        <p:txBody>
          <a:bodyPr wrap="square">
            <a:spAutoFit/>
          </a:bodyPr>
          <a:lstStyle/>
          <a:p>
            <a:r>
              <a:rPr lang="en-US" altLang="zh-CN" sz="1600" b="1" dirty="0" smtClean="0"/>
              <a:t>03</a:t>
            </a:r>
            <a:endParaRPr lang="zh-CN" altLang="en-US" sz="1600" b="1" dirty="0"/>
          </a:p>
        </p:txBody>
      </p:sp>
      <p:sp>
        <p:nvSpPr>
          <p:cNvPr id="45" name="矩形 44"/>
          <p:cNvSpPr/>
          <p:nvPr/>
        </p:nvSpPr>
        <p:spPr>
          <a:xfrm>
            <a:off x="768479" y="31756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943662" y="29602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0" name="矩形 49"/>
          <p:cNvSpPr/>
          <p:nvPr/>
        </p:nvSpPr>
        <p:spPr>
          <a:xfrm>
            <a:off x="1422300" y="319313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1" name="矩形 50"/>
          <p:cNvSpPr/>
          <p:nvPr/>
        </p:nvSpPr>
        <p:spPr>
          <a:xfrm>
            <a:off x="1585231" y="296962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
        <p:nvSpPr>
          <p:cNvPr id="52"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外事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200266371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146 -0.02222 C 0.00955 -0.03611 0.01355 -0.04877 0.01667 -0.06111 C 0.02483 -0.09352 0.02848 -0.12963 0.03959 -0.15926 C 0.04271 -0.18117 0.04931 -0.20432 0.05834 -0.22037 C 0.0606 -0.23241 0.06355 -0.24938 0.07084 -0.2537 C 0.07535 -0.26173 0.07969 -0.26636 0.08542 -0.27037 C 0.11216 -0.26975 0.13889 -0.27037 0.16563 -0.26852 C 0.16685 -0.26852 0.16771 -0.26574 0.16876 -0.26482 C 0.1698 -0.26389 0.17084 -0.26358 0.17188 -0.26296 C 0.17501 -0.25741 0.17761 -0.25617 0.18126 -0.25185 C 0.18646 -0.23796 0.17987 -0.25494 0.18646 -0.24074 C 0.18733 -0.23889 0.18803 -0.23704 0.18855 -0.23519 C 0.18907 -0.23333 0.18959 -0.22963 0.18959 -0.22932 " pathEditMode="relative" rAng="0" ptsTypes="ffffffffffffA">
                                      <p:cBhvr>
                                        <p:cTn id="11" dur="2000" fill="hold"/>
                                        <p:tgtEl>
                                          <p:spTgt spid="44"/>
                                        </p:tgtEl>
                                        <p:attrNameLst>
                                          <p:attrName>ppt_x</p:attrName>
                                          <p:attrName>ppt_y</p:attrName>
                                        </p:attrNameLst>
                                      </p:cBhvr>
                                      <p:rCtr x="8802" y="-12407"/>
                                    </p:animMotion>
                                  </p:childTnLst>
                                </p:cTn>
                              </p:par>
                              <p:par>
                                <p:cTn id="12" presetID="0" presetClass="path" presetSubtype="0" accel="50000" decel="50000" fill="hold" grpId="0" nodeType="withEffect">
                                  <p:stCondLst>
                                    <p:cond delay="0"/>
                                  </p:stCondLst>
                                  <p:childTnLst>
                                    <p:animMotion origin="layout" path="M 0.01146 -0.02222 C 0.00955 -0.03611 0.01354 -0.04876 0.01667 -0.06111 C 0.02483 -0.09352 0.02848 -0.12963 0.03959 -0.15926 C 0.04271 -0.18117 0.04931 -0.20432 0.05834 -0.22037 C 0.06059 -0.2324 0.06354 -0.24938 0.07084 -0.2537 C 0.07535 -0.26173 0.07969 -0.26636 0.08542 -0.27037 C 0.11216 -0.26975 0.13889 -0.27037 0.16563 -0.26852 C 0.16684 -0.26852 0.16771 -0.26574 0.16875 -0.26481 C 0.16979 -0.26389 0.17084 -0.26358 0.17188 -0.26296 C 0.175 -0.2574 0.17761 -0.25617 0.18125 -0.25185 C 0.18646 -0.23796 0.17986 -0.25494 0.18646 -0.24074 C 0.18733 -0.23889 0.18802 -0.23703 0.18854 -0.23518 C 0.18907 -0.23333 0.18959 -0.22963 0.18959 -0.22932 " pathEditMode="relative" rAng="0" ptsTypes="ffffffffffffA">
                                      <p:cBhvr>
                                        <p:cTn id="13" dur="2000" fill="hold"/>
                                        <p:tgtEl>
                                          <p:spTgt spid="43"/>
                                        </p:tgtEl>
                                        <p:attrNameLst>
                                          <p:attrName>ppt_x</p:attrName>
                                          <p:attrName>ppt_y</p:attrName>
                                        </p:attrNameLst>
                                      </p:cBhvr>
                                      <p:rCtr x="8802" y="-12407"/>
                                    </p:animMotion>
                                  </p:childTnLst>
                                </p:cTn>
                              </p:par>
                              <p:par>
                                <p:cTn id="14" presetID="0" presetClass="path" presetSubtype="0" accel="50000" decel="50000" fill="hold" nodeType="withEffect">
                                  <p:stCondLst>
                                    <p:cond delay="0"/>
                                  </p:stCondLst>
                                  <p:childTnLst>
                                    <p:animMotion origin="layout" path="M 0.01146 -0.02222 C 0.00955 -0.03611 0.01354 -0.04876 0.01667 -0.06111 C 0.02483 -0.09351 0.02847 -0.12963 0.03959 -0.15926 C 0.04271 -0.18117 0.04931 -0.20432 0.05834 -0.22037 C 0.06059 -0.2324 0.06354 -0.24938 0.07084 -0.2537 C 0.07535 -0.26172 0.07969 -0.26635 0.08542 -0.27037 C 0.11215 -0.26975 0.13889 -0.27037 0.16563 -0.26851 C 0.16684 -0.26851 0.16771 -0.26574 0.16875 -0.26481 C 0.16979 -0.26389 0.17084 -0.26358 0.17188 -0.26296 C 0.175 -0.2574 0.17761 -0.25617 0.18125 -0.25185 C 0.18646 -0.23796 0.17986 -0.25493 0.18646 -0.24074 C 0.18733 -0.23889 0.18802 -0.23703 0.18854 -0.23518 C 0.18906 -0.23333 0.18959 -0.22963 0.18959 -0.22932 " pathEditMode="relative" rAng="0" ptsTypes="ffffffffffffA">
                                      <p:cBhvr>
                                        <p:cTn id="15" dur="2000" fill="hold"/>
                                        <p:tgtEl>
                                          <p:spTgt spid="33"/>
                                        </p:tgtEl>
                                        <p:attrNameLst>
                                          <p:attrName>ppt_x</p:attrName>
                                          <p:attrName>ppt_y</p:attrName>
                                        </p:attrNameLst>
                                      </p:cBhvr>
                                      <p:rCtr x="8802" y="-12407"/>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44"/>
                                        </p:tgtEl>
                                      </p:cBhvr>
                                      <p:by x="150000" y="150000"/>
                                    </p:animScale>
                                  </p:childTnLst>
                                </p:cTn>
                              </p:par>
                              <p:par>
                                <p:cTn id="19" presetID="6" presetClass="emph" presetSubtype="0" fill="hold" grpId="1" nodeType="withEffect">
                                  <p:stCondLst>
                                    <p:cond delay="0"/>
                                  </p:stCondLst>
                                  <p:childTnLst>
                                    <p:animScale>
                                      <p:cBhvr>
                                        <p:cTn id="20" dur="2000" fill="hold"/>
                                        <p:tgtEl>
                                          <p:spTgt spid="43"/>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 calcmode="lin" valueType="num">
                                      <p:cBhvr additive="base">
                                        <p:cTn id="24" dur="500"/>
                                        <p:tgtEl>
                                          <p:spTgt spid="15"/>
                                        </p:tgtEl>
                                        <p:attrNameLst>
                                          <p:attrName>ppt_y</p:attrName>
                                        </p:attrNameLst>
                                      </p:cBhvr>
                                      <p:tavLst>
                                        <p:tav tm="0">
                                          <p:val>
                                            <p:strVal val="#ppt_y+#ppt_h*1.125000"/>
                                          </p:val>
                                        </p:tav>
                                        <p:tav tm="100000">
                                          <p:val>
                                            <p:strVal val="#ppt_y"/>
                                          </p:val>
                                        </p:tav>
                                      </p:tavLst>
                                    </p:anim>
                                    <p:animEffect transition="in" filter="wipe(up)">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5" grpId="0"/>
      <p:bldP spid="43" grpId="0"/>
      <p:bldP spid="43" grpId="1"/>
      <p:bldP spid="44" grpId="0"/>
      <p:bldP spid="44"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93634"/>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4" name="TextBox 18"/>
          <p:cNvSpPr>
            <a:spLocks noChangeArrowheads="1"/>
          </p:cNvSpPr>
          <p:nvPr/>
        </p:nvSpPr>
        <p:spPr bwMode="auto">
          <a:xfrm>
            <a:off x="2168832" y="1929431"/>
            <a:ext cx="6641793" cy="1902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0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课题组发生接待事项，事先应向外事管理部门提出。发生的业务接待费用由外事管理部门负责人审批同意，超过</a:t>
            </a:r>
            <a:r>
              <a:rPr lang="en-US" altLang="zh-CN" sz="1050" b="1" dirty="0">
                <a:ln w="3175">
                  <a:solidFill>
                    <a:schemeClr val="tx1"/>
                  </a:solidFill>
                </a:ln>
                <a:latin typeface="方正风雅宋简体" pitchFamily="2" charset="-122"/>
                <a:ea typeface="方正风雅宋简体" pitchFamily="2" charset="-122"/>
              </a:rPr>
              <a:t>3</a:t>
            </a:r>
            <a:r>
              <a:rPr lang="zh-CN" altLang="zh-CN" sz="1050" b="1" dirty="0">
                <a:ln w="3175">
                  <a:solidFill>
                    <a:schemeClr val="tx1"/>
                  </a:solidFill>
                </a:ln>
                <a:latin typeface="方正风雅宋简体" pitchFamily="2" charset="-122"/>
                <a:ea typeface="方正风雅宋简体" pitchFamily="2" charset="-122"/>
              </a:rPr>
              <a:t>，</a:t>
            </a:r>
            <a:r>
              <a:rPr lang="en-US" altLang="zh-CN" sz="1050" b="1" dirty="0">
                <a:ln w="3175">
                  <a:solidFill>
                    <a:schemeClr val="tx1"/>
                  </a:solidFill>
                </a:ln>
                <a:latin typeface="方正风雅宋简体" pitchFamily="2" charset="-122"/>
                <a:ea typeface="方正风雅宋简体" pitchFamily="2" charset="-122"/>
              </a:rPr>
              <a:t>000</a:t>
            </a:r>
            <a:r>
              <a:rPr lang="zh-CN" altLang="zh-CN" sz="1050" b="1" dirty="0">
                <a:ln w="3175">
                  <a:solidFill>
                    <a:schemeClr val="tx1"/>
                  </a:solidFill>
                </a:ln>
                <a:latin typeface="方正风雅宋简体" pitchFamily="2" charset="-122"/>
                <a:ea typeface="方正风雅宋简体" pitchFamily="2" charset="-122"/>
              </a:rPr>
              <a:t>元的还须报相关主管所领导审批同意</a:t>
            </a:r>
            <a:endParaRPr lang="zh-CN" altLang="en-US" sz="1050" b="1" dirty="0">
              <a:ln w="3175">
                <a:solidFill>
                  <a:schemeClr val="tx1"/>
                </a:solidFill>
              </a:ln>
              <a:latin typeface="方正风雅宋简体" pitchFamily="2" charset="-122"/>
              <a:ea typeface="方正风雅宋简体" pitchFamily="2" charset="-122"/>
            </a:endParaRPr>
          </a:p>
          <a:p>
            <a:pPr marL="457200" indent="-457200" fontAlgn="auto">
              <a:lnSpc>
                <a:spcPct val="20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发生所级接待事项，事先应向主管所领导提出，同意后方可执行</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0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挂靠的非法人研究中心发生接待事项，事先应向外事管理部门提出。发生的业务招待费用由外事管理部门负责人审批同意，超过</a:t>
            </a:r>
            <a:r>
              <a:rPr lang="en-US" altLang="zh-CN" sz="1050" b="1" dirty="0">
                <a:ln w="3175">
                  <a:solidFill>
                    <a:schemeClr val="tx1"/>
                  </a:solidFill>
                </a:ln>
                <a:latin typeface="方正风雅宋简体" pitchFamily="2" charset="-122"/>
                <a:ea typeface="方正风雅宋简体" pitchFamily="2" charset="-122"/>
              </a:rPr>
              <a:t>3</a:t>
            </a:r>
            <a:r>
              <a:rPr lang="zh-CN" altLang="zh-CN" sz="1050" b="1" dirty="0">
                <a:ln w="3175">
                  <a:solidFill>
                    <a:schemeClr val="tx1"/>
                  </a:solidFill>
                </a:ln>
                <a:latin typeface="方正风雅宋简体" pitchFamily="2" charset="-122"/>
                <a:ea typeface="方正风雅宋简体" pitchFamily="2" charset="-122"/>
              </a:rPr>
              <a:t>，</a:t>
            </a:r>
            <a:r>
              <a:rPr lang="en-US" altLang="zh-CN" sz="1050" b="1" dirty="0">
                <a:ln w="3175">
                  <a:solidFill>
                    <a:schemeClr val="tx1"/>
                  </a:solidFill>
                </a:ln>
                <a:latin typeface="方正风雅宋简体" pitchFamily="2" charset="-122"/>
                <a:ea typeface="方正风雅宋简体" pitchFamily="2" charset="-122"/>
              </a:rPr>
              <a:t>000</a:t>
            </a:r>
            <a:r>
              <a:rPr lang="zh-CN" altLang="zh-CN" sz="1050" b="1" dirty="0">
                <a:ln w="3175">
                  <a:solidFill>
                    <a:schemeClr val="tx1"/>
                  </a:solidFill>
                </a:ln>
                <a:latin typeface="方正风雅宋简体" pitchFamily="2" charset="-122"/>
                <a:ea typeface="方正风雅宋简体" pitchFamily="2" charset="-122"/>
              </a:rPr>
              <a:t>元的还须报相关主管所领导审批同意，财务部门登记备案审定</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5" name="矩形 14"/>
          <p:cNvSpPr/>
          <p:nvPr/>
        </p:nvSpPr>
        <p:spPr>
          <a:xfrm>
            <a:off x="44264" y="16381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6" name="矩形 15"/>
          <p:cNvSpPr/>
          <p:nvPr/>
        </p:nvSpPr>
        <p:spPr>
          <a:xfrm>
            <a:off x="726917" y="16493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7" name="矩形 16"/>
          <p:cNvSpPr/>
          <p:nvPr/>
        </p:nvSpPr>
        <p:spPr>
          <a:xfrm>
            <a:off x="1450201" y="164932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51358" y="2299657"/>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754224" y="23656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1452019" y="23010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4" name="矩形 23"/>
          <p:cNvSpPr/>
          <p:nvPr/>
        </p:nvSpPr>
        <p:spPr>
          <a:xfrm>
            <a:off x="72839" y="30198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22300" y="306494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26" name="图片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41350" y="2970693"/>
            <a:ext cx="661923" cy="661924"/>
          </a:xfrm>
          <a:prstGeom prst="rect">
            <a:avLst/>
          </a:prstGeom>
        </p:spPr>
      </p:pic>
      <p:pic>
        <p:nvPicPr>
          <p:cNvPr id="32" name="图片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7805" y="1647563"/>
            <a:ext cx="668061" cy="643870"/>
          </a:xfrm>
          <a:prstGeom prst="rect">
            <a:avLst/>
          </a:prstGeom>
        </p:spPr>
      </p:pic>
      <p:pic>
        <p:nvPicPr>
          <p:cNvPr id="33" name="图片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413" y="2297425"/>
            <a:ext cx="698394" cy="673267"/>
          </a:xfrm>
          <a:prstGeom prst="rect">
            <a:avLst/>
          </a:prstGeom>
        </p:spPr>
      </p:pic>
      <p:pic>
        <p:nvPicPr>
          <p:cNvPr id="34" name="图片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0204" y="2972269"/>
            <a:ext cx="671145" cy="661924"/>
          </a:xfrm>
          <a:prstGeom prst="rect">
            <a:avLst/>
          </a:prstGeom>
        </p:spPr>
      </p:pic>
      <p:pic>
        <p:nvPicPr>
          <p:cNvPr id="35" name="图片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212" y="2970522"/>
            <a:ext cx="671231" cy="681144"/>
          </a:xfrm>
          <a:prstGeom prst="rect">
            <a:avLst/>
          </a:prstGeom>
        </p:spPr>
      </p:pic>
      <p:pic>
        <p:nvPicPr>
          <p:cNvPr id="36" name="图片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310" y="1622068"/>
            <a:ext cx="656033" cy="673932"/>
          </a:xfrm>
          <a:prstGeom prst="rect">
            <a:avLst/>
          </a:prstGeom>
        </p:spPr>
      </p:pic>
      <p:sp>
        <p:nvSpPr>
          <p:cNvPr id="37" name="矩形 36"/>
          <p:cNvSpPr/>
          <p:nvPr/>
        </p:nvSpPr>
        <p:spPr>
          <a:xfrm>
            <a:off x="65332" y="190282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38" name="矩形 37"/>
          <p:cNvSpPr/>
          <p:nvPr/>
        </p:nvSpPr>
        <p:spPr>
          <a:xfrm>
            <a:off x="232954" y="168673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39" name="矩形 38"/>
          <p:cNvSpPr/>
          <p:nvPr/>
        </p:nvSpPr>
        <p:spPr>
          <a:xfrm>
            <a:off x="1473916" y="1929927"/>
            <a:ext cx="1030043"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0" name="矩形 39"/>
          <p:cNvSpPr/>
          <p:nvPr/>
        </p:nvSpPr>
        <p:spPr>
          <a:xfrm>
            <a:off x="1663241" y="1705000"/>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1" name="矩形 40"/>
          <p:cNvSpPr/>
          <p:nvPr/>
        </p:nvSpPr>
        <p:spPr>
          <a:xfrm>
            <a:off x="-115643" y="3243245"/>
            <a:ext cx="1019854" cy="338554"/>
          </a:xfrm>
          <a:prstGeom prst="rect">
            <a:avLst/>
          </a:prstGeom>
        </p:spPr>
        <p:txBody>
          <a:bodyPr wrap="square">
            <a:spAutoFit/>
          </a:bodyPr>
          <a:lstStyle/>
          <a:p>
            <a:r>
              <a:rPr lang="zh-CN" altLang="en-US" sz="1600" b="1" dirty="0" smtClean="0"/>
              <a:t>审批程序</a:t>
            </a:r>
            <a:endParaRPr lang="zh-CN" altLang="en-US" sz="1600" b="1" dirty="0"/>
          </a:p>
        </p:txBody>
      </p:sp>
      <p:sp>
        <p:nvSpPr>
          <p:cNvPr id="42" name="矩形 41"/>
          <p:cNvSpPr/>
          <p:nvPr/>
        </p:nvSpPr>
        <p:spPr>
          <a:xfrm>
            <a:off x="222280" y="3026559"/>
            <a:ext cx="493844" cy="338554"/>
          </a:xfrm>
          <a:prstGeom prst="rect">
            <a:avLst/>
          </a:prstGeom>
        </p:spPr>
        <p:txBody>
          <a:bodyPr wrap="square">
            <a:spAutoFit/>
          </a:bodyPr>
          <a:lstStyle/>
          <a:p>
            <a:r>
              <a:rPr lang="en-US" altLang="zh-CN" sz="1600" b="1" dirty="0" smtClean="0"/>
              <a:t>04</a:t>
            </a:r>
            <a:endParaRPr lang="zh-CN" altLang="en-US" sz="1600" b="1" dirty="0"/>
          </a:p>
        </p:txBody>
      </p:sp>
      <p:sp>
        <p:nvSpPr>
          <p:cNvPr id="43" name="矩形 42"/>
          <p:cNvSpPr/>
          <p:nvPr/>
        </p:nvSpPr>
        <p:spPr>
          <a:xfrm>
            <a:off x="731589" y="25700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4" name="矩形 43"/>
          <p:cNvSpPr/>
          <p:nvPr/>
        </p:nvSpPr>
        <p:spPr>
          <a:xfrm>
            <a:off x="931471" y="23469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5" name="矩形 44"/>
          <p:cNvSpPr/>
          <p:nvPr/>
        </p:nvSpPr>
        <p:spPr>
          <a:xfrm>
            <a:off x="768479" y="32518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943662" y="30364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0" name="矩形 49"/>
          <p:cNvSpPr/>
          <p:nvPr/>
        </p:nvSpPr>
        <p:spPr>
          <a:xfrm>
            <a:off x="1422300" y="326933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1" name="矩形 50"/>
          <p:cNvSpPr/>
          <p:nvPr/>
        </p:nvSpPr>
        <p:spPr>
          <a:xfrm>
            <a:off x="1585231" y="304582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
        <p:nvSpPr>
          <p:cNvPr id="52"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外事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76926232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4.72222E-6 -0.03519 C 0.00781 -0.06328 0.01614 -0.09136 0.025 -0.11852 C 0.02968 -0.13272 0.03246 -0.14939 0.0375 -0.16297 C 0.03888 -0.17562 0.04131 -0.18426 0.04583 -0.19445 C 0.04913 -0.21204 0.05399 -0.22531 0.05937 -0.24074 C 0.06354 -0.25278 0.06614 -0.26574 0.07187 -0.27593 C 0.07586 -0.29352 0.08368 -0.30803 0.09062 -0.32223 C 0.09305 -0.32716 0.09618 -0.33303 0.09791 -0.33889 C 0.09843 -0.34074 0.09826 -0.3429 0.09895 -0.34445 C 0.10642 -0.36111 0.12309 -0.38025 0.13437 -0.38519 C 0.14826 -0.39939 0.16336 -0.4034 0.17916 -0.40741 C 0.25677 -0.40525 0.221 -0.40988 0.25416 -0.39815 C 0.2559 -0.39599 0.26024 -0.39105 0.26145 -0.38889 C 0.26406 -0.38426 0.26406 -0.37871 0.26666 -0.37408 " pathEditMode="relative" rAng="0" ptsTypes="fffffffffffffA">
                                      <p:cBhvr>
                                        <p:cTn id="11" dur="2000" fill="hold"/>
                                        <p:tgtEl>
                                          <p:spTgt spid="42"/>
                                        </p:tgtEl>
                                        <p:attrNameLst>
                                          <p:attrName>ppt_x</p:attrName>
                                          <p:attrName>ppt_y</p:attrName>
                                        </p:attrNameLst>
                                      </p:cBhvr>
                                      <p:rCtr x="13333" y="-18735"/>
                                    </p:animMotion>
                                  </p:childTnLst>
                                </p:cTn>
                              </p:par>
                              <p:par>
                                <p:cTn id="12" presetID="0" presetClass="path" presetSubtype="0" accel="50000" decel="50000" fill="hold" grpId="0" nodeType="withEffect">
                                  <p:stCondLst>
                                    <p:cond delay="0"/>
                                  </p:stCondLst>
                                  <p:childTnLst>
                                    <p:animMotion origin="layout" path="M 4.44444E-6 -0.03518 C 0.00781 -0.06327 0.01614 -0.09136 0.025 -0.11852 C 0.02968 -0.13271 0.03246 -0.14938 0.0375 -0.16296 C 0.03888 -0.17562 0.04132 -0.18426 0.04583 -0.19444 C 0.04913 -0.21204 0.05399 -0.22531 0.05937 -0.24074 C 0.06354 -0.25278 0.06614 -0.26574 0.07187 -0.27592 C 0.07586 -0.29352 0.08368 -0.30802 0.09062 -0.32222 C 0.09305 -0.32716 0.09618 -0.33302 0.09791 -0.33889 C 0.09843 -0.34074 0.09826 -0.3429 0.09895 -0.34444 C 0.10642 -0.36111 0.12309 -0.38025 0.13437 -0.38518 C 0.14826 -0.39938 0.16336 -0.40339 0.17916 -0.40741 C 0.25677 -0.40525 0.221 -0.40987 0.25416 -0.39815 C 0.2559 -0.39599 0.26024 -0.39105 0.26145 -0.38889 C 0.26406 -0.38426 0.26406 -0.3787 0.26666 -0.37407 " pathEditMode="relative" rAng="0" ptsTypes="fffffffffffffA">
                                      <p:cBhvr>
                                        <p:cTn id="13" dur="2000" fill="hold"/>
                                        <p:tgtEl>
                                          <p:spTgt spid="41"/>
                                        </p:tgtEl>
                                        <p:attrNameLst>
                                          <p:attrName>ppt_x</p:attrName>
                                          <p:attrName>ppt_y</p:attrName>
                                        </p:attrNameLst>
                                      </p:cBhvr>
                                      <p:rCtr x="13333" y="-18735"/>
                                    </p:animMotion>
                                  </p:childTnLst>
                                </p:cTn>
                              </p:par>
                              <p:par>
                                <p:cTn id="14" presetID="0" presetClass="path" presetSubtype="0" accel="50000" decel="50000" fill="hold" nodeType="withEffect">
                                  <p:stCondLst>
                                    <p:cond delay="0"/>
                                  </p:stCondLst>
                                  <p:childTnLst>
                                    <p:animMotion origin="layout" path="M 6.93889E-18 -0.03519 C 0.00781 -0.06327 0.01615 -0.09136 0.025 -0.11852 C 0.02969 -0.13272 0.03247 -0.14938 0.0375 -0.16296 C 0.03889 -0.17562 0.04132 -0.18426 0.04583 -0.19445 C 0.04913 -0.21204 0.05399 -0.22531 0.05938 -0.24074 C 0.06354 -0.25278 0.06615 -0.26574 0.07188 -0.27593 C 0.07587 -0.29352 0.08368 -0.30803 0.09063 -0.32222 C 0.09306 -0.32716 0.09618 -0.33303 0.09792 -0.33889 C 0.09844 -0.34074 0.09826 -0.3429 0.09896 -0.34445 C 0.10642 -0.36111 0.12309 -0.38025 0.13438 -0.38519 C 0.14826 -0.39938 0.16337 -0.4034 0.17917 -0.40741 C 0.25677 -0.40525 0.22101 -0.40988 0.25417 -0.39815 C 0.2559 -0.39599 0.26024 -0.39105 0.26146 -0.38889 C 0.26406 -0.38426 0.26406 -0.37871 0.26667 -0.37408 " pathEditMode="relative" rAng="0" ptsTypes="fffffffffffffA">
                                      <p:cBhvr>
                                        <p:cTn id="15" dur="2000" fill="hold"/>
                                        <p:tgtEl>
                                          <p:spTgt spid="35"/>
                                        </p:tgtEl>
                                        <p:attrNameLst>
                                          <p:attrName>ppt_x</p:attrName>
                                          <p:attrName>ppt_y</p:attrName>
                                        </p:attrNameLst>
                                      </p:cBhvr>
                                      <p:rCtr x="13333" y="-18735"/>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42"/>
                                        </p:tgtEl>
                                      </p:cBhvr>
                                      <p:by x="150000" y="150000"/>
                                    </p:animScale>
                                  </p:childTnLst>
                                </p:cTn>
                              </p:par>
                              <p:par>
                                <p:cTn id="19" presetID="6" presetClass="emph" presetSubtype="0" fill="hold" grpId="1" nodeType="withEffect">
                                  <p:stCondLst>
                                    <p:cond delay="0"/>
                                  </p:stCondLst>
                                  <p:childTnLst>
                                    <p:animScale>
                                      <p:cBhvr>
                                        <p:cTn id="20" dur="2000" fill="hold"/>
                                        <p:tgtEl>
                                          <p:spTgt spid="41"/>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4"/>
                                        </p:tgtEl>
                                        <p:attrNameLst>
                                          <p:attrName>style.visibility</p:attrName>
                                        </p:attrNameLst>
                                      </p:cBhvr>
                                      <p:to>
                                        <p:strVal val="visible"/>
                                      </p:to>
                                    </p:set>
                                    <p:anim calcmode="lin" valueType="num">
                                      <p:cBhvr additive="base">
                                        <p:cTn id="24" dur="500"/>
                                        <p:tgtEl>
                                          <p:spTgt spid="14"/>
                                        </p:tgtEl>
                                        <p:attrNameLst>
                                          <p:attrName>ppt_y</p:attrName>
                                        </p:attrNameLst>
                                      </p:cBhvr>
                                      <p:tavLst>
                                        <p:tav tm="0">
                                          <p:val>
                                            <p:strVal val="#ppt_y+#ppt_h*1.125000"/>
                                          </p:val>
                                        </p:tav>
                                        <p:tav tm="100000">
                                          <p:val>
                                            <p:strVal val="#ppt_y"/>
                                          </p:val>
                                        </p:tav>
                                      </p:tavLst>
                                    </p:anim>
                                    <p:animEffect transition="in" filter="wipe(up)">
                                      <p:cBhvr>
                                        <p:cTn id="2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4" grpId="0"/>
      <p:bldP spid="41" grpId="0"/>
      <p:bldP spid="41" grpId="1"/>
      <p:bldP spid="42" grpId="0"/>
      <p:bldP spid="42" grpId="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069200"/>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46009"/>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4" name="TextBox 18"/>
          <p:cNvSpPr>
            <a:spLocks noChangeArrowheads="1"/>
          </p:cNvSpPr>
          <p:nvPr/>
        </p:nvSpPr>
        <p:spPr bwMode="auto">
          <a:xfrm>
            <a:off x="2155981" y="1809429"/>
            <a:ext cx="5244944" cy="1498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信息公开：除涉密内容和事项外，按年度在所的相关范围内予以公开</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检查：由监察审计室、党政办公室、资产财务处组成检查组，结束后形成检查报告报所务会议通过</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5" name="矩形 14"/>
          <p:cNvSpPr/>
          <p:nvPr/>
        </p:nvSpPr>
        <p:spPr>
          <a:xfrm>
            <a:off x="63314" y="1666702"/>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6" name="矩形 15"/>
          <p:cNvSpPr/>
          <p:nvPr/>
        </p:nvSpPr>
        <p:spPr>
          <a:xfrm>
            <a:off x="745967" y="1677897"/>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7" name="矩形 16"/>
          <p:cNvSpPr/>
          <p:nvPr/>
        </p:nvSpPr>
        <p:spPr>
          <a:xfrm>
            <a:off x="1469251" y="1677897"/>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0408" y="2328232"/>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773274" y="2394242"/>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1471069" y="2329622"/>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4" name="矩形 23"/>
          <p:cNvSpPr/>
          <p:nvPr/>
        </p:nvSpPr>
        <p:spPr>
          <a:xfrm>
            <a:off x="91889" y="3048384"/>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60400" y="3093522"/>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26" name="图片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3943" y="3008649"/>
            <a:ext cx="702038" cy="661924"/>
          </a:xfrm>
          <a:prstGeom prst="rect">
            <a:avLst/>
          </a:prstGeom>
        </p:spPr>
      </p:pic>
      <p:pic>
        <p:nvPicPr>
          <p:cNvPr id="32" name="图片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66855" y="1676138"/>
            <a:ext cx="668061" cy="643870"/>
          </a:xfrm>
          <a:prstGeom prst="rect">
            <a:avLst/>
          </a:prstGeom>
        </p:spPr>
      </p:pic>
      <p:pic>
        <p:nvPicPr>
          <p:cNvPr id="33" name="图片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7463" y="2326000"/>
            <a:ext cx="698394" cy="673267"/>
          </a:xfrm>
          <a:prstGeom prst="rect">
            <a:avLst/>
          </a:prstGeom>
        </p:spPr>
      </p:pic>
      <p:pic>
        <p:nvPicPr>
          <p:cNvPr id="34" name="图片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9254" y="3000844"/>
            <a:ext cx="671145" cy="661924"/>
          </a:xfrm>
          <a:prstGeom prst="rect">
            <a:avLst/>
          </a:prstGeom>
        </p:spPr>
      </p:pic>
      <p:pic>
        <p:nvPicPr>
          <p:cNvPr id="35" name="图片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262" y="2999097"/>
            <a:ext cx="671231" cy="681144"/>
          </a:xfrm>
          <a:prstGeom prst="rect">
            <a:avLst/>
          </a:prstGeom>
        </p:spPr>
      </p:pic>
      <p:pic>
        <p:nvPicPr>
          <p:cNvPr id="36" name="图片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360" y="1650643"/>
            <a:ext cx="656033" cy="673932"/>
          </a:xfrm>
          <a:prstGeom prst="rect">
            <a:avLst/>
          </a:prstGeom>
        </p:spPr>
      </p:pic>
      <p:sp>
        <p:nvSpPr>
          <p:cNvPr id="37" name="矩形 36"/>
          <p:cNvSpPr/>
          <p:nvPr/>
        </p:nvSpPr>
        <p:spPr>
          <a:xfrm>
            <a:off x="84382" y="1931398"/>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38" name="矩形 37"/>
          <p:cNvSpPr/>
          <p:nvPr/>
        </p:nvSpPr>
        <p:spPr>
          <a:xfrm>
            <a:off x="252004" y="1715314"/>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39" name="矩形 38"/>
          <p:cNvSpPr/>
          <p:nvPr/>
        </p:nvSpPr>
        <p:spPr>
          <a:xfrm>
            <a:off x="1492966" y="1958502"/>
            <a:ext cx="1030043"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0" name="矩形 39"/>
          <p:cNvSpPr/>
          <p:nvPr/>
        </p:nvSpPr>
        <p:spPr>
          <a:xfrm>
            <a:off x="1682291" y="1733575"/>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1" name="矩形 40"/>
          <p:cNvSpPr/>
          <p:nvPr/>
        </p:nvSpPr>
        <p:spPr>
          <a:xfrm>
            <a:off x="84382" y="3271820"/>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2" name="矩形 41"/>
          <p:cNvSpPr/>
          <p:nvPr/>
        </p:nvSpPr>
        <p:spPr>
          <a:xfrm>
            <a:off x="279430" y="3055134"/>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3" name="矩形 42"/>
          <p:cNvSpPr/>
          <p:nvPr/>
        </p:nvSpPr>
        <p:spPr>
          <a:xfrm>
            <a:off x="750639" y="2598628"/>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4" name="矩形 43"/>
          <p:cNvSpPr/>
          <p:nvPr/>
        </p:nvSpPr>
        <p:spPr>
          <a:xfrm>
            <a:off x="950521" y="2375514"/>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5" name="矩形 44"/>
          <p:cNvSpPr/>
          <p:nvPr/>
        </p:nvSpPr>
        <p:spPr>
          <a:xfrm>
            <a:off x="616078" y="3280434"/>
            <a:ext cx="1031734" cy="338554"/>
          </a:xfrm>
          <a:prstGeom prst="rect">
            <a:avLst/>
          </a:prstGeom>
        </p:spPr>
        <p:txBody>
          <a:bodyPr wrap="square">
            <a:spAutoFit/>
          </a:bodyPr>
          <a:lstStyle/>
          <a:p>
            <a:r>
              <a:rPr lang="zh-CN" altLang="en-US" sz="1600" b="1" dirty="0" smtClean="0"/>
              <a:t>监督检查</a:t>
            </a:r>
            <a:endParaRPr lang="zh-CN" altLang="en-US" sz="1600" b="1" dirty="0"/>
          </a:p>
        </p:txBody>
      </p:sp>
      <p:sp>
        <p:nvSpPr>
          <p:cNvPr id="46" name="矩形 45"/>
          <p:cNvSpPr/>
          <p:nvPr/>
        </p:nvSpPr>
        <p:spPr>
          <a:xfrm>
            <a:off x="924612" y="3045982"/>
            <a:ext cx="401736" cy="338554"/>
          </a:xfrm>
          <a:prstGeom prst="rect">
            <a:avLst/>
          </a:prstGeom>
        </p:spPr>
        <p:txBody>
          <a:bodyPr wrap="square">
            <a:spAutoFit/>
          </a:bodyPr>
          <a:lstStyle/>
          <a:p>
            <a:r>
              <a:rPr lang="en-US" altLang="zh-CN" sz="1600" b="1" dirty="0" smtClean="0"/>
              <a:t>05</a:t>
            </a:r>
            <a:endParaRPr lang="zh-CN" altLang="en-US" sz="1600" b="1" dirty="0"/>
          </a:p>
        </p:txBody>
      </p:sp>
      <p:sp>
        <p:nvSpPr>
          <p:cNvPr id="50" name="矩形 49"/>
          <p:cNvSpPr/>
          <p:nvPr/>
        </p:nvSpPr>
        <p:spPr>
          <a:xfrm>
            <a:off x="1441350" y="3297908"/>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1" name="矩形 50"/>
          <p:cNvSpPr/>
          <p:nvPr/>
        </p:nvSpPr>
        <p:spPr>
          <a:xfrm>
            <a:off x="1604281" y="3074398"/>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
        <p:nvSpPr>
          <p:cNvPr id="52"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外事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219060528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979 -0.05926 C -0.01858 -0.06944 -0.01754 -0.07253 -0.01354 -0.07963 C -0.01094 -0.09352 -0.00486 -0.10247 -0.00104 -0.11481 C 0.00434 -0.1321 0.00764 -0.15093 0.0125 -0.16852 C 0.01857 -0.19012 0.02465 -0.21111 0.03229 -0.23148 C 0.0335 -0.24074 0.03576 -0.24383 0.03854 -0.25185 C 0.04323 -0.26512 0.04809 -0.2858 0.05521 -0.29444 C 0.06666 -0.325 0.08038 -0.35772 0.09896 -0.37407 C 0.10659 -0.38086 0.11892 -0.3963 0.12812 -0.3963 C 0.14791 -0.3963 0.16771 -0.3963 0.1875 -0.3963 " pathEditMode="relative" rAng="0" ptsTypes="fffffffffA">
                                      <p:cBhvr>
                                        <p:cTn id="11" dur="2000" fill="hold"/>
                                        <p:tgtEl>
                                          <p:spTgt spid="46"/>
                                        </p:tgtEl>
                                        <p:attrNameLst>
                                          <p:attrName>ppt_x</p:attrName>
                                          <p:attrName>ppt_y</p:attrName>
                                        </p:attrNameLst>
                                      </p:cBhvr>
                                      <p:rCtr x="10365" y="-16852"/>
                                    </p:animMotion>
                                  </p:childTnLst>
                                </p:cTn>
                              </p:par>
                              <p:par>
                                <p:cTn id="12" presetID="0" presetClass="path" presetSubtype="0" accel="50000" decel="50000" fill="hold" grpId="0" nodeType="withEffect">
                                  <p:stCondLst>
                                    <p:cond delay="0"/>
                                  </p:stCondLst>
                                  <p:childTnLst>
                                    <p:animMotion origin="layout" path="M -0.01979 -0.05926 C -0.01857 -0.06945 -0.01753 -0.07253 -0.01354 -0.07963 C -0.01093 -0.09352 -0.00486 -0.10247 -0.00104 -0.11482 C 0.00435 -0.1321 0.00764 -0.15093 0.0125 -0.16852 C 0.01858 -0.19012 0.02466 -0.21111 0.0323 -0.23148 C 0.03351 -0.24074 0.03577 -0.24383 0.03855 -0.25185 C 0.04323 -0.26512 0.0481 -0.2858 0.05521 -0.29445 C 0.06667 -0.325 0.08039 -0.35772 0.09896 -0.37408 C 0.1066 -0.38087 0.11893 -0.3963 0.12813 -0.3963 C 0.14792 -0.3963 0.16771 -0.3963 0.1875 -0.3963 " pathEditMode="relative" rAng="0" ptsTypes="fffffffffA">
                                      <p:cBhvr>
                                        <p:cTn id="13" dur="2000" fill="hold"/>
                                        <p:tgtEl>
                                          <p:spTgt spid="45"/>
                                        </p:tgtEl>
                                        <p:attrNameLst>
                                          <p:attrName>ppt_x</p:attrName>
                                          <p:attrName>ppt_y</p:attrName>
                                        </p:attrNameLst>
                                      </p:cBhvr>
                                      <p:rCtr x="10365" y="-16852"/>
                                    </p:animMotion>
                                  </p:childTnLst>
                                </p:cTn>
                              </p:par>
                              <p:par>
                                <p:cTn id="14" presetID="0" presetClass="path" presetSubtype="0" accel="50000" decel="50000" fill="hold" nodeType="withEffect">
                                  <p:stCondLst>
                                    <p:cond delay="0"/>
                                  </p:stCondLst>
                                  <p:childTnLst>
                                    <p:animMotion origin="layout" path="M -0.01979 -0.05926 C -0.01858 -0.06944 -0.01754 -0.07253 -0.01354 -0.07963 C -0.01094 -0.09352 -0.00486 -0.10247 -0.00104 -0.11481 C 0.00434 -0.1321 0.00764 -0.15093 0.0125 -0.16852 C 0.01857 -0.19012 0.02465 -0.21111 0.03229 -0.23148 C 0.0335 -0.24074 0.03576 -0.24383 0.03854 -0.25185 C 0.04323 -0.26512 0.04809 -0.2858 0.05521 -0.29444 C 0.06666 -0.325 0.08038 -0.35772 0.09896 -0.37407 C 0.10659 -0.38086 0.11892 -0.3963 0.12812 -0.3963 C 0.14791 -0.3963 0.16771 -0.3963 0.1875 -0.3963 " pathEditMode="relative" rAng="0" ptsTypes="fffffffffA">
                                      <p:cBhvr>
                                        <p:cTn id="15" dur="2000" fill="hold"/>
                                        <p:tgtEl>
                                          <p:spTgt spid="34"/>
                                        </p:tgtEl>
                                        <p:attrNameLst>
                                          <p:attrName>ppt_x</p:attrName>
                                          <p:attrName>ppt_y</p:attrName>
                                        </p:attrNameLst>
                                      </p:cBhvr>
                                      <p:rCtr x="10365" y="-16852"/>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46"/>
                                        </p:tgtEl>
                                      </p:cBhvr>
                                      <p:by x="150000" y="150000"/>
                                    </p:animScale>
                                  </p:childTnLst>
                                </p:cTn>
                              </p:par>
                              <p:par>
                                <p:cTn id="19" presetID="6" presetClass="emph" presetSubtype="0" fill="hold" grpId="1" nodeType="withEffect">
                                  <p:stCondLst>
                                    <p:cond delay="0"/>
                                  </p:stCondLst>
                                  <p:childTnLst>
                                    <p:animScale>
                                      <p:cBhvr>
                                        <p:cTn id="20" dur="2000" fill="hold"/>
                                        <p:tgtEl>
                                          <p:spTgt spid="45"/>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4"/>
                                        </p:tgtEl>
                                        <p:attrNameLst>
                                          <p:attrName>style.visibility</p:attrName>
                                        </p:attrNameLst>
                                      </p:cBhvr>
                                      <p:to>
                                        <p:strVal val="visible"/>
                                      </p:to>
                                    </p:set>
                                    <p:anim calcmode="lin" valueType="num">
                                      <p:cBhvr additive="base">
                                        <p:cTn id="24" dur="500"/>
                                        <p:tgtEl>
                                          <p:spTgt spid="14"/>
                                        </p:tgtEl>
                                        <p:attrNameLst>
                                          <p:attrName>ppt_y</p:attrName>
                                        </p:attrNameLst>
                                      </p:cBhvr>
                                      <p:tavLst>
                                        <p:tav tm="0">
                                          <p:val>
                                            <p:strVal val="#ppt_y+#ppt_h*1.125000"/>
                                          </p:val>
                                        </p:tav>
                                        <p:tav tm="100000">
                                          <p:val>
                                            <p:strVal val="#ppt_y"/>
                                          </p:val>
                                        </p:tav>
                                      </p:tavLst>
                                    </p:anim>
                                    <p:animEffect transition="in" filter="wipe(up)">
                                      <p:cBhvr>
                                        <p:cTn id="2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4" grpId="0"/>
      <p:bldP spid="45" grpId="0"/>
      <p:bldP spid="45" grpId="1"/>
      <p:bldP spid="46" grpId="0"/>
      <p:bldP spid="46" grpId="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93634"/>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5" name="TextBox 18"/>
          <p:cNvSpPr>
            <a:spLocks noChangeArrowheads="1"/>
          </p:cNvSpPr>
          <p:nvPr/>
        </p:nvSpPr>
        <p:spPr bwMode="auto">
          <a:xfrm>
            <a:off x="2070250" y="1669921"/>
            <a:ext cx="7321399" cy="282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住宿费：不超过四星级标准间</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自行用餐费：３００元</a:t>
            </a:r>
            <a:r>
              <a:rPr lang="zh-CN" altLang="en-US" sz="1050" b="1" dirty="0">
                <a:ln w="3175">
                  <a:solidFill>
                    <a:schemeClr val="tx1"/>
                  </a:solidFill>
                </a:ln>
                <a:latin typeface="宋体"/>
                <a:ea typeface="宋体"/>
              </a:rPr>
              <a:t>／天（所食堂或住宿酒店</a:t>
            </a:r>
            <a:r>
              <a:rPr lang="zh-CN" altLang="en-US" sz="1050" b="1" dirty="0" smtClean="0">
                <a:ln w="3175">
                  <a:solidFill>
                    <a:schemeClr val="tx1"/>
                  </a:solidFill>
                </a:ln>
                <a:latin typeface="宋体"/>
                <a:ea typeface="宋体"/>
              </a:rPr>
              <a:t>）</a:t>
            </a:r>
            <a:endParaRPr lang="en-US" altLang="zh-CN" sz="1050" b="1" dirty="0" smtClean="0">
              <a:ln w="3175">
                <a:solidFill>
                  <a:schemeClr val="tx1"/>
                </a:solidFill>
              </a:ln>
              <a:latin typeface="宋体"/>
              <a:ea typeface="宋体"/>
            </a:endParaRPr>
          </a:p>
          <a:p>
            <a:pPr>
              <a:lnSpc>
                <a:spcPct val="120000"/>
              </a:lnSpc>
            </a:pPr>
            <a:r>
              <a:rPr lang="zh-CN" altLang="en-US" sz="1400" b="1" dirty="0" smtClean="0">
                <a:solidFill>
                  <a:srgbClr val="FF0000"/>
                </a:solidFill>
                <a:latin typeface="方正粗雅宋_GBK" pitchFamily="2" charset="-122"/>
                <a:ea typeface="方正粗雅宋_GBK" pitchFamily="2" charset="-122"/>
              </a:rPr>
              <a:t> </a:t>
            </a:r>
            <a:r>
              <a:rPr lang="zh-CN" altLang="en-US" sz="1400" b="1" dirty="0">
                <a:solidFill>
                  <a:srgbClr val="FF0000"/>
                </a:solidFill>
                <a:latin typeface="方正粗雅宋_GBK" pitchFamily="2" charset="-122"/>
                <a:ea typeface="方正粗雅宋_GBK" pitchFamily="2" charset="-122"/>
              </a:rPr>
              <a:t>宴请要求：</a:t>
            </a:r>
            <a:r>
              <a:rPr lang="zh-CN" altLang="zh-CN" sz="1400" b="1" dirty="0">
                <a:ln w="3175">
                  <a:solidFill>
                    <a:schemeClr val="tx1"/>
                  </a:solidFill>
                </a:ln>
                <a:solidFill>
                  <a:srgbClr val="FF0000"/>
                </a:solidFill>
                <a:latin typeface="方正风雅宋简体" pitchFamily="2" charset="-122"/>
                <a:ea typeface="方正风雅宋简体" pitchFamily="2" charset="-122"/>
              </a:rPr>
              <a:t>严禁讲排场，不上高档菜肴和</a:t>
            </a:r>
            <a:r>
              <a:rPr lang="zh-CN" altLang="zh-CN" sz="1400" b="1" dirty="0" smtClean="0">
                <a:ln w="3175">
                  <a:solidFill>
                    <a:schemeClr val="tx1"/>
                  </a:solidFill>
                </a:ln>
                <a:solidFill>
                  <a:srgbClr val="FF0000"/>
                </a:solidFill>
                <a:latin typeface="方正风雅宋简体" pitchFamily="2" charset="-122"/>
                <a:ea typeface="方正风雅宋简体" pitchFamily="2" charset="-122"/>
              </a:rPr>
              <a:t>酒水</a:t>
            </a:r>
            <a:endParaRPr lang="en-US" altLang="zh-CN" sz="1400" b="1" dirty="0" smtClean="0">
              <a:ln w="3175">
                <a:solidFill>
                  <a:schemeClr val="tx1"/>
                </a:solidFill>
              </a:ln>
              <a:solidFill>
                <a:srgbClr val="FF0000"/>
              </a:solidFill>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陪同人数：中外人数原则上１</a:t>
            </a:r>
            <a:r>
              <a:rPr lang="en-US" altLang="zh-CN" sz="1050" b="1" dirty="0">
                <a:ln w="3175">
                  <a:solidFill>
                    <a:schemeClr val="tx1"/>
                  </a:solidFill>
                </a:ln>
                <a:latin typeface="方正风雅宋简体" pitchFamily="2" charset="-122"/>
                <a:ea typeface="方正风雅宋简体" pitchFamily="2" charset="-122"/>
              </a:rPr>
              <a:t>:</a:t>
            </a:r>
            <a:r>
              <a:rPr lang="zh-CN" altLang="en-US" sz="1050" b="1" dirty="0">
                <a:ln w="3175">
                  <a:solidFill>
                    <a:schemeClr val="tx1"/>
                  </a:solidFill>
                </a:ln>
                <a:latin typeface="方正风雅宋简体" pitchFamily="2" charset="-122"/>
                <a:ea typeface="方正风雅宋简体" pitchFamily="2" charset="-122"/>
              </a:rPr>
              <a:t>１，外宾超过５人的，在１</a:t>
            </a:r>
            <a:r>
              <a:rPr lang="en-US" altLang="zh-CN" sz="1050" b="1" dirty="0">
                <a:ln w="3175">
                  <a:solidFill>
                    <a:schemeClr val="tx1"/>
                  </a:solidFill>
                </a:ln>
                <a:latin typeface="方正风雅宋简体" pitchFamily="2" charset="-122"/>
                <a:ea typeface="方正风雅宋简体" pitchFamily="2" charset="-122"/>
              </a:rPr>
              <a:t>:</a:t>
            </a:r>
            <a:r>
              <a:rPr lang="zh-CN" altLang="en-US" sz="1050" b="1" dirty="0">
                <a:ln w="3175">
                  <a:solidFill>
                    <a:schemeClr val="tx1"/>
                  </a:solidFill>
                </a:ln>
                <a:latin typeface="方正风雅宋简体" pitchFamily="2" charset="-122"/>
                <a:ea typeface="方正风雅宋简体" pitchFamily="2" charset="-122"/>
              </a:rPr>
              <a:t>２以内安排</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宴请费（含酒水、饮料）标准：每人每次不高于</a:t>
            </a:r>
            <a:r>
              <a:rPr lang="en-US" altLang="zh-CN" sz="1050" b="1" dirty="0">
                <a:ln w="3175">
                  <a:solidFill>
                    <a:schemeClr val="tx1"/>
                  </a:solidFill>
                </a:ln>
                <a:latin typeface="方正风雅宋简体" pitchFamily="2" charset="-122"/>
                <a:ea typeface="方正风雅宋简体" pitchFamily="2" charset="-122"/>
              </a:rPr>
              <a:t>300</a:t>
            </a:r>
            <a:r>
              <a:rPr lang="zh-CN" altLang="zh-CN" sz="1050" b="1" dirty="0">
                <a:ln w="3175">
                  <a:solidFill>
                    <a:schemeClr val="tx1"/>
                  </a:solidFill>
                </a:ln>
                <a:latin typeface="方正风雅宋简体" pitchFamily="2" charset="-122"/>
                <a:ea typeface="方正风雅宋简体" pitchFamily="2" charset="-122"/>
              </a:rPr>
              <a:t>元。冷餐、酒会、茶会分别为每人每次</a:t>
            </a:r>
            <a:r>
              <a:rPr lang="en-US" altLang="zh-CN" sz="1050" b="1" dirty="0">
                <a:ln w="3175">
                  <a:solidFill>
                    <a:schemeClr val="tx1"/>
                  </a:solidFill>
                </a:ln>
                <a:latin typeface="方正风雅宋简体" pitchFamily="2" charset="-122"/>
                <a:ea typeface="方正风雅宋简体" pitchFamily="2" charset="-122"/>
              </a:rPr>
              <a:t>150</a:t>
            </a:r>
            <a:r>
              <a:rPr lang="zh-CN" altLang="zh-CN" sz="1050" b="1" dirty="0">
                <a:ln w="3175">
                  <a:solidFill>
                    <a:schemeClr val="tx1"/>
                  </a:solidFill>
                </a:ln>
                <a:latin typeface="方正风雅宋简体" pitchFamily="2" charset="-122"/>
                <a:ea typeface="方正风雅宋简体" pitchFamily="2" charset="-122"/>
              </a:rPr>
              <a:t>元、</a:t>
            </a:r>
            <a:r>
              <a:rPr lang="en-US" altLang="zh-CN" sz="1050" b="1" dirty="0">
                <a:ln w="3175">
                  <a:solidFill>
                    <a:schemeClr val="tx1"/>
                  </a:solidFill>
                </a:ln>
                <a:latin typeface="方正风雅宋简体" pitchFamily="2" charset="-122"/>
                <a:ea typeface="方正风雅宋简体" pitchFamily="2" charset="-122"/>
              </a:rPr>
              <a:t>100</a:t>
            </a:r>
            <a:r>
              <a:rPr lang="zh-CN" altLang="zh-CN" sz="1050" b="1" dirty="0">
                <a:ln w="3175">
                  <a:solidFill>
                    <a:schemeClr val="tx1"/>
                  </a:solidFill>
                </a:ln>
                <a:latin typeface="方正风雅宋简体" pitchFamily="2" charset="-122"/>
                <a:ea typeface="方正风雅宋简体" pitchFamily="2" charset="-122"/>
              </a:rPr>
              <a:t>元、</a:t>
            </a:r>
            <a:r>
              <a:rPr lang="en-US" altLang="zh-CN" sz="1050" b="1" dirty="0">
                <a:ln w="3175">
                  <a:solidFill>
                    <a:schemeClr val="tx1"/>
                  </a:solidFill>
                </a:ln>
                <a:latin typeface="方正风雅宋简体" pitchFamily="2" charset="-122"/>
                <a:ea typeface="方正风雅宋简体" pitchFamily="2" charset="-122"/>
              </a:rPr>
              <a:t>60</a:t>
            </a:r>
            <a:r>
              <a:rPr lang="zh-CN" altLang="zh-CN" sz="1050" b="1" dirty="0">
                <a:ln w="3175">
                  <a:solidFill>
                    <a:schemeClr val="tx1"/>
                  </a:solidFill>
                </a:ln>
                <a:latin typeface="方正风雅宋简体" pitchFamily="2" charset="-122"/>
                <a:ea typeface="方正风雅宋简体" pitchFamily="2" charset="-122"/>
              </a:rPr>
              <a:t>元</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宴请不得超过</a:t>
            </a:r>
            <a:r>
              <a:rPr lang="en-US" altLang="zh-CN" sz="1050" b="1" dirty="0">
                <a:ln w="3175">
                  <a:solidFill>
                    <a:schemeClr val="tx1"/>
                  </a:solidFill>
                </a:ln>
                <a:latin typeface="方正风雅宋简体" pitchFamily="2" charset="-122"/>
                <a:ea typeface="方正风雅宋简体" pitchFamily="2" charset="-122"/>
              </a:rPr>
              <a:t>2</a:t>
            </a:r>
            <a:r>
              <a:rPr lang="zh-CN" altLang="zh-CN" sz="1050" b="1" dirty="0">
                <a:ln w="3175">
                  <a:solidFill>
                    <a:schemeClr val="tx1"/>
                  </a:solidFill>
                </a:ln>
                <a:latin typeface="方正风雅宋简体" pitchFamily="2" charset="-122"/>
                <a:ea typeface="方正风雅宋简体" pitchFamily="2" charset="-122"/>
              </a:rPr>
              <a:t>次</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pPr>
            <a:endParaRPr lang="zh-CN" altLang="en-US" sz="1400" b="1" dirty="0">
              <a:ln w="3175">
                <a:solidFill>
                  <a:schemeClr val="tx1"/>
                </a:solidFill>
              </a:ln>
              <a:solidFill>
                <a:srgbClr val="FF0000"/>
              </a:solidFill>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矩形 13"/>
          <p:cNvSpPr/>
          <p:nvPr/>
        </p:nvSpPr>
        <p:spPr>
          <a:xfrm>
            <a:off x="34739" y="17143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6" name="矩形 15"/>
          <p:cNvSpPr/>
          <p:nvPr/>
        </p:nvSpPr>
        <p:spPr>
          <a:xfrm>
            <a:off x="717392" y="17255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7" name="矩形 16"/>
          <p:cNvSpPr/>
          <p:nvPr/>
        </p:nvSpPr>
        <p:spPr>
          <a:xfrm>
            <a:off x="1440676" y="172552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41833" y="2375857"/>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744699" y="24418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1442494" y="23772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4" name="矩形 23"/>
          <p:cNvSpPr/>
          <p:nvPr/>
        </p:nvSpPr>
        <p:spPr>
          <a:xfrm>
            <a:off x="63314" y="30960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22299" y="3081461"/>
            <a:ext cx="693567" cy="617831"/>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26" name="图片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7282" y="3056332"/>
            <a:ext cx="678584" cy="661924"/>
          </a:xfrm>
          <a:prstGeom prst="rect">
            <a:avLst/>
          </a:prstGeom>
        </p:spPr>
      </p:pic>
      <p:pic>
        <p:nvPicPr>
          <p:cNvPr id="32" name="图片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38280" y="1723763"/>
            <a:ext cx="668061" cy="643870"/>
          </a:xfrm>
          <a:prstGeom prst="rect">
            <a:avLst/>
          </a:prstGeom>
        </p:spPr>
      </p:pic>
      <p:pic>
        <p:nvPicPr>
          <p:cNvPr id="33" name="图片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8888" y="2373625"/>
            <a:ext cx="698394" cy="673267"/>
          </a:xfrm>
          <a:prstGeom prst="rect">
            <a:avLst/>
          </a:prstGeom>
        </p:spPr>
      </p:pic>
      <p:pic>
        <p:nvPicPr>
          <p:cNvPr id="34" name="图片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0679" y="3048469"/>
            <a:ext cx="671145" cy="661924"/>
          </a:xfrm>
          <a:prstGeom prst="rect">
            <a:avLst/>
          </a:prstGeom>
        </p:spPr>
      </p:pic>
      <p:pic>
        <p:nvPicPr>
          <p:cNvPr id="35" name="图片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87" y="3046722"/>
            <a:ext cx="671231" cy="681144"/>
          </a:xfrm>
          <a:prstGeom prst="rect">
            <a:avLst/>
          </a:prstGeom>
        </p:spPr>
      </p:pic>
      <p:pic>
        <p:nvPicPr>
          <p:cNvPr id="36" name="图片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785" y="1698268"/>
            <a:ext cx="656033" cy="673932"/>
          </a:xfrm>
          <a:prstGeom prst="rect">
            <a:avLst/>
          </a:prstGeom>
        </p:spPr>
      </p:pic>
      <p:sp>
        <p:nvSpPr>
          <p:cNvPr id="37" name="矩形 36"/>
          <p:cNvSpPr/>
          <p:nvPr/>
        </p:nvSpPr>
        <p:spPr>
          <a:xfrm>
            <a:off x="55807" y="197902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38" name="矩形 37"/>
          <p:cNvSpPr/>
          <p:nvPr/>
        </p:nvSpPr>
        <p:spPr>
          <a:xfrm>
            <a:off x="223429" y="176293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39" name="矩形 38"/>
          <p:cNvSpPr/>
          <p:nvPr/>
        </p:nvSpPr>
        <p:spPr>
          <a:xfrm>
            <a:off x="1653716" y="1781200"/>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0" name="矩形 39"/>
          <p:cNvSpPr/>
          <p:nvPr/>
        </p:nvSpPr>
        <p:spPr>
          <a:xfrm>
            <a:off x="55807" y="33194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1" name="矩形 40"/>
          <p:cNvSpPr/>
          <p:nvPr/>
        </p:nvSpPr>
        <p:spPr>
          <a:xfrm>
            <a:off x="250855" y="31027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2" name="矩形 41"/>
          <p:cNvSpPr/>
          <p:nvPr/>
        </p:nvSpPr>
        <p:spPr>
          <a:xfrm>
            <a:off x="722064" y="26462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3" name="矩形 42"/>
          <p:cNvSpPr/>
          <p:nvPr/>
        </p:nvSpPr>
        <p:spPr>
          <a:xfrm>
            <a:off x="921946" y="24231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4" name="矩形 43"/>
          <p:cNvSpPr/>
          <p:nvPr/>
        </p:nvSpPr>
        <p:spPr>
          <a:xfrm>
            <a:off x="758954" y="33280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5" name="矩形 44"/>
          <p:cNvSpPr/>
          <p:nvPr/>
        </p:nvSpPr>
        <p:spPr>
          <a:xfrm>
            <a:off x="934137" y="31126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46" name="矩形 45"/>
          <p:cNvSpPr/>
          <p:nvPr/>
        </p:nvSpPr>
        <p:spPr>
          <a:xfrm>
            <a:off x="1250850" y="3355058"/>
            <a:ext cx="1035150" cy="338554"/>
          </a:xfrm>
          <a:prstGeom prst="rect">
            <a:avLst/>
          </a:prstGeom>
        </p:spPr>
        <p:txBody>
          <a:bodyPr wrap="square">
            <a:spAutoFit/>
          </a:bodyPr>
          <a:lstStyle/>
          <a:p>
            <a:r>
              <a:rPr lang="zh-CN" altLang="en-US" sz="1600" b="1" dirty="0" smtClean="0"/>
              <a:t>接待标准</a:t>
            </a:r>
            <a:endParaRPr lang="zh-CN" altLang="en-US" sz="1600" b="1" dirty="0"/>
          </a:p>
        </p:txBody>
      </p:sp>
      <p:sp>
        <p:nvSpPr>
          <p:cNvPr id="50" name="矩形 49"/>
          <p:cNvSpPr/>
          <p:nvPr/>
        </p:nvSpPr>
        <p:spPr>
          <a:xfrm>
            <a:off x="1575706" y="3093448"/>
            <a:ext cx="429963" cy="338554"/>
          </a:xfrm>
          <a:prstGeom prst="rect">
            <a:avLst/>
          </a:prstGeom>
        </p:spPr>
        <p:txBody>
          <a:bodyPr wrap="square">
            <a:spAutoFit/>
          </a:bodyPr>
          <a:lstStyle/>
          <a:p>
            <a:r>
              <a:rPr lang="en-US" altLang="zh-CN" sz="1600" b="1" dirty="0" smtClean="0"/>
              <a:t>06</a:t>
            </a:r>
            <a:endParaRPr lang="zh-CN" altLang="en-US" sz="1600" b="1" dirty="0"/>
          </a:p>
        </p:txBody>
      </p:sp>
      <p:sp>
        <p:nvSpPr>
          <p:cNvPr id="51"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外事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17633302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145 -0.05 C -0.01007 -0.07994 -0.00955 -0.14506 -0.00312 -0.17377 C -0.00191 -0.19167 -0.00156 -0.22161 0.00313 -0.23858 C 0.00434 -0.25401 0.00573 -0.27315 0.01042 -0.28673 C 0.01233 -0.29228 0.01511 -0.29568 0.01667 -0.30154 C 0.01806 -0.30679 0.0191 -0.31358 0.02084 -0.31821 C 0.02448 -0.32778 0.02535 -0.32006 0.02813 -0.33488 C 0.03039 -0.34661 0.03768 -0.35062 0.04063 -0.3608 C 0.04323 -0.37006 0.0415 -0.36667 0.04584 -0.37191 C 0.04861 -0.37932 0.05139 -0.37901 0.05521 -0.38488 C 0.06042 -0.39259 0.06528 -0.39846 0.07188 -0.40154 C 0.07622 -0.40679 0.08125 -0.41049 0.08646 -0.41266 C 0.09792 -0.41204 0.11545 -0.41852 0.125 -0.40154 " pathEditMode="relative" rAng="0" ptsTypes="ffffffffffffA">
                                      <p:cBhvr>
                                        <p:cTn id="11" dur="2000" fill="hold"/>
                                        <p:tgtEl>
                                          <p:spTgt spid="50"/>
                                        </p:tgtEl>
                                        <p:attrNameLst>
                                          <p:attrName>ppt_x</p:attrName>
                                          <p:attrName>ppt_y</p:attrName>
                                        </p:attrNameLst>
                                      </p:cBhvr>
                                      <p:rCtr x="6823" y="-18426"/>
                                    </p:animMotion>
                                  </p:childTnLst>
                                </p:cTn>
                              </p:par>
                              <p:par>
                                <p:cTn id="12" presetID="0" presetClass="path" presetSubtype="0" accel="50000" decel="50000" fill="hold" grpId="0" nodeType="withEffect">
                                  <p:stCondLst>
                                    <p:cond delay="0"/>
                                  </p:stCondLst>
                                  <p:childTnLst>
                                    <p:animMotion origin="layout" path="M -0.01146 -0.05 C -0.01007 -0.07994 -0.00955 -0.14507 -0.00312 -0.17377 C -0.00191 -0.19167 -0.00156 -0.22161 0.00313 -0.23859 C 0.00434 -0.25402 0.00573 -0.27315 0.01042 -0.28673 C 0.01233 -0.29229 0.01511 -0.29568 0.01667 -0.30155 C 0.01806 -0.30679 0.0191 -0.31359 0.02084 -0.31821 C 0.02448 -0.32778 0.02535 -0.32007 0.02813 -0.33488 C 0.03038 -0.34661 0.03768 -0.35062 0.04063 -0.36081 C 0.04323 -0.37007 0.0415 -0.36667 0.04584 -0.37192 C 0.04861 -0.37933 0.05139 -0.37902 0.05521 -0.38488 C 0.06042 -0.3926 0.06528 -0.39846 0.07188 -0.40155 C 0.07622 -0.40679 0.08125 -0.4105 0.08646 -0.41266 C 0.09792 -0.41204 0.11545 -0.41852 0.125 -0.40155 " pathEditMode="relative" rAng="0" ptsTypes="ffffffffffffA">
                                      <p:cBhvr>
                                        <p:cTn id="13" dur="2000" fill="hold"/>
                                        <p:tgtEl>
                                          <p:spTgt spid="46"/>
                                        </p:tgtEl>
                                        <p:attrNameLst>
                                          <p:attrName>ppt_x</p:attrName>
                                          <p:attrName>ppt_y</p:attrName>
                                        </p:attrNameLst>
                                      </p:cBhvr>
                                      <p:rCtr x="6823" y="-18426"/>
                                    </p:animMotion>
                                  </p:childTnLst>
                                </p:cTn>
                              </p:par>
                              <p:par>
                                <p:cTn id="14" presetID="0" presetClass="path" presetSubtype="0" accel="50000" decel="50000" fill="hold" nodeType="withEffect">
                                  <p:stCondLst>
                                    <p:cond delay="0"/>
                                  </p:stCondLst>
                                  <p:childTnLst>
                                    <p:animMotion origin="layout" path="M -0.01146 -0.05 C -0.01007 -0.07994 -0.00955 -0.14506 -0.00313 -0.17376 C -0.00191 -0.19167 -0.00156 -0.2216 0.00312 -0.23858 C 0.00434 -0.25401 0.00573 -0.27315 0.01042 -0.28673 C 0.01232 -0.29228 0.0151 -0.29568 0.01667 -0.30154 C 0.01805 -0.30679 0.0191 -0.31358 0.02083 -0.31821 C 0.02448 -0.32778 0.02535 -0.32006 0.02812 -0.33488 C 0.03038 -0.3466 0.03767 -0.35062 0.04062 -0.3608 C 0.04323 -0.37006 0.04149 -0.36667 0.04583 -0.37191 C 0.04861 -0.37932 0.05139 -0.37901 0.05521 -0.38488 C 0.06042 -0.39259 0.06528 -0.39846 0.07187 -0.40154 C 0.07621 -0.40679 0.08125 -0.41049 0.08646 -0.41265 C 0.09792 -0.41204 0.11545 -0.41852 0.125 -0.40154 " pathEditMode="relative" rAng="0" ptsTypes="ffffffffffffA">
                                      <p:cBhvr>
                                        <p:cTn id="15" dur="2000" fill="hold"/>
                                        <p:tgtEl>
                                          <p:spTgt spid="26"/>
                                        </p:tgtEl>
                                        <p:attrNameLst>
                                          <p:attrName>ppt_x</p:attrName>
                                          <p:attrName>ppt_y</p:attrName>
                                        </p:attrNameLst>
                                      </p:cBhvr>
                                      <p:rCtr x="6823" y="-18426"/>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50"/>
                                        </p:tgtEl>
                                      </p:cBhvr>
                                      <p:by x="150000" y="150000"/>
                                    </p:animScale>
                                  </p:childTnLst>
                                </p:cTn>
                              </p:par>
                              <p:par>
                                <p:cTn id="19" presetID="6" presetClass="emph" presetSubtype="0" fill="hold" grpId="1" nodeType="withEffect">
                                  <p:stCondLst>
                                    <p:cond delay="0"/>
                                  </p:stCondLst>
                                  <p:childTnLst>
                                    <p:animScale>
                                      <p:cBhvr>
                                        <p:cTn id="20" dur="2000" fill="hold"/>
                                        <p:tgtEl>
                                          <p:spTgt spid="46"/>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 calcmode="lin" valueType="num">
                                      <p:cBhvr additive="base">
                                        <p:cTn id="24" dur="500"/>
                                        <p:tgtEl>
                                          <p:spTgt spid="15"/>
                                        </p:tgtEl>
                                        <p:attrNameLst>
                                          <p:attrName>ppt_y</p:attrName>
                                        </p:attrNameLst>
                                      </p:cBhvr>
                                      <p:tavLst>
                                        <p:tav tm="0">
                                          <p:val>
                                            <p:strVal val="#ppt_y+#ppt_h*1.125000"/>
                                          </p:val>
                                        </p:tav>
                                        <p:tav tm="100000">
                                          <p:val>
                                            <p:strVal val="#ppt_y"/>
                                          </p:val>
                                        </p:tav>
                                      </p:tavLst>
                                    </p:anim>
                                    <p:animEffect transition="in" filter="wipe(up)">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5" grpId="0"/>
      <p:bldP spid="46" grpId="0"/>
      <p:bldP spid="46" grpId="1"/>
      <p:bldP spid="50" grpId="0"/>
      <p:bldP spid="50"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069200"/>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46009"/>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4" name="TextBox 18"/>
          <p:cNvSpPr>
            <a:spLocks noChangeArrowheads="1"/>
          </p:cNvSpPr>
          <p:nvPr/>
        </p:nvSpPr>
        <p:spPr bwMode="auto">
          <a:xfrm>
            <a:off x="2155981" y="1838004"/>
            <a:ext cx="4216247" cy="228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财务票据（网上报销填制的招待费报销单、发票等有效凭证）</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公函（邀请函复印件）</a:t>
            </a:r>
            <a:r>
              <a:rPr lang="zh-CN" altLang="en-US" sz="1050" b="1" dirty="0">
                <a:ln w="3175">
                  <a:solidFill>
                    <a:schemeClr val="tx1"/>
                  </a:solidFill>
                </a:ln>
                <a:latin typeface="方正风雅宋简体" pitchFamily="2" charset="-122"/>
                <a:ea typeface="方正风雅宋简体" pitchFamily="2" charset="-122"/>
              </a:rPr>
              <a:t>：没有一律不予接待</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接待清单</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发生住宿费的还需提供结算清单</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发生宴请费的还需提供点菜清单</a:t>
            </a: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5"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国内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 name="矩形 15"/>
          <p:cNvSpPr/>
          <p:nvPr/>
        </p:nvSpPr>
        <p:spPr>
          <a:xfrm>
            <a:off x="82364" y="17905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7" name="矩形 16"/>
          <p:cNvSpPr/>
          <p:nvPr/>
        </p:nvSpPr>
        <p:spPr>
          <a:xfrm>
            <a:off x="765017" y="18017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1507351" y="1876252"/>
            <a:ext cx="661924" cy="55814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89458" y="2452057"/>
            <a:ext cx="675559" cy="614630"/>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792324" y="25180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1490119" y="24534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5" name="矩形 24"/>
          <p:cNvSpPr/>
          <p:nvPr/>
        </p:nvSpPr>
        <p:spPr>
          <a:xfrm>
            <a:off x="110939" y="31722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6" name="矩形 25"/>
          <p:cNvSpPr/>
          <p:nvPr/>
        </p:nvSpPr>
        <p:spPr>
          <a:xfrm>
            <a:off x="1460400" y="321734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2" name="图片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79450" y="3123093"/>
            <a:ext cx="661923" cy="661924"/>
          </a:xfrm>
          <a:prstGeom prst="rect">
            <a:avLst/>
          </a:prstGeom>
        </p:spPr>
      </p:pic>
      <p:pic>
        <p:nvPicPr>
          <p:cNvPr id="33" name="图片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03957" y="1790527"/>
            <a:ext cx="668061" cy="643870"/>
          </a:xfrm>
          <a:prstGeom prst="rect">
            <a:avLst/>
          </a:prstGeom>
        </p:spPr>
      </p:pic>
      <p:pic>
        <p:nvPicPr>
          <p:cNvPr id="34" name="图片 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6513" y="2449825"/>
            <a:ext cx="698394" cy="673267"/>
          </a:xfrm>
          <a:prstGeom prst="rect">
            <a:avLst/>
          </a:prstGeom>
        </p:spPr>
      </p:pic>
      <p:pic>
        <p:nvPicPr>
          <p:cNvPr id="35" name="图片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8304" y="3124669"/>
            <a:ext cx="671145" cy="661924"/>
          </a:xfrm>
          <a:prstGeom prst="rect">
            <a:avLst/>
          </a:prstGeom>
        </p:spPr>
      </p:pic>
      <p:pic>
        <p:nvPicPr>
          <p:cNvPr id="36" name="图片 3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935" y="3087479"/>
            <a:ext cx="710210" cy="716587"/>
          </a:xfrm>
          <a:prstGeom prst="rect">
            <a:avLst/>
          </a:prstGeom>
        </p:spPr>
      </p:pic>
      <p:pic>
        <p:nvPicPr>
          <p:cNvPr id="37" name="图片 3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935" y="1774468"/>
            <a:ext cx="656033" cy="673932"/>
          </a:xfrm>
          <a:prstGeom prst="rect">
            <a:avLst/>
          </a:prstGeom>
        </p:spPr>
      </p:pic>
      <p:sp>
        <p:nvSpPr>
          <p:cNvPr id="38" name="矩形 37"/>
          <p:cNvSpPr/>
          <p:nvPr/>
        </p:nvSpPr>
        <p:spPr>
          <a:xfrm>
            <a:off x="-96594" y="2055223"/>
            <a:ext cx="1138241" cy="338554"/>
          </a:xfrm>
          <a:prstGeom prst="rect">
            <a:avLst/>
          </a:prstGeom>
        </p:spPr>
        <p:txBody>
          <a:bodyPr wrap="square">
            <a:spAutoFit/>
          </a:bodyPr>
          <a:lstStyle/>
          <a:p>
            <a:r>
              <a:rPr lang="zh-CN" altLang="en-US" sz="1600" b="1" dirty="0"/>
              <a:t>报销凭证</a:t>
            </a:r>
          </a:p>
        </p:txBody>
      </p:sp>
      <p:sp>
        <p:nvSpPr>
          <p:cNvPr id="39" name="矩形 38"/>
          <p:cNvSpPr/>
          <p:nvPr/>
        </p:nvSpPr>
        <p:spPr>
          <a:xfrm>
            <a:off x="213903" y="1810564"/>
            <a:ext cx="585377" cy="338554"/>
          </a:xfrm>
          <a:prstGeom prst="rect">
            <a:avLst/>
          </a:prstGeom>
        </p:spPr>
        <p:txBody>
          <a:bodyPr wrap="square">
            <a:spAutoFit/>
          </a:bodyPr>
          <a:lstStyle/>
          <a:p>
            <a:r>
              <a:rPr lang="en-US" altLang="zh-CN" sz="1600" b="1" dirty="0" smtClean="0"/>
              <a:t>01</a:t>
            </a:r>
            <a:endParaRPr lang="zh-CN" altLang="en-US" sz="1600" b="1" dirty="0"/>
          </a:p>
        </p:txBody>
      </p:sp>
      <p:sp>
        <p:nvSpPr>
          <p:cNvPr id="40" name="矩形 39"/>
          <p:cNvSpPr/>
          <p:nvPr/>
        </p:nvSpPr>
        <p:spPr>
          <a:xfrm>
            <a:off x="1484557" y="2083798"/>
            <a:ext cx="682396"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1" name="矩形 40"/>
          <p:cNvSpPr/>
          <p:nvPr/>
        </p:nvSpPr>
        <p:spPr>
          <a:xfrm>
            <a:off x="1651264" y="1887446"/>
            <a:ext cx="385333"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2" name="矩形 41"/>
          <p:cNvSpPr/>
          <p:nvPr/>
        </p:nvSpPr>
        <p:spPr>
          <a:xfrm>
            <a:off x="103432" y="33956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3" name="矩形 42"/>
          <p:cNvSpPr/>
          <p:nvPr/>
        </p:nvSpPr>
        <p:spPr>
          <a:xfrm>
            <a:off x="298480" y="31789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4" name="矩形 43"/>
          <p:cNvSpPr/>
          <p:nvPr/>
        </p:nvSpPr>
        <p:spPr>
          <a:xfrm>
            <a:off x="769689" y="27224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5" name="矩形 44"/>
          <p:cNvSpPr/>
          <p:nvPr/>
        </p:nvSpPr>
        <p:spPr>
          <a:xfrm>
            <a:off x="969571" y="24993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6" name="矩形 45"/>
          <p:cNvSpPr/>
          <p:nvPr/>
        </p:nvSpPr>
        <p:spPr>
          <a:xfrm>
            <a:off x="806579" y="34042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50" name="矩形 49"/>
          <p:cNvSpPr/>
          <p:nvPr/>
        </p:nvSpPr>
        <p:spPr>
          <a:xfrm>
            <a:off x="981762" y="31888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1" name="矩形 50"/>
          <p:cNvSpPr/>
          <p:nvPr/>
        </p:nvSpPr>
        <p:spPr>
          <a:xfrm>
            <a:off x="1460400" y="342173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2" name="矩形 51"/>
          <p:cNvSpPr/>
          <p:nvPr/>
        </p:nvSpPr>
        <p:spPr>
          <a:xfrm>
            <a:off x="1623331" y="319822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96348237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0" presetClass="path" presetSubtype="0" accel="50000" decel="50000" fill="hold" grpId="0" nodeType="withEffect">
                                  <p:stCondLst>
                                    <p:cond delay="0"/>
                                  </p:stCondLst>
                                  <p:childTnLst>
                                    <p:animMotion origin="layout" path="M -0.02604 -0.09815 C -0.02222 -0.10247 -0.01788 -0.10679 -0.01354 -0.10926 C -0.00521 -0.12099 0.0099 -0.13797 0.01979 -0.14445 C 0.0224 -0.1463 0.02535 -0.1463 0.02813 -0.14815 C 0.0375 -0.15402 0.04566 -0.16482 0.05521 -0.17037 C 0.07379 -0.18148 0.09219 -0.19321 0.11146 -0.2 C 0.12743 -0.2142 0.14705 -0.2179 0.16459 -0.22037 C 0.18854 -0.21976 0.2125 -0.21976 0.23646 -0.21852 C 0.24323 -0.21821 0.2559 -0.19661 0.2625 -0.1926 C 0.26441 -0.1892 0.26684 -0.18673 0.26875 -0.18334 C 0.27188 -0.17778 0.2724 -0.17315 0.27709 -0.17037 C 0.27847 -0.1679 0.27986 -0.16544 0.28125 -0.16297 " pathEditMode="relative" rAng="0" ptsTypes="fffffffffffA">
                                      <p:cBhvr>
                                        <p:cTn id="10" dur="2000" fill="hold"/>
                                        <p:tgtEl>
                                          <p:spTgt spid="39"/>
                                        </p:tgtEl>
                                        <p:attrNameLst>
                                          <p:attrName>ppt_x</p:attrName>
                                          <p:attrName>ppt_y</p:attrName>
                                        </p:attrNameLst>
                                      </p:cBhvr>
                                      <p:rCtr x="15365" y="-6111"/>
                                    </p:animMotion>
                                  </p:childTnLst>
                                </p:cTn>
                              </p:par>
                              <p:par>
                                <p:cTn id="11" presetID="0" presetClass="path" presetSubtype="0" accel="50000" decel="50000" fill="hold" grpId="0" nodeType="withEffect">
                                  <p:stCondLst>
                                    <p:cond delay="0"/>
                                  </p:stCondLst>
                                  <p:childTnLst>
                                    <p:animMotion origin="layout" path="M -0.02604 -0.09815 C -0.02222 -0.10247 -0.01788 -0.10679 -0.01354 -0.10926 C -0.00521 -0.12099 0.0099 -0.13797 0.01979 -0.14445 C 0.0224 -0.1463 0.02535 -0.1463 0.02813 -0.14815 C 0.0375 -0.15401 0.04566 -0.16482 0.05521 -0.17037 C 0.07379 -0.18148 0.09219 -0.19321 0.11146 -0.2 C 0.12743 -0.2142 0.14705 -0.2179 0.16459 -0.22037 C 0.18854 -0.21976 0.2125 -0.21976 0.23646 -0.21852 C 0.24323 -0.21821 0.25591 -0.19661 0.2625 -0.1926 C 0.26441 -0.1892 0.26684 -0.18673 0.26875 -0.18334 C 0.27188 -0.17778 0.2724 -0.17315 0.27709 -0.17037 C 0.27847 -0.1679 0.27986 -0.16543 0.28125 -0.16297 " pathEditMode="relative" rAng="0" ptsTypes="fffffffffffA">
                                      <p:cBhvr>
                                        <p:cTn id="12" dur="2000" fill="hold"/>
                                        <p:tgtEl>
                                          <p:spTgt spid="38"/>
                                        </p:tgtEl>
                                        <p:attrNameLst>
                                          <p:attrName>ppt_x</p:attrName>
                                          <p:attrName>ppt_y</p:attrName>
                                        </p:attrNameLst>
                                      </p:cBhvr>
                                      <p:rCtr x="15365" y="-6111"/>
                                    </p:animMotion>
                                  </p:childTnLst>
                                </p:cTn>
                              </p:par>
                              <p:par>
                                <p:cTn id="13" presetID="0" presetClass="path" presetSubtype="0" accel="50000" decel="50000" fill="hold" nodeType="withEffect">
                                  <p:stCondLst>
                                    <p:cond delay="0"/>
                                  </p:stCondLst>
                                  <p:childTnLst>
                                    <p:animMotion origin="layout" path="M -0.02604 -0.09814 C -0.02222 -0.10247 -0.01788 -0.10679 -0.01354 -0.10926 C -0.00521 -0.12098 0.0099 -0.13796 0.01979 -0.14444 C 0.0224 -0.14629 0.02535 -0.14629 0.02812 -0.14814 C 0.0375 -0.15401 0.04566 -0.16481 0.05521 -0.17037 C 0.07378 -0.18148 0.09219 -0.19321 0.11146 -0.2 C 0.12743 -0.21419 0.14705 -0.2179 0.16458 -0.22037 C 0.18854 -0.21975 0.2125 -0.21975 0.23646 -0.21851 C 0.24323 -0.21821 0.2559 -0.1966 0.2625 -0.19259 C 0.26441 -0.18919 0.26684 -0.18672 0.26875 -0.18333 C 0.27187 -0.17777 0.2724 -0.17314 0.27708 -0.17037 C 0.27847 -0.1679 0.27986 -0.16543 0.28125 -0.16296 " pathEditMode="relative" rAng="0" ptsTypes="fffffffffffA">
                                      <p:cBhvr>
                                        <p:cTn id="14" dur="2000" fill="hold"/>
                                        <p:tgtEl>
                                          <p:spTgt spid="37"/>
                                        </p:tgtEl>
                                        <p:attrNameLst>
                                          <p:attrName>ppt_x</p:attrName>
                                          <p:attrName>ppt_y</p:attrName>
                                        </p:attrNameLst>
                                      </p:cBhvr>
                                      <p:rCtr x="15365" y="-6111"/>
                                    </p:animMotion>
                                  </p:childTnLst>
                                </p:cTn>
                              </p:par>
                            </p:childTnLst>
                          </p:cTn>
                        </p:par>
                        <p:par>
                          <p:cTn id="15" fill="hold">
                            <p:stCondLst>
                              <p:cond delay="2000"/>
                            </p:stCondLst>
                            <p:childTnLst>
                              <p:par>
                                <p:cTn id="16" presetID="6" presetClass="emph" presetSubtype="0" fill="hold" grpId="1" nodeType="afterEffect">
                                  <p:stCondLst>
                                    <p:cond delay="0"/>
                                  </p:stCondLst>
                                  <p:childTnLst>
                                    <p:animScale>
                                      <p:cBhvr>
                                        <p:cTn id="17" dur="2000" fill="hold"/>
                                        <p:tgtEl>
                                          <p:spTgt spid="39"/>
                                        </p:tgtEl>
                                      </p:cBhvr>
                                      <p:by x="150000" y="150000"/>
                                    </p:animScale>
                                  </p:childTnLst>
                                </p:cTn>
                              </p:par>
                              <p:par>
                                <p:cTn id="18" presetID="6" presetClass="emph" presetSubtype="0" fill="hold" grpId="1" nodeType="withEffect">
                                  <p:stCondLst>
                                    <p:cond delay="0"/>
                                  </p:stCondLst>
                                  <p:childTnLst>
                                    <p:animScale>
                                      <p:cBhvr>
                                        <p:cTn id="19" dur="2000" fill="hold"/>
                                        <p:tgtEl>
                                          <p:spTgt spid="38"/>
                                        </p:tgtEl>
                                      </p:cBhvr>
                                      <p:by x="150000" y="150000"/>
                                    </p:animScale>
                                  </p:childTnLst>
                                </p:cTn>
                              </p:par>
                            </p:childTnLst>
                          </p:cTn>
                        </p:par>
                        <p:par>
                          <p:cTn id="20" fill="hold">
                            <p:stCondLst>
                              <p:cond delay="4000"/>
                            </p:stCondLst>
                            <p:childTnLst>
                              <p:par>
                                <p:cTn id="21" presetID="12" presetClass="entr" presetSubtype="4"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p:tgtEl>
                                          <p:spTgt spid="14"/>
                                        </p:tgtEl>
                                        <p:attrNameLst>
                                          <p:attrName>ppt_y</p:attrName>
                                        </p:attrNameLst>
                                      </p:cBhvr>
                                      <p:tavLst>
                                        <p:tav tm="0">
                                          <p:val>
                                            <p:strVal val="#ppt_y+#ppt_h*1.125000"/>
                                          </p:val>
                                        </p:tav>
                                        <p:tav tm="100000">
                                          <p:val>
                                            <p:strVal val="#ppt_y"/>
                                          </p:val>
                                        </p:tav>
                                      </p:tavLst>
                                    </p:anim>
                                    <p:animEffect transition="in" filter="wipe(up)">
                                      <p:cBhvr>
                                        <p:cTn id="2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4" grpId="0"/>
      <p:bldP spid="38" grpId="0"/>
      <p:bldP spid="38" grpId="1"/>
      <p:bldP spid="39" grpId="0"/>
      <p:bldP spid="39"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069200"/>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46009"/>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4" name="TextBox 18"/>
          <p:cNvSpPr>
            <a:spLocks noChangeArrowheads="1"/>
          </p:cNvSpPr>
          <p:nvPr/>
        </p:nvSpPr>
        <p:spPr bwMode="auto">
          <a:xfrm>
            <a:off x="2155981" y="1980879"/>
            <a:ext cx="4216247" cy="67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公务接待费属于公务卡强制结算目录范围</a:t>
            </a:r>
            <a:endParaRPr lang="en-US" altLang="zh-CN"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6"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国内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7" name="矩形 16"/>
          <p:cNvSpPr/>
          <p:nvPr/>
        </p:nvSpPr>
        <p:spPr>
          <a:xfrm>
            <a:off x="53789" y="169527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36442" y="170647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59726" y="170647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60883" y="2356807"/>
            <a:ext cx="675559" cy="614630"/>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63749" y="242281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61544" y="235819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82364" y="307695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31825" y="312209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0875" y="3027843"/>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57330" y="1704713"/>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7938" y="235457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729" y="302941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360" y="2992229"/>
            <a:ext cx="710210" cy="716587"/>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835" y="1679218"/>
            <a:ext cx="656033" cy="673932"/>
          </a:xfrm>
          <a:prstGeom prst="rect">
            <a:avLst/>
          </a:prstGeom>
        </p:spPr>
      </p:pic>
      <p:sp>
        <p:nvSpPr>
          <p:cNvPr id="39" name="矩形 38"/>
          <p:cNvSpPr/>
          <p:nvPr/>
        </p:nvSpPr>
        <p:spPr>
          <a:xfrm>
            <a:off x="74857" y="195997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42479" y="174388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265481" y="1950448"/>
            <a:ext cx="1030043" cy="338554"/>
          </a:xfrm>
          <a:prstGeom prst="rect">
            <a:avLst/>
          </a:prstGeom>
        </p:spPr>
        <p:txBody>
          <a:bodyPr wrap="square">
            <a:spAutoFit/>
          </a:bodyPr>
          <a:lstStyle/>
          <a:p>
            <a:r>
              <a:rPr lang="zh-CN" altLang="en-US" sz="1600" b="1" dirty="0" smtClean="0"/>
              <a:t>支付方式</a:t>
            </a:r>
            <a:endParaRPr lang="zh-CN" altLang="en-US" sz="1600" b="1" dirty="0"/>
          </a:p>
        </p:txBody>
      </p:sp>
      <p:sp>
        <p:nvSpPr>
          <p:cNvPr id="42" name="矩形 41"/>
          <p:cNvSpPr/>
          <p:nvPr/>
        </p:nvSpPr>
        <p:spPr>
          <a:xfrm>
            <a:off x="1622689" y="1725521"/>
            <a:ext cx="663311" cy="338554"/>
          </a:xfrm>
          <a:prstGeom prst="rect">
            <a:avLst/>
          </a:prstGeom>
        </p:spPr>
        <p:txBody>
          <a:bodyPr wrap="square">
            <a:spAutoFit/>
          </a:bodyPr>
          <a:lstStyle/>
          <a:p>
            <a:r>
              <a:rPr lang="en-US" altLang="zh-CN" sz="1600" b="1" dirty="0" smtClean="0"/>
              <a:t>02</a:t>
            </a:r>
            <a:endParaRPr lang="zh-CN" altLang="en-US" sz="1600" b="1" dirty="0"/>
          </a:p>
        </p:txBody>
      </p:sp>
      <p:sp>
        <p:nvSpPr>
          <p:cNvPr id="43" name="矩形 42"/>
          <p:cNvSpPr/>
          <p:nvPr/>
        </p:nvSpPr>
        <p:spPr>
          <a:xfrm>
            <a:off x="74857" y="330039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4" name="矩形 43"/>
          <p:cNvSpPr/>
          <p:nvPr/>
        </p:nvSpPr>
        <p:spPr>
          <a:xfrm>
            <a:off x="269905" y="308370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5" name="矩形 44"/>
          <p:cNvSpPr/>
          <p:nvPr/>
        </p:nvSpPr>
        <p:spPr>
          <a:xfrm>
            <a:off x="741114" y="262720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6" name="矩形 45"/>
          <p:cNvSpPr/>
          <p:nvPr/>
        </p:nvSpPr>
        <p:spPr>
          <a:xfrm>
            <a:off x="940996" y="240408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7" name="矩形 46"/>
          <p:cNvSpPr/>
          <p:nvPr/>
        </p:nvSpPr>
        <p:spPr>
          <a:xfrm>
            <a:off x="778004" y="330900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50" name="矩形 49"/>
          <p:cNvSpPr/>
          <p:nvPr/>
        </p:nvSpPr>
        <p:spPr>
          <a:xfrm>
            <a:off x="953187" y="309360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1" name="矩形 50"/>
          <p:cNvSpPr/>
          <p:nvPr/>
        </p:nvSpPr>
        <p:spPr>
          <a:xfrm>
            <a:off x="1431825" y="332648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2" name="矩形 51"/>
          <p:cNvSpPr/>
          <p:nvPr/>
        </p:nvSpPr>
        <p:spPr>
          <a:xfrm>
            <a:off x="1594756" y="310297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159429606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0" presetClass="path" presetSubtype="0" accel="50000" decel="50000" fill="hold" grpId="0" nodeType="withEffect">
                                  <p:stCondLst>
                                    <p:cond delay="0"/>
                                  </p:stCondLst>
                                  <p:childTnLst>
                                    <p:animMotion origin="layout" path="M -0.01146 -0.07222 C -0.00712 -0.08735 -0.00053 -0.09907 0.00625 -0.11111 C 0.00729 -0.11296 0.00729 -0.11636 0.00833 -0.11852 C 0.01076 -0.12377 0.01441 -0.12747 0.01666 -0.13333 C 0.02066 -0.14383 0.01788 -0.13735 0.02604 -0.15185 C 0.02708 -0.1537 0.02916 -0.15741 0.02916 -0.1571 C 0.03281 -0.17654 0.04635 -0.17901 0.05625 -0.18333 C 0.07274 -0.18272 0.10121 -0.19661 0.11875 -0.17593 C 0.121 -0.16975 0.12708 -0.15926 0.12708 -0.15895 C 0.12934 -0.14691 0.12812 -0.15154 0.1302 -0.14444 " pathEditMode="relative" rAng="0" ptsTypes="fffffffffA">
                                      <p:cBhvr>
                                        <p:cTn id="10" dur="2000" fill="hold"/>
                                        <p:tgtEl>
                                          <p:spTgt spid="42"/>
                                        </p:tgtEl>
                                        <p:attrNameLst>
                                          <p:attrName>ppt_x</p:attrName>
                                          <p:attrName>ppt_y</p:attrName>
                                        </p:attrNameLst>
                                      </p:cBhvr>
                                      <p:rCtr x="7083" y="-6235"/>
                                    </p:animMotion>
                                  </p:childTnLst>
                                </p:cTn>
                              </p:par>
                              <p:par>
                                <p:cTn id="11" presetID="0" presetClass="path" presetSubtype="0" accel="50000" decel="50000" fill="hold" grpId="0" nodeType="withEffect">
                                  <p:stCondLst>
                                    <p:cond delay="0"/>
                                  </p:stCondLst>
                                  <p:childTnLst>
                                    <p:animMotion origin="layout" path="M -0.01146 -0.07223 C -0.00712 -0.08735 -0.00052 -0.09908 0.00625 -0.11111 C 0.00729 -0.11297 0.00729 -0.11636 0.00833 -0.11852 C 0.01076 -0.12377 0.01441 -0.12747 0.01666 -0.13334 C 0.02066 -0.14383 0.01788 -0.13735 0.02604 -0.15185 C 0.02708 -0.15371 0.02916 -0.15741 0.02916 -0.1571 C 0.03281 -0.17655 0.04635 -0.17902 0.05625 -0.18334 C 0.07274 -0.18272 0.10121 -0.19661 0.11875 -0.17593 C 0.12101 -0.16976 0.12708 -0.15926 0.12708 -0.15895 C 0.12934 -0.14692 0.12812 -0.15155 0.13021 -0.14445 " pathEditMode="relative" rAng="0" ptsTypes="fffffffffA">
                                      <p:cBhvr>
                                        <p:cTn id="12" dur="2000" fill="hold"/>
                                        <p:tgtEl>
                                          <p:spTgt spid="41"/>
                                        </p:tgtEl>
                                        <p:attrNameLst>
                                          <p:attrName>ppt_x</p:attrName>
                                          <p:attrName>ppt_y</p:attrName>
                                        </p:attrNameLst>
                                      </p:cBhvr>
                                      <p:rCtr x="7083" y="-6235"/>
                                    </p:animMotion>
                                  </p:childTnLst>
                                </p:cTn>
                              </p:par>
                              <p:par>
                                <p:cTn id="13" presetID="0" presetClass="path" presetSubtype="0" accel="50000" decel="50000" fill="hold" nodeType="withEffect">
                                  <p:stCondLst>
                                    <p:cond delay="0"/>
                                  </p:stCondLst>
                                  <p:childTnLst>
                                    <p:animMotion origin="layout" path="M -0.01145 -0.07223 C -0.00711 -0.08735 -0.00052 -0.09908 0.00625 -0.11111 C 0.0073 -0.11297 0.0073 -0.11636 0.00834 -0.11852 C 0.01077 -0.12377 0.01441 -0.12747 0.01667 -0.13334 C 0.02066 -0.14383 0.01789 -0.13735 0.02605 -0.15185 C 0.02709 -0.15371 0.02917 -0.15741 0.02917 -0.1571 C 0.03282 -0.17655 0.04636 -0.17902 0.05625 -0.18334 C 0.07275 -0.18272 0.10122 -0.19661 0.11875 -0.17593 C 0.12101 -0.16976 0.12709 -0.15926 0.12709 -0.15895 C 0.12934 -0.14692 0.12813 -0.15155 0.13021 -0.14445 " pathEditMode="relative" rAng="0" ptsTypes="fffffffffA">
                                      <p:cBhvr>
                                        <p:cTn id="14" dur="2000" fill="hold"/>
                                        <p:tgtEl>
                                          <p:spTgt spid="34"/>
                                        </p:tgtEl>
                                        <p:attrNameLst>
                                          <p:attrName>ppt_x</p:attrName>
                                          <p:attrName>ppt_y</p:attrName>
                                        </p:attrNameLst>
                                      </p:cBhvr>
                                      <p:rCtr x="7083" y="-6235"/>
                                    </p:animMotion>
                                  </p:childTnLst>
                                </p:cTn>
                              </p:par>
                            </p:childTnLst>
                          </p:cTn>
                        </p:par>
                        <p:par>
                          <p:cTn id="15" fill="hold">
                            <p:stCondLst>
                              <p:cond delay="2000"/>
                            </p:stCondLst>
                            <p:childTnLst>
                              <p:par>
                                <p:cTn id="16" presetID="6" presetClass="emph" presetSubtype="0" fill="hold" grpId="1" nodeType="afterEffect">
                                  <p:stCondLst>
                                    <p:cond delay="0"/>
                                  </p:stCondLst>
                                  <p:childTnLst>
                                    <p:animScale>
                                      <p:cBhvr>
                                        <p:cTn id="17" dur="2000" fill="hold"/>
                                        <p:tgtEl>
                                          <p:spTgt spid="42"/>
                                        </p:tgtEl>
                                      </p:cBhvr>
                                      <p:by x="150000" y="150000"/>
                                    </p:animScale>
                                  </p:childTnLst>
                                </p:cTn>
                              </p:par>
                              <p:par>
                                <p:cTn id="18" presetID="6" presetClass="emph" presetSubtype="0" fill="hold" grpId="1" nodeType="withEffect">
                                  <p:stCondLst>
                                    <p:cond delay="0"/>
                                  </p:stCondLst>
                                  <p:childTnLst>
                                    <p:animScale>
                                      <p:cBhvr>
                                        <p:cTn id="19" dur="2000" fill="hold"/>
                                        <p:tgtEl>
                                          <p:spTgt spid="41"/>
                                        </p:tgtEl>
                                      </p:cBhvr>
                                      <p:by x="150000" y="150000"/>
                                    </p:animScale>
                                  </p:childTnLst>
                                </p:cTn>
                              </p:par>
                            </p:childTnLst>
                          </p:cTn>
                        </p:par>
                        <p:par>
                          <p:cTn id="20" fill="hold">
                            <p:stCondLst>
                              <p:cond delay="4000"/>
                            </p:stCondLst>
                            <p:childTnLst>
                              <p:par>
                                <p:cTn id="21" presetID="12" presetClass="entr" presetSubtype="4"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p:tgtEl>
                                          <p:spTgt spid="14"/>
                                        </p:tgtEl>
                                        <p:attrNameLst>
                                          <p:attrName>ppt_y</p:attrName>
                                        </p:attrNameLst>
                                      </p:cBhvr>
                                      <p:tavLst>
                                        <p:tav tm="0">
                                          <p:val>
                                            <p:strVal val="#ppt_y+#ppt_h*1.125000"/>
                                          </p:val>
                                        </p:tav>
                                        <p:tav tm="100000">
                                          <p:val>
                                            <p:strVal val="#ppt_y"/>
                                          </p:val>
                                        </p:tav>
                                      </p:tavLst>
                                    </p:anim>
                                    <p:animEffect transition="in" filter="wipe(up)">
                                      <p:cBhvr>
                                        <p:cTn id="2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4" grpId="0"/>
      <p:bldP spid="41" grpId="0"/>
      <p:bldP spid="41" grpId="1"/>
      <p:bldP spid="42" grpId="0"/>
      <p:bldP spid="42"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圆角矩形 21"/>
          <p:cNvSpPr/>
          <p:nvPr/>
        </p:nvSpPr>
        <p:spPr>
          <a:xfrm>
            <a:off x="211860" y="442113"/>
            <a:ext cx="131039" cy="4320386"/>
          </a:xfrm>
          <a:prstGeom prst="roundRect">
            <a:avLst>
              <a:gd name="adj" fmla="val 50000"/>
            </a:avLst>
          </a:prstGeom>
          <a:gradFill flip="none" rotWithShape="1">
            <a:gsLst>
              <a:gs pos="100000">
                <a:srgbClr val="878787"/>
              </a:gs>
              <a:gs pos="0">
                <a:sysClr val="window" lastClr="FFFFFF">
                  <a:lumMod val="85000"/>
                  <a:shade val="30000"/>
                  <a:satMod val="115000"/>
                </a:sysClr>
              </a:gs>
              <a:gs pos="45000">
                <a:sysClr val="window" lastClr="FFFFFF">
                  <a:lumMod val="85000"/>
                  <a:shade val="67500"/>
                  <a:satMod val="115000"/>
                </a:sysClr>
              </a:gs>
              <a:gs pos="62000">
                <a:sysClr val="window" lastClr="FFFFFF">
                  <a:lumMod val="85000"/>
                  <a:shade val="100000"/>
                  <a:satMod val="115000"/>
                </a:sysClr>
              </a:gs>
            </a:gsLst>
            <a:lin ang="10800000" scaled="1"/>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矩形 24"/>
          <p:cNvSpPr/>
          <p:nvPr/>
        </p:nvSpPr>
        <p:spPr>
          <a:xfrm>
            <a:off x="0" y="4762499"/>
            <a:ext cx="9144000" cy="381719"/>
          </a:xfrm>
          <a:prstGeom prst="rect">
            <a:avLst/>
          </a:prstGeom>
          <a:gradFill flip="none" rotWithShape="1">
            <a:gsLst>
              <a:gs pos="48320">
                <a:srgbClr val="E6C29A"/>
              </a:gs>
              <a:gs pos="100000">
                <a:srgbClr val="8C6233"/>
              </a:gs>
              <a:gs pos="0">
                <a:srgbClr val="DEA464">
                  <a:shade val="30000"/>
                  <a:satMod val="115000"/>
                </a:srgbClr>
              </a:gs>
              <a:gs pos="8000">
                <a:srgbClr val="DEA464">
                  <a:shade val="67500"/>
                  <a:satMod val="115000"/>
                </a:srgbClr>
              </a:gs>
              <a:gs pos="92000">
                <a:srgbClr val="DEA464">
                  <a:shade val="100000"/>
                  <a:satMod val="115000"/>
                </a:srgbClr>
              </a:gs>
            </a:gsLst>
            <a:lin ang="0" scaled="1"/>
            <a:tileRect/>
          </a:gradFill>
          <a:ln w="25400" cap="flat" cmpd="sng" algn="ctr">
            <a:noFill/>
            <a:prstDash val="solid"/>
          </a:ln>
          <a:effectLst>
            <a:outerShdw blurRad="50800" dist="38100" dir="16200000"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圆角矩形 26"/>
          <p:cNvSpPr/>
          <p:nvPr/>
        </p:nvSpPr>
        <p:spPr>
          <a:xfrm>
            <a:off x="2269723" y="28031"/>
            <a:ext cx="2251952" cy="432460"/>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圆角矩形 27"/>
          <p:cNvSpPr/>
          <p:nvPr/>
        </p:nvSpPr>
        <p:spPr>
          <a:xfrm>
            <a:off x="152401" y="21683"/>
            <a:ext cx="2112808" cy="420430"/>
          </a:xfrm>
          <a:prstGeom prst="roundRect">
            <a:avLst/>
          </a:prstGeom>
          <a:gradFill flip="none" rotWithShape="1">
            <a:gsLst>
              <a:gs pos="100000">
                <a:srgbClr val="963F00"/>
              </a:gs>
              <a:gs pos="0">
                <a:srgbClr val="F79646">
                  <a:lumMod val="75000"/>
                  <a:shade val="30000"/>
                  <a:satMod val="115000"/>
                </a:srgbClr>
              </a:gs>
              <a:gs pos="6000">
                <a:srgbClr val="F79646">
                  <a:lumMod val="75000"/>
                  <a:shade val="67500"/>
                  <a:satMod val="115000"/>
                </a:srgbClr>
              </a:gs>
              <a:gs pos="89000">
                <a:srgbClr val="F79646">
                  <a:lumMod val="75000"/>
                  <a:shade val="100000"/>
                  <a:satMod val="115000"/>
                </a:srgbClr>
              </a:gs>
            </a:gsLst>
            <a:lin ang="10800000" scaled="1"/>
            <a:tileRect/>
          </a:gra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TextBox 28"/>
          <p:cNvSpPr txBox="1"/>
          <p:nvPr/>
        </p:nvSpPr>
        <p:spPr>
          <a:xfrm>
            <a:off x="580805" y="103558"/>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设置要求</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35" name="TextBox 34"/>
          <p:cNvSpPr txBox="1"/>
          <p:nvPr/>
        </p:nvSpPr>
        <p:spPr>
          <a:xfrm>
            <a:off x="1781600" y="4667250"/>
            <a:ext cx="5318720" cy="492443"/>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itchFamily="34" charset="0"/>
                <a:ea typeface="微软雅黑" pitchFamily="34" charset="-122"/>
                <a:cs typeface="Calibri" pitchFamily="34" charset="0"/>
              </a:defRPr>
            </a:lvl1p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ysClr val="windowText" lastClr="000000">
                    <a:lumMod val="75000"/>
                    <a:lumOff val="25000"/>
                  </a:sysClr>
                </a:solidFill>
                <a:effectLst>
                  <a:outerShdw dist="38100" dir="5400000" algn="t" rotWithShape="0">
                    <a:sysClr val="window" lastClr="FFFFFF">
                      <a:alpha val="48000"/>
                    </a:sysClr>
                  </a:outerShdw>
                </a:effectLst>
                <a:uLnTx/>
                <a:uFillTx/>
                <a:latin typeface="Agency FB" pitchFamily="34" charset="0"/>
                <a:ea typeface="微软雅黑" pitchFamily="34" charset="-122"/>
                <a:cs typeface="Calibri" pitchFamily="34" charset="0"/>
              </a:rPr>
              <a:t>科研财务助理制度</a:t>
            </a:r>
            <a:endParaRPr kumimoji="0" lang="zh-CN" altLang="en-US" sz="2000" b="1" i="0" u="none" strike="noStrike" kern="0" cap="none" spc="0" normalizeH="0" baseline="0" noProof="0" dirty="0">
              <a:ln>
                <a:noFill/>
              </a:ln>
              <a:solidFill>
                <a:sysClr val="windowText" lastClr="000000">
                  <a:lumMod val="75000"/>
                  <a:lumOff val="25000"/>
                </a:sysClr>
              </a:solidFill>
              <a:effectLst>
                <a:outerShdw dist="38100" dir="5400000" algn="t" rotWithShape="0">
                  <a:sysClr val="window" lastClr="FFFFFF">
                    <a:alpha val="48000"/>
                  </a:sysClr>
                </a:outerShdw>
              </a:effectLst>
              <a:uLnTx/>
              <a:uFillTx/>
              <a:latin typeface="Agency FB" pitchFamily="34" charset="0"/>
              <a:ea typeface="微软雅黑" pitchFamily="34" charset="-122"/>
              <a:cs typeface="Calibri" pitchFamily="34" charset="0"/>
            </a:endParaRPr>
          </a:p>
        </p:txBody>
      </p:sp>
      <p:sp>
        <p:nvSpPr>
          <p:cNvPr id="36" name="圆角矩形 35"/>
          <p:cNvSpPr/>
          <p:nvPr/>
        </p:nvSpPr>
        <p:spPr>
          <a:xfrm>
            <a:off x="4521675" y="21682"/>
            <a:ext cx="2251952" cy="420431"/>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圆角矩形 36"/>
          <p:cNvSpPr/>
          <p:nvPr/>
        </p:nvSpPr>
        <p:spPr>
          <a:xfrm>
            <a:off x="6773627" y="19050"/>
            <a:ext cx="2251952" cy="423063"/>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TextBox 37"/>
          <p:cNvSpPr txBox="1"/>
          <p:nvPr/>
        </p:nvSpPr>
        <p:spPr>
          <a:xfrm>
            <a:off x="2719101" y="103559"/>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经费保障</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39" name="TextBox 38"/>
          <p:cNvSpPr txBox="1"/>
          <p:nvPr/>
        </p:nvSpPr>
        <p:spPr>
          <a:xfrm>
            <a:off x="4971053" y="88662"/>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职责要求</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40" name="TextBox 39"/>
          <p:cNvSpPr txBox="1"/>
          <p:nvPr/>
        </p:nvSpPr>
        <p:spPr>
          <a:xfrm>
            <a:off x="7223005" y="86681"/>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激励机制</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2" name="TextBox 1"/>
          <p:cNvSpPr txBox="1"/>
          <p:nvPr/>
        </p:nvSpPr>
        <p:spPr>
          <a:xfrm>
            <a:off x="617275" y="998020"/>
            <a:ext cx="7909450" cy="3208571"/>
          </a:xfrm>
          <a:prstGeom prst="rect">
            <a:avLst/>
          </a:prstGeom>
          <a:noFill/>
        </p:spPr>
        <p:txBody>
          <a:bodyPr wrap="square" rtlCol="0">
            <a:spAutoFit/>
          </a:bodyPr>
          <a:lstStyle/>
          <a:p>
            <a:pPr marL="457200" indent="-457200" fontAlgn="auto">
              <a:lnSpc>
                <a:spcPct val="150000"/>
              </a:lnSpc>
              <a:spcBef>
                <a:spcPts val="0"/>
              </a:spcBef>
              <a:spcAft>
                <a:spcPts val="0"/>
              </a:spcAft>
              <a:buClr>
                <a:srgbClr val="ECFE02"/>
              </a:buClr>
              <a:buFont typeface="Wingdings" pitchFamily="2" charset="2"/>
              <a:buChar char="l"/>
              <a:defRPr/>
            </a:pPr>
            <a:r>
              <a:rPr lang="zh-CN" altLang="zh-CN" b="1" dirty="0">
                <a:ln w="3175">
                  <a:solidFill>
                    <a:schemeClr val="tx1"/>
                  </a:solidFill>
                </a:ln>
                <a:latin typeface="方正风雅宋简体" pitchFamily="2" charset="-122"/>
                <a:ea typeface="方正风雅宋简体" pitchFamily="2" charset="-122"/>
              </a:rPr>
              <a:t>由课题组、研究室提出申请，科研处讨论通过，报人事处、资产财务处审核后实施。每个课题组最多设置一名科研财务助理，研究室可根据情况设置</a:t>
            </a:r>
            <a:r>
              <a:rPr lang="en-US" altLang="zh-CN" b="1" dirty="0">
                <a:ln w="3175">
                  <a:solidFill>
                    <a:schemeClr val="tx1"/>
                  </a:solidFill>
                </a:ln>
                <a:latin typeface="方正风雅宋简体" pitchFamily="2" charset="-122"/>
                <a:ea typeface="方正风雅宋简体" pitchFamily="2" charset="-122"/>
              </a:rPr>
              <a:t>1</a:t>
            </a:r>
            <a:r>
              <a:rPr lang="zh-CN" altLang="zh-CN" b="1" dirty="0">
                <a:ln w="3175">
                  <a:solidFill>
                    <a:schemeClr val="tx1"/>
                  </a:solidFill>
                </a:ln>
                <a:latin typeface="方正风雅宋简体" pitchFamily="2" charset="-122"/>
                <a:ea typeface="方正风雅宋简体" pitchFamily="2" charset="-122"/>
              </a:rPr>
              <a:t>至</a:t>
            </a:r>
            <a:r>
              <a:rPr lang="en-US" altLang="zh-CN" b="1" dirty="0">
                <a:ln w="3175">
                  <a:solidFill>
                    <a:schemeClr val="tx1"/>
                  </a:solidFill>
                </a:ln>
                <a:latin typeface="方正风雅宋简体" pitchFamily="2" charset="-122"/>
                <a:ea typeface="方正风雅宋简体" pitchFamily="2" charset="-122"/>
              </a:rPr>
              <a:t>2</a:t>
            </a:r>
            <a:r>
              <a:rPr lang="zh-CN" altLang="zh-CN" b="1" dirty="0">
                <a:ln w="3175">
                  <a:solidFill>
                    <a:schemeClr val="tx1"/>
                  </a:solidFill>
                </a:ln>
                <a:latin typeface="方正风雅宋简体" pitchFamily="2" charset="-122"/>
                <a:ea typeface="方正风雅宋简体" pitchFamily="2" charset="-122"/>
              </a:rPr>
              <a:t>名科研财务助理，鼓励多个课题组联合聘用科研财务助理，鼓励符合条件的科研秘书兼任科研财务助理。必须熟悉团队运行情况，且不得由学生兼职</a:t>
            </a:r>
            <a:endParaRPr lang="en-US" altLang="zh-CN" b="1"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en-US" b="1" dirty="0">
                <a:ln w="3175">
                  <a:solidFill>
                    <a:schemeClr val="tx1"/>
                  </a:solidFill>
                </a:ln>
                <a:latin typeface="方正风雅宋简体" pitchFamily="2" charset="-122"/>
                <a:ea typeface="方正风雅宋简体" pitchFamily="2" charset="-122"/>
              </a:rPr>
              <a:t>科研财务</a:t>
            </a:r>
            <a:r>
              <a:rPr lang="zh-CN" altLang="zh-CN" b="1" dirty="0">
                <a:ln w="3175">
                  <a:solidFill>
                    <a:schemeClr val="tx1"/>
                  </a:solidFill>
                </a:ln>
                <a:latin typeface="方正风雅宋简体" pitchFamily="2" charset="-122"/>
                <a:ea typeface="方正风雅宋简体" pitchFamily="2" charset="-122"/>
              </a:rPr>
              <a:t>双重职能，既要协助团队负责人加强团队预算管理，又要做好科研服务工作。应保持科研财务助理的稳定性和延续性，不得随意更换。应指定相对固定的科研财务助理到资产财务处办理各类财务事项</a:t>
            </a:r>
            <a:endParaRPr lang="en-US" altLang="zh-CN" b="1"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b="1" dirty="0">
                <a:ln w="3175">
                  <a:solidFill>
                    <a:schemeClr val="tx1"/>
                  </a:solidFill>
                </a:ln>
                <a:latin typeface="方正风雅宋简体" pitchFamily="2" charset="-122"/>
                <a:ea typeface="方正风雅宋简体" pitchFamily="2" charset="-122"/>
              </a:rPr>
              <a:t>应具有较强的责任意识、服务意识和团队合作意识；并具备相应的会计专业知识，熟悉和掌握国家财经法规、国家科技经费管理办法以及单位科研财务政策规章财务报销等内部管理流程，熟悉课题组运行情况</a:t>
            </a:r>
            <a:r>
              <a:rPr lang="zh-CN" altLang="en-US" b="1" dirty="0">
                <a:ln w="3175">
                  <a:solidFill>
                    <a:schemeClr val="tx1"/>
                  </a:solidFill>
                </a:ln>
                <a:latin typeface="方正风雅宋简体" pitchFamily="2" charset="-122"/>
                <a:ea typeface="方正风雅宋简体" pitchFamily="2" charset="-122"/>
              </a:rPr>
              <a:t>，</a:t>
            </a:r>
            <a:r>
              <a:rPr lang="zh-CN" altLang="zh-CN" b="1" dirty="0">
                <a:ln w="3175">
                  <a:solidFill>
                    <a:schemeClr val="tx1"/>
                  </a:solidFill>
                </a:ln>
                <a:latin typeface="方正风雅宋简体" pitchFamily="2" charset="-122"/>
                <a:ea typeface="方正风雅宋简体" pitchFamily="2" charset="-122"/>
              </a:rPr>
              <a:t>与资产财务处等职能部门的桥梁与纽带</a:t>
            </a:r>
            <a:endParaRPr lang="en-US" altLang="zh-CN" b="1" dirty="0">
              <a:ln w="3175">
                <a:solidFill>
                  <a:schemeClr val="tx1"/>
                </a:solidFill>
              </a:ln>
              <a:latin typeface="方正风雅宋简体" pitchFamily="2" charset="-122"/>
              <a:ea typeface="方正风雅宋简体" pitchFamily="2" charset="-122"/>
            </a:endParaRPr>
          </a:p>
        </p:txBody>
      </p:sp>
    </p:spTree>
    <p:extLst>
      <p:ext uri="{BB962C8B-B14F-4D97-AF65-F5344CB8AC3E}">
        <p14:creationId xmlns:p14="http://schemas.microsoft.com/office/powerpoint/2010/main" val="171817229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p:stCondLst>
                                    <p:cond delay="0"/>
                                  </p:stCondLst>
                                  <p:childTnLst>
                                    <p:animScale>
                                      <p:cBhvr>
                                        <p:cTn id="6" dur="2000" fill="hold"/>
                                        <p:tgtEl>
                                          <p:spTgt spid="29"/>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069200"/>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46009"/>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6" name="TextBox 18"/>
          <p:cNvSpPr>
            <a:spLocks noChangeArrowheads="1"/>
          </p:cNvSpPr>
          <p:nvPr/>
        </p:nvSpPr>
        <p:spPr bwMode="auto">
          <a:xfrm>
            <a:off x="2155981" y="1980879"/>
            <a:ext cx="4216247" cy="1885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所级接待费由财政基本运行经费或所公用经费支付</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课题组接待费由课题横向经费支付</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挂靠的非法人研究中心接待费由研究中心的财政基本运行经费（每年初由所下达预算控制数）或横向经费中支付</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5"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国内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7" name="矩形 16"/>
          <p:cNvSpPr/>
          <p:nvPr/>
        </p:nvSpPr>
        <p:spPr>
          <a:xfrm>
            <a:off x="44264" y="1685752"/>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26917" y="1696947"/>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50201" y="1696947"/>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51358" y="2347282"/>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54224" y="2365989"/>
            <a:ext cx="661924" cy="644380"/>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52019" y="2348672"/>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72839" y="3067434"/>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22300" y="3112572"/>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41350" y="3018318"/>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7805" y="1695188"/>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8678" y="234362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6918" y="3019894"/>
            <a:ext cx="714432"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212" y="3018147"/>
            <a:ext cx="671231" cy="681144"/>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835" y="1669693"/>
            <a:ext cx="656033" cy="673932"/>
          </a:xfrm>
          <a:prstGeom prst="rect">
            <a:avLst/>
          </a:prstGeom>
        </p:spPr>
      </p:pic>
      <p:sp>
        <p:nvSpPr>
          <p:cNvPr id="39" name="矩形 38"/>
          <p:cNvSpPr/>
          <p:nvPr/>
        </p:nvSpPr>
        <p:spPr>
          <a:xfrm>
            <a:off x="65332" y="1950448"/>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32954" y="1734364"/>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65332" y="3290870"/>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2" name="矩形 41"/>
          <p:cNvSpPr/>
          <p:nvPr/>
        </p:nvSpPr>
        <p:spPr>
          <a:xfrm>
            <a:off x="260380" y="3074184"/>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3" name="矩形 42"/>
          <p:cNvSpPr/>
          <p:nvPr/>
        </p:nvSpPr>
        <p:spPr>
          <a:xfrm>
            <a:off x="588713" y="2617678"/>
            <a:ext cx="1068623" cy="338554"/>
          </a:xfrm>
          <a:prstGeom prst="rect">
            <a:avLst/>
          </a:prstGeom>
        </p:spPr>
        <p:txBody>
          <a:bodyPr wrap="square">
            <a:spAutoFit/>
          </a:bodyPr>
          <a:lstStyle/>
          <a:p>
            <a:r>
              <a:rPr lang="zh-CN" altLang="en-US" sz="1600" b="1" dirty="0" smtClean="0"/>
              <a:t>经费支付</a:t>
            </a:r>
            <a:endParaRPr lang="zh-CN" altLang="en-US" sz="1600" b="1" dirty="0"/>
          </a:p>
        </p:txBody>
      </p:sp>
      <p:sp>
        <p:nvSpPr>
          <p:cNvPr id="44" name="矩形 43"/>
          <p:cNvSpPr/>
          <p:nvPr/>
        </p:nvSpPr>
        <p:spPr>
          <a:xfrm>
            <a:off x="912421" y="2375514"/>
            <a:ext cx="404402" cy="338554"/>
          </a:xfrm>
          <a:prstGeom prst="rect">
            <a:avLst/>
          </a:prstGeom>
        </p:spPr>
        <p:txBody>
          <a:bodyPr wrap="square">
            <a:spAutoFit/>
          </a:bodyPr>
          <a:lstStyle/>
          <a:p>
            <a:r>
              <a:rPr lang="en-US" altLang="zh-CN" sz="1600" b="1" dirty="0" smtClean="0"/>
              <a:t>03</a:t>
            </a:r>
            <a:endParaRPr lang="zh-CN" altLang="en-US" sz="1600" b="1" dirty="0"/>
          </a:p>
        </p:txBody>
      </p:sp>
      <p:sp>
        <p:nvSpPr>
          <p:cNvPr id="45" name="矩形 44"/>
          <p:cNvSpPr/>
          <p:nvPr/>
        </p:nvSpPr>
        <p:spPr>
          <a:xfrm>
            <a:off x="768479" y="3299484"/>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943662" y="3084082"/>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47" name="矩形 46"/>
          <p:cNvSpPr/>
          <p:nvPr/>
        </p:nvSpPr>
        <p:spPr>
          <a:xfrm>
            <a:off x="1422300" y="3316958"/>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0" name="矩形 49"/>
          <p:cNvSpPr/>
          <p:nvPr/>
        </p:nvSpPr>
        <p:spPr>
          <a:xfrm>
            <a:off x="1585231" y="3093448"/>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273911286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146 -0.06296 C 0.00955 -0.07685 0.01355 -0.0895 0.01667 -0.10185 C 0.02483 -0.13426 0.02848 -0.17037 0.03959 -0.2 C 0.04271 -0.22191 0.04931 -0.24506 0.05834 -0.26111 C 0.0606 -0.27315 0.06355 -0.29012 0.07084 -0.29444 C 0.07535 -0.30247 0.07969 -0.3071 0.08542 -0.31111 C 0.11216 -0.31049 0.13889 -0.31111 0.16563 -0.30926 C 0.16685 -0.30926 0.16771 -0.30648 0.16876 -0.30555 C 0.1698 -0.30463 0.17084 -0.30432 0.17188 -0.3037 C 0.17501 -0.29815 0.17761 -0.29691 0.18126 -0.29259 C 0.18646 -0.2787 0.17987 -0.29568 0.18646 -0.28148 C 0.18733 -0.27963 0.18803 -0.27777 0.18855 -0.27592 C 0.18907 -0.27407 0.18959 -0.27037 0.18959 -0.27006 " pathEditMode="relative" rAng="0" ptsTypes="ffffffffffffA">
                                      <p:cBhvr>
                                        <p:cTn id="11" dur="2000" fill="hold"/>
                                        <p:tgtEl>
                                          <p:spTgt spid="44"/>
                                        </p:tgtEl>
                                        <p:attrNameLst>
                                          <p:attrName>ppt_x</p:attrName>
                                          <p:attrName>ppt_y</p:attrName>
                                        </p:attrNameLst>
                                      </p:cBhvr>
                                      <p:rCtr x="8802" y="-12407"/>
                                    </p:animMotion>
                                  </p:childTnLst>
                                </p:cTn>
                              </p:par>
                              <p:par>
                                <p:cTn id="12" presetID="0" presetClass="path" presetSubtype="0" accel="50000" decel="50000" fill="hold" grpId="0" nodeType="withEffect">
                                  <p:stCondLst>
                                    <p:cond delay="0"/>
                                  </p:stCondLst>
                                  <p:childTnLst>
                                    <p:animMotion origin="layout" path="M 0.01146 -0.06297 C 0.00955 -0.07686 0.01354 -0.08951 0.01667 -0.10186 C 0.02483 -0.13426 0.02848 -0.17037 0.03959 -0.2 C 0.04271 -0.22192 0.04931 -0.24507 0.05834 -0.26111 C 0.06059 -0.27315 0.06354 -0.29013 0.07084 -0.29445 C 0.07535 -0.30247 0.07969 -0.3071 0.08542 -0.31111 C 0.11216 -0.3105 0.13889 -0.31111 0.16563 -0.30926 C 0.16684 -0.30926 0.16771 -0.30648 0.16875 -0.30556 C 0.16979 -0.30463 0.17084 -0.30432 0.17188 -0.30371 C 0.175 -0.29815 0.17761 -0.29692 0.18125 -0.2926 C 0.18646 -0.27871 0.17986 -0.29568 0.18646 -0.28148 C 0.18733 -0.27963 0.18802 -0.27778 0.18854 -0.27593 C 0.18907 -0.27408 0.18959 -0.27037 0.18959 -0.27007 " pathEditMode="relative" rAng="0" ptsTypes="ffffffffffffA">
                                      <p:cBhvr>
                                        <p:cTn id="13" dur="2000" fill="hold"/>
                                        <p:tgtEl>
                                          <p:spTgt spid="43"/>
                                        </p:tgtEl>
                                        <p:attrNameLst>
                                          <p:attrName>ppt_x</p:attrName>
                                          <p:attrName>ppt_y</p:attrName>
                                        </p:attrNameLst>
                                      </p:cBhvr>
                                      <p:rCtr x="8802" y="-12407"/>
                                    </p:animMotion>
                                  </p:childTnLst>
                                </p:cTn>
                              </p:par>
                              <p:par>
                                <p:cTn id="14" presetID="0" presetClass="path" presetSubtype="0" accel="50000" decel="50000" fill="hold" nodeType="withEffect">
                                  <p:stCondLst>
                                    <p:cond delay="0"/>
                                  </p:stCondLst>
                                  <p:childTnLst>
                                    <p:animMotion origin="layout" path="M 0.01146 -0.06297 C 0.00955 -0.07685 0.01354 -0.08951 0.01667 -0.10185 C 0.02483 -0.13426 0.02847 -0.17037 0.03959 -0.2 C 0.04271 -0.22192 0.04931 -0.24506 0.05834 -0.26111 C 0.06059 -0.27315 0.06354 -0.29013 0.07084 -0.29445 C 0.07535 -0.30247 0.07969 -0.3071 0.08542 -0.31111 C 0.11215 -0.3105 0.13889 -0.31111 0.16563 -0.30926 C 0.16684 -0.30926 0.16771 -0.30648 0.16875 -0.30556 C 0.16979 -0.30463 0.17084 -0.30432 0.17188 -0.30371 C 0.175 -0.29815 0.17761 -0.29692 0.18125 -0.29259 C 0.18646 -0.27871 0.17986 -0.29568 0.18646 -0.28148 C 0.18733 -0.27963 0.18802 -0.27778 0.18854 -0.27593 C 0.18906 -0.27408 0.18959 -0.27037 0.18959 -0.27006 " pathEditMode="relative" rAng="0" ptsTypes="ffffffffffffA">
                                      <p:cBhvr>
                                        <p:cTn id="15" dur="2000" fill="hold"/>
                                        <p:tgtEl>
                                          <p:spTgt spid="35"/>
                                        </p:tgtEl>
                                        <p:attrNameLst>
                                          <p:attrName>ppt_x</p:attrName>
                                          <p:attrName>ppt_y</p:attrName>
                                        </p:attrNameLst>
                                      </p:cBhvr>
                                      <p:rCtr x="8802" y="-12407"/>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44"/>
                                        </p:tgtEl>
                                      </p:cBhvr>
                                      <p:by x="150000" y="150000"/>
                                    </p:animScale>
                                  </p:childTnLst>
                                </p:cTn>
                              </p:par>
                              <p:par>
                                <p:cTn id="19" presetID="6" presetClass="emph" presetSubtype="0" fill="hold" grpId="1" nodeType="withEffect">
                                  <p:stCondLst>
                                    <p:cond delay="0"/>
                                  </p:stCondLst>
                                  <p:childTnLst>
                                    <p:animScale>
                                      <p:cBhvr>
                                        <p:cTn id="20" dur="2000" fill="hold"/>
                                        <p:tgtEl>
                                          <p:spTgt spid="43"/>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p:tgtEl>
                                          <p:spTgt spid="16"/>
                                        </p:tgtEl>
                                        <p:attrNameLst>
                                          <p:attrName>ppt_y</p:attrName>
                                        </p:attrNameLst>
                                      </p:cBhvr>
                                      <p:tavLst>
                                        <p:tav tm="0">
                                          <p:val>
                                            <p:strVal val="#ppt_y+#ppt_h*1.125000"/>
                                          </p:val>
                                        </p:tav>
                                        <p:tav tm="100000">
                                          <p:val>
                                            <p:strVal val="#ppt_y"/>
                                          </p:val>
                                        </p:tav>
                                      </p:tavLst>
                                    </p:anim>
                                    <p:animEffect transition="in" filter="wipe(up)">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6" grpId="0"/>
      <p:bldP spid="43" grpId="0"/>
      <p:bldP spid="43" grpId="1"/>
      <p:bldP spid="44" grpId="0"/>
      <p:bldP spid="44" grpId="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93634"/>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6" name="TextBox 18"/>
          <p:cNvSpPr>
            <a:spLocks noChangeArrowheads="1"/>
          </p:cNvSpPr>
          <p:nvPr/>
        </p:nvSpPr>
        <p:spPr bwMode="auto">
          <a:xfrm>
            <a:off x="2130733" y="1965196"/>
            <a:ext cx="7012673" cy="222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0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课题组发生接待事项，事先应向科研管理部门（军工业务由先进材料中心）提出。发生的业务接待费用由科研管理部门（军工业务由先进材料中心）负责人审批同意，超过</a:t>
            </a:r>
            <a:r>
              <a:rPr lang="en-US" altLang="zh-CN" sz="1050" b="1" dirty="0">
                <a:ln w="3175">
                  <a:solidFill>
                    <a:schemeClr val="tx1"/>
                  </a:solidFill>
                </a:ln>
                <a:latin typeface="方正风雅宋简体" pitchFamily="2" charset="-122"/>
                <a:ea typeface="方正风雅宋简体" pitchFamily="2" charset="-122"/>
              </a:rPr>
              <a:t>2</a:t>
            </a:r>
            <a:r>
              <a:rPr lang="zh-CN" altLang="zh-CN" sz="1050" b="1" dirty="0">
                <a:ln w="3175">
                  <a:solidFill>
                    <a:schemeClr val="tx1"/>
                  </a:solidFill>
                </a:ln>
                <a:latin typeface="方正风雅宋简体" pitchFamily="2" charset="-122"/>
                <a:ea typeface="方正风雅宋简体" pitchFamily="2" charset="-122"/>
              </a:rPr>
              <a:t>，</a:t>
            </a:r>
            <a:r>
              <a:rPr lang="en-US" altLang="zh-CN" sz="1050" b="1" dirty="0">
                <a:ln w="3175">
                  <a:solidFill>
                    <a:schemeClr val="tx1"/>
                  </a:solidFill>
                </a:ln>
                <a:latin typeface="方正风雅宋简体" pitchFamily="2" charset="-122"/>
                <a:ea typeface="方正风雅宋简体" pitchFamily="2" charset="-122"/>
              </a:rPr>
              <a:t>000</a:t>
            </a:r>
            <a:r>
              <a:rPr lang="zh-CN" altLang="zh-CN" sz="1050" b="1" dirty="0">
                <a:ln w="3175">
                  <a:solidFill>
                    <a:schemeClr val="tx1"/>
                  </a:solidFill>
                </a:ln>
                <a:latin typeface="方正风雅宋简体" pitchFamily="2" charset="-122"/>
                <a:ea typeface="方正风雅宋简体" pitchFamily="2" charset="-122"/>
              </a:rPr>
              <a:t>元还须报相关主管所领导审批同意</a:t>
            </a:r>
            <a:endParaRPr lang="zh-CN" altLang="en-US" sz="1050" b="1" dirty="0">
              <a:ln w="3175">
                <a:solidFill>
                  <a:schemeClr val="tx1"/>
                </a:solidFill>
              </a:ln>
              <a:latin typeface="方正风雅宋简体" pitchFamily="2" charset="-122"/>
              <a:ea typeface="方正风雅宋简体" pitchFamily="2" charset="-122"/>
            </a:endParaRPr>
          </a:p>
          <a:p>
            <a:pPr marL="457200" indent="-457200" fontAlgn="auto">
              <a:lnSpc>
                <a:spcPct val="20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发生所级接待事项，事先应向主管所领导提出，同意后方可执行</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0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挂靠的非法人研究中心发生接待事项，事先应向科研管理部门（军工业务由先进材料中心）提出。发生的业务招待费用由科研管理部门（军工业务由先进材料中心）负责人审批同意，超过</a:t>
            </a:r>
            <a:r>
              <a:rPr lang="en-US" altLang="zh-CN" sz="1050" b="1" dirty="0">
                <a:ln w="3175">
                  <a:solidFill>
                    <a:schemeClr val="tx1"/>
                  </a:solidFill>
                </a:ln>
                <a:latin typeface="方正风雅宋简体" pitchFamily="2" charset="-122"/>
                <a:ea typeface="方正风雅宋简体" pitchFamily="2" charset="-122"/>
              </a:rPr>
              <a:t>2</a:t>
            </a:r>
            <a:r>
              <a:rPr lang="zh-CN" altLang="zh-CN" sz="1050" b="1" dirty="0">
                <a:ln w="3175">
                  <a:solidFill>
                    <a:schemeClr val="tx1"/>
                  </a:solidFill>
                </a:ln>
                <a:latin typeface="方正风雅宋简体" pitchFamily="2" charset="-122"/>
                <a:ea typeface="方正风雅宋简体" pitchFamily="2" charset="-122"/>
              </a:rPr>
              <a:t>，</a:t>
            </a:r>
            <a:r>
              <a:rPr lang="en-US" altLang="zh-CN" sz="1050" b="1" dirty="0">
                <a:ln w="3175">
                  <a:solidFill>
                    <a:schemeClr val="tx1"/>
                  </a:solidFill>
                </a:ln>
                <a:latin typeface="方正风雅宋简体" pitchFamily="2" charset="-122"/>
                <a:ea typeface="方正风雅宋简体" pitchFamily="2" charset="-122"/>
              </a:rPr>
              <a:t>000</a:t>
            </a:r>
            <a:r>
              <a:rPr lang="zh-CN" altLang="zh-CN" sz="1050" b="1" dirty="0">
                <a:ln w="3175">
                  <a:solidFill>
                    <a:schemeClr val="tx1"/>
                  </a:solidFill>
                </a:ln>
                <a:latin typeface="方正风雅宋简体" pitchFamily="2" charset="-122"/>
                <a:ea typeface="方正风雅宋简体" pitchFamily="2" charset="-122"/>
              </a:rPr>
              <a:t>元还须报相关主管所领导审批同意，财务部门登记备案审定</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国内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7" name="矩形 16"/>
          <p:cNvSpPr/>
          <p:nvPr/>
        </p:nvSpPr>
        <p:spPr>
          <a:xfrm>
            <a:off x="53789" y="169527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36442" y="170647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59726" y="170647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60883" y="2356807"/>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63749" y="242281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61544" y="235819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82364" y="307695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31825" y="312209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0875" y="3027843"/>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57330" y="1704713"/>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7938" y="235457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729" y="302941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737" y="3027672"/>
            <a:ext cx="671231" cy="681144"/>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835" y="1679218"/>
            <a:ext cx="656033" cy="673932"/>
          </a:xfrm>
          <a:prstGeom prst="rect">
            <a:avLst/>
          </a:prstGeom>
        </p:spPr>
      </p:pic>
      <p:sp>
        <p:nvSpPr>
          <p:cNvPr id="39" name="矩形 38"/>
          <p:cNvSpPr/>
          <p:nvPr/>
        </p:nvSpPr>
        <p:spPr>
          <a:xfrm>
            <a:off x="74857" y="195997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42479" y="174388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06118" y="3300395"/>
            <a:ext cx="1019854" cy="338554"/>
          </a:xfrm>
          <a:prstGeom prst="rect">
            <a:avLst/>
          </a:prstGeom>
        </p:spPr>
        <p:txBody>
          <a:bodyPr wrap="square">
            <a:spAutoFit/>
          </a:bodyPr>
          <a:lstStyle/>
          <a:p>
            <a:r>
              <a:rPr lang="zh-CN" altLang="en-US" sz="1600" b="1" dirty="0" smtClean="0"/>
              <a:t>审批程序</a:t>
            </a:r>
            <a:endParaRPr lang="zh-CN" altLang="en-US" sz="1600" b="1" dirty="0"/>
          </a:p>
        </p:txBody>
      </p:sp>
      <p:sp>
        <p:nvSpPr>
          <p:cNvPr id="42" name="矩形 41"/>
          <p:cNvSpPr/>
          <p:nvPr/>
        </p:nvSpPr>
        <p:spPr>
          <a:xfrm>
            <a:off x="231805" y="3083709"/>
            <a:ext cx="493844" cy="338554"/>
          </a:xfrm>
          <a:prstGeom prst="rect">
            <a:avLst/>
          </a:prstGeom>
        </p:spPr>
        <p:txBody>
          <a:bodyPr wrap="square">
            <a:spAutoFit/>
          </a:bodyPr>
          <a:lstStyle/>
          <a:p>
            <a:r>
              <a:rPr lang="en-US" altLang="zh-CN" sz="1600" b="1" dirty="0" smtClean="0"/>
              <a:t>04</a:t>
            </a:r>
            <a:endParaRPr lang="zh-CN" altLang="en-US" sz="1600" b="1" dirty="0"/>
          </a:p>
        </p:txBody>
      </p:sp>
      <p:sp>
        <p:nvSpPr>
          <p:cNvPr id="43" name="矩形 42"/>
          <p:cNvSpPr/>
          <p:nvPr/>
        </p:nvSpPr>
        <p:spPr>
          <a:xfrm>
            <a:off x="741114" y="262720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4" name="矩形 43"/>
          <p:cNvSpPr/>
          <p:nvPr/>
        </p:nvSpPr>
        <p:spPr>
          <a:xfrm>
            <a:off x="940996" y="240408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5" name="矩形 44"/>
          <p:cNvSpPr/>
          <p:nvPr/>
        </p:nvSpPr>
        <p:spPr>
          <a:xfrm>
            <a:off x="778004" y="330900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953187" y="309360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47" name="矩形 46"/>
          <p:cNvSpPr/>
          <p:nvPr/>
        </p:nvSpPr>
        <p:spPr>
          <a:xfrm>
            <a:off x="1431825" y="332648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0" name="矩形 49"/>
          <p:cNvSpPr/>
          <p:nvPr/>
        </p:nvSpPr>
        <p:spPr>
          <a:xfrm>
            <a:off x="1594756" y="310297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57918465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3.05556E-6 -0.05741 C 0.00781 -0.0855 0.01614 -0.11358 0.025 -0.14074 C 0.02968 -0.15494 0.03246 -0.17161 0.0375 -0.18519 C 0.03889 -0.19784 0.04132 -0.20648 0.04583 -0.21667 C 0.04913 -0.23426 0.05399 -0.24753 0.05937 -0.26297 C 0.06354 -0.275 0.06614 -0.28797 0.07187 -0.29815 C 0.07587 -0.31574 0.08368 -0.33025 0.09062 -0.34445 C 0.09305 -0.34939 0.09618 -0.35525 0.09791 -0.36111 C 0.09843 -0.36297 0.09826 -0.36513 0.09896 -0.36667 C 0.10642 -0.38334 0.12309 -0.40247 0.13437 -0.40741 C 0.14826 -0.42161 0.16337 -0.42562 0.17916 -0.42963 C 0.25677 -0.42747 0.221 -0.4321 0.25416 -0.42037 C 0.2559 -0.41821 0.26024 -0.41327 0.26146 -0.41111 C 0.26406 -0.40648 0.26406 -0.40093 0.26666 -0.3963 " pathEditMode="relative" rAng="0" ptsTypes="fffffffffffffA">
                                      <p:cBhvr>
                                        <p:cTn id="11" dur="2000" fill="hold"/>
                                        <p:tgtEl>
                                          <p:spTgt spid="42"/>
                                        </p:tgtEl>
                                        <p:attrNameLst>
                                          <p:attrName>ppt_x</p:attrName>
                                          <p:attrName>ppt_y</p:attrName>
                                        </p:attrNameLst>
                                      </p:cBhvr>
                                      <p:rCtr x="13333" y="-18735"/>
                                    </p:animMotion>
                                  </p:childTnLst>
                                </p:cTn>
                              </p:par>
                              <p:par>
                                <p:cTn id="12" presetID="0" presetClass="path" presetSubtype="0" accel="50000" decel="50000" fill="hold" grpId="0" nodeType="withEffect">
                                  <p:stCondLst>
                                    <p:cond delay="0"/>
                                  </p:stCondLst>
                                  <p:childTnLst>
                                    <p:animMotion origin="layout" path="M 2.77778E-6 -0.0574 C 0.00781 -0.08549 0.01614 -0.11358 0.025 -0.14074 C 0.02968 -0.15494 0.03246 -0.1716 0.0375 -0.18518 C 0.03889 -0.19784 0.04132 -0.20648 0.04583 -0.21666 C 0.04913 -0.23426 0.05399 -0.24753 0.05937 -0.26296 C 0.06354 -0.275 0.06614 -0.28796 0.07187 -0.29815 C 0.07587 -0.31574 0.08368 -0.33024 0.09062 -0.34444 C 0.09305 -0.34938 0.09618 -0.35524 0.09791 -0.36111 C 0.09843 -0.36296 0.09826 -0.36512 0.09896 -0.36666 C 0.10642 -0.38333 0.12309 -0.40247 0.13437 -0.4074 C 0.14826 -0.4216 0.16337 -0.42561 0.17916 -0.42963 C 0.25677 -0.42747 0.221 -0.4321 0.25416 -0.42037 C 0.2559 -0.41821 0.26024 -0.41327 0.26146 -0.41111 C 0.26406 -0.40648 0.26406 -0.40092 0.26666 -0.39629 " pathEditMode="relative" rAng="0" ptsTypes="fffffffffffffA">
                                      <p:cBhvr>
                                        <p:cTn id="13" dur="2000" fill="hold"/>
                                        <p:tgtEl>
                                          <p:spTgt spid="41"/>
                                        </p:tgtEl>
                                        <p:attrNameLst>
                                          <p:attrName>ppt_x</p:attrName>
                                          <p:attrName>ppt_y</p:attrName>
                                        </p:attrNameLst>
                                      </p:cBhvr>
                                      <p:rCtr x="13333" y="-18735"/>
                                    </p:animMotion>
                                  </p:childTnLst>
                                </p:cTn>
                              </p:par>
                              <p:par>
                                <p:cTn id="14" presetID="0" presetClass="path" presetSubtype="0" accel="50000" decel="50000" fill="hold" nodeType="withEffect">
                                  <p:stCondLst>
                                    <p:cond delay="0"/>
                                  </p:stCondLst>
                                  <p:childTnLst>
                                    <p:animMotion origin="layout" path="M -1.66667E-6 -0.05741 C 0.00781 -0.08549 0.01615 -0.11358 0.025 -0.14074 C 0.02969 -0.15494 0.03247 -0.17161 0.0375 -0.18519 C 0.03889 -0.19784 0.04132 -0.20648 0.04584 -0.21667 C 0.04913 -0.23426 0.05399 -0.24753 0.05938 -0.26296 C 0.06354 -0.275 0.06615 -0.28796 0.07188 -0.29815 C 0.07587 -0.31574 0.08368 -0.33025 0.09063 -0.34444 C 0.09306 -0.34938 0.09618 -0.35525 0.09792 -0.36111 C 0.09844 -0.36296 0.09827 -0.36512 0.09896 -0.36667 C 0.10643 -0.38333 0.12309 -0.40247 0.13438 -0.40741 C 0.14827 -0.42161 0.16337 -0.42562 0.17917 -0.42963 C 0.25677 -0.42747 0.22101 -0.4321 0.25417 -0.42037 C 0.2559 -0.41821 0.26024 -0.41327 0.26146 -0.41111 C 0.26406 -0.40648 0.26406 -0.40093 0.26667 -0.3963 " pathEditMode="relative" rAng="0" ptsTypes="fffffffffffffA">
                                      <p:cBhvr>
                                        <p:cTn id="15" dur="2000" fill="hold"/>
                                        <p:tgtEl>
                                          <p:spTgt spid="37"/>
                                        </p:tgtEl>
                                        <p:attrNameLst>
                                          <p:attrName>ppt_x</p:attrName>
                                          <p:attrName>ppt_y</p:attrName>
                                        </p:attrNameLst>
                                      </p:cBhvr>
                                      <p:rCtr x="13333" y="-18735"/>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42"/>
                                        </p:tgtEl>
                                      </p:cBhvr>
                                      <p:by x="150000" y="150000"/>
                                    </p:animScale>
                                  </p:childTnLst>
                                </p:cTn>
                              </p:par>
                              <p:par>
                                <p:cTn id="19" presetID="6" presetClass="emph" presetSubtype="0" fill="hold" grpId="1" nodeType="withEffect">
                                  <p:stCondLst>
                                    <p:cond delay="0"/>
                                  </p:stCondLst>
                                  <p:childTnLst>
                                    <p:animScale>
                                      <p:cBhvr>
                                        <p:cTn id="20" dur="2000" fill="hold"/>
                                        <p:tgtEl>
                                          <p:spTgt spid="41"/>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p:tgtEl>
                                          <p:spTgt spid="16"/>
                                        </p:tgtEl>
                                        <p:attrNameLst>
                                          <p:attrName>ppt_y</p:attrName>
                                        </p:attrNameLst>
                                      </p:cBhvr>
                                      <p:tavLst>
                                        <p:tav tm="0">
                                          <p:val>
                                            <p:strVal val="#ppt_y+#ppt_h*1.125000"/>
                                          </p:val>
                                        </p:tav>
                                        <p:tav tm="100000">
                                          <p:val>
                                            <p:strVal val="#ppt_y"/>
                                          </p:val>
                                        </p:tav>
                                      </p:tavLst>
                                    </p:anim>
                                    <p:animEffect transition="in" filter="wipe(up)">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6" grpId="0"/>
      <p:bldP spid="41" grpId="0"/>
      <p:bldP spid="41" grpId="1"/>
      <p:bldP spid="42" grpId="0"/>
      <p:bldP spid="42"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069200"/>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46009"/>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6" name="TextBox 18"/>
          <p:cNvSpPr>
            <a:spLocks noChangeArrowheads="1"/>
          </p:cNvSpPr>
          <p:nvPr/>
        </p:nvSpPr>
        <p:spPr bwMode="auto">
          <a:xfrm>
            <a:off x="2155981" y="1838004"/>
            <a:ext cx="5483069" cy="1498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信息公开：除涉密内容和事项外，按年度在所的相关范围内予以公开</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检查：由监察审计室、党政办公室、资产财务处组成检查组，结束后形成检查报告报所务会议通过</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国内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7" name="矩形 16"/>
          <p:cNvSpPr/>
          <p:nvPr/>
        </p:nvSpPr>
        <p:spPr>
          <a:xfrm>
            <a:off x="63314" y="1666702"/>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45967" y="1677897"/>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69251" y="1677897"/>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70408" y="2328232"/>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73274" y="2394242"/>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71069" y="2329622"/>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91889" y="3048384"/>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60400" y="3093522"/>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3943" y="3008649"/>
            <a:ext cx="702038"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66855" y="1676138"/>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7463" y="2326000"/>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9254" y="3000844"/>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262" y="2999097"/>
            <a:ext cx="671231" cy="681144"/>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360" y="1650643"/>
            <a:ext cx="656033" cy="673932"/>
          </a:xfrm>
          <a:prstGeom prst="rect">
            <a:avLst/>
          </a:prstGeom>
        </p:spPr>
      </p:pic>
      <p:sp>
        <p:nvSpPr>
          <p:cNvPr id="39" name="矩形 38"/>
          <p:cNvSpPr/>
          <p:nvPr/>
        </p:nvSpPr>
        <p:spPr>
          <a:xfrm>
            <a:off x="84382" y="1931398"/>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52004" y="1715314"/>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492966" y="1958502"/>
            <a:ext cx="1030043"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2" name="矩形 41"/>
          <p:cNvSpPr/>
          <p:nvPr/>
        </p:nvSpPr>
        <p:spPr>
          <a:xfrm>
            <a:off x="1682291" y="1733575"/>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3" name="矩形 42"/>
          <p:cNvSpPr/>
          <p:nvPr/>
        </p:nvSpPr>
        <p:spPr>
          <a:xfrm>
            <a:off x="84382" y="3271820"/>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4" name="矩形 43"/>
          <p:cNvSpPr/>
          <p:nvPr/>
        </p:nvSpPr>
        <p:spPr>
          <a:xfrm>
            <a:off x="279430" y="3055134"/>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5" name="矩形 44"/>
          <p:cNvSpPr/>
          <p:nvPr/>
        </p:nvSpPr>
        <p:spPr>
          <a:xfrm>
            <a:off x="750639" y="2598628"/>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6" name="矩形 45"/>
          <p:cNvSpPr/>
          <p:nvPr/>
        </p:nvSpPr>
        <p:spPr>
          <a:xfrm>
            <a:off x="950521" y="2375514"/>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7" name="矩形 46"/>
          <p:cNvSpPr/>
          <p:nvPr/>
        </p:nvSpPr>
        <p:spPr>
          <a:xfrm>
            <a:off x="616078" y="3280434"/>
            <a:ext cx="1031734" cy="338554"/>
          </a:xfrm>
          <a:prstGeom prst="rect">
            <a:avLst/>
          </a:prstGeom>
        </p:spPr>
        <p:txBody>
          <a:bodyPr wrap="square">
            <a:spAutoFit/>
          </a:bodyPr>
          <a:lstStyle/>
          <a:p>
            <a:r>
              <a:rPr lang="zh-CN" altLang="en-US" sz="1600" b="1" dirty="0" smtClean="0"/>
              <a:t>监督检查</a:t>
            </a:r>
            <a:endParaRPr lang="zh-CN" altLang="en-US" sz="1600" b="1" dirty="0"/>
          </a:p>
        </p:txBody>
      </p:sp>
      <p:sp>
        <p:nvSpPr>
          <p:cNvPr id="50" name="矩形 49"/>
          <p:cNvSpPr/>
          <p:nvPr/>
        </p:nvSpPr>
        <p:spPr>
          <a:xfrm>
            <a:off x="924612" y="3045982"/>
            <a:ext cx="401736" cy="338554"/>
          </a:xfrm>
          <a:prstGeom prst="rect">
            <a:avLst/>
          </a:prstGeom>
        </p:spPr>
        <p:txBody>
          <a:bodyPr wrap="square">
            <a:spAutoFit/>
          </a:bodyPr>
          <a:lstStyle/>
          <a:p>
            <a:r>
              <a:rPr lang="en-US" altLang="zh-CN" sz="1600" b="1" dirty="0" smtClean="0"/>
              <a:t>05</a:t>
            </a:r>
            <a:endParaRPr lang="zh-CN" altLang="en-US" sz="1600" b="1" dirty="0"/>
          </a:p>
        </p:txBody>
      </p:sp>
      <p:sp>
        <p:nvSpPr>
          <p:cNvPr id="51" name="矩形 50"/>
          <p:cNvSpPr/>
          <p:nvPr/>
        </p:nvSpPr>
        <p:spPr>
          <a:xfrm>
            <a:off x="1441350" y="3297908"/>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2" name="矩形 51"/>
          <p:cNvSpPr/>
          <p:nvPr/>
        </p:nvSpPr>
        <p:spPr>
          <a:xfrm>
            <a:off x="1604281" y="3074398"/>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165328507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979 -0.05926 C -0.01858 -0.06944 -0.01754 -0.07253 -0.01354 -0.07963 C -0.01094 -0.09352 -0.00486 -0.10247 -0.00104 -0.11481 C 0.00434 -0.1321 0.00764 -0.15093 0.0125 -0.16852 C 0.01857 -0.19012 0.02465 -0.21111 0.03229 -0.23148 C 0.0335 -0.24074 0.03576 -0.24383 0.03854 -0.25185 C 0.04323 -0.26512 0.04809 -0.2858 0.05521 -0.29444 C 0.06666 -0.325 0.08038 -0.35772 0.09896 -0.37407 C 0.10659 -0.38086 0.11892 -0.3963 0.12812 -0.3963 C 0.14791 -0.3963 0.16771 -0.3963 0.1875 -0.3963 " pathEditMode="relative" rAng="0" ptsTypes="fffffffffA">
                                      <p:cBhvr>
                                        <p:cTn id="11" dur="2000" fill="hold"/>
                                        <p:tgtEl>
                                          <p:spTgt spid="50"/>
                                        </p:tgtEl>
                                        <p:attrNameLst>
                                          <p:attrName>ppt_x</p:attrName>
                                          <p:attrName>ppt_y</p:attrName>
                                        </p:attrNameLst>
                                      </p:cBhvr>
                                      <p:rCtr x="10365" y="-16852"/>
                                    </p:animMotion>
                                  </p:childTnLst>
                                </p:cTn>
                              </p:par>
                              <p:par>
                                <p:cTn id="12" presetID="0" presetClass="path" presetSubtype="0" accel="50000" decel="50000" fill="hold" grpId="0" nodeType="withEffect">
                                  <p:stCondLst>
                                    <p:cond delay="0"/>
                                  </p:stCondLst>
                                  <p:childTnLst>
                                    <p:animMotion origin="layout" path="M -0.01979 -0.05926 C -0.01857 -0.06945 -0.01753 -0.07253 -0.01354 -0.07963 C -0.01093 -0.09352 -0.00486 -0.10247 -0.00104 -0.11482 C 0.00435 -0.1321 0.00764 -0.15093 0.0125 -0.16852 C 0.01858 -0.19012 0.02466 -0.21111 0.0323 -0.23148 C 0.03351 -0.24074 0.03577 -0.24383 0.03855 -0.25185 C 0.04323 -0.26512 0.0481 -0.2858 0.05521 -0.29445 C 0.06667 -0.325 0.08039 -0.35772 0.09896 -0.37408 C 0.1066 -0.38087 0.11893 -0.3963 0.12813 -0.3963 C 0.14792 -0.3963 0.16771 -0.3963 0.1875 -0.3963 " pathEditMode="relative" rAng="0" ptsTypes="fffffffffA">
                                      <p:cBhvr>
                                        <p:cTn id="13" dur="2000" fill="hold"/>
                                        <p:tgtEl>
                                          <p:spTgt spid="47"/>
                                        </p:tgtEl>
                                        <p:attrNameLst>
                                          <p:attrName>ppt_x</p:attrName>
                                          <p:attrName>ppt_y</p:attrName>
                                        </p:attrNameLst>
                                      </p:cBhvr>
                                      <p:rCtr x="10365" y="-16852"/>
                                    </p:animMotion>
                                  </p:childTnLst>
                                </p:cTn>
                              </p:par>
                              <p:par>
                                <p:cTn id="14" presetID="0" presetClass="path" presetSubtype="0" accel="50000" decel="50000" fill="hold" nodeType="withEffect">
                                  <p:stCondLst>
                                    <p:cond delay="0"/>
                                  </p:stCondLst>
                                  <p:childTnLst>
                                    <p:animMotion origin="layout" path="M -0.01979 -0.05926 C -0.01858 -0.06944 -0.01754 -0.07253 -0.01354 -0.07963 C -0.01094 -0.09352 -0.00486 -0.10247 -0.00104 -0.11481 C 0.00434 -0.1321 0.00764 -0.15093 0.0125 -0.16852 C 0.01857 -0.19012 0.02465 -0.21111 0.03229 -0.23148 C 0.0335 -0.24074 0.03576 -0.24383 0.03854 -0.25185 C 0.04323 -0.26512 0.04809 -0.2858 0.05521 -0.29444 C 0.06666 -0.325 0.08038 -0.35772 0.09896 -0.37407 C 0.10659 -0.38086 0.11892 -0.3963 0.12812 -0.3963 C 0.14791 -0.3963 0.16771 -0.3963 0.1875 -0.3963 " pathEditMode="relative" rAng="0" ptsTypes="fffffffffA">
                                      <p:cBhvr>
                                        <p:cTn id="15" dur="2000" fill="hold"/>
                                        <p:tgtEl>
                                          <p:spTgt spid="36"/>
                                        </p:tgtEl>
                                        <p:attrNameLst>
                                          <p:attrName>ppt_x</p:attrName>
                                          <p:attrName>ppt_y</p:attrName>
                                        </p:attrNameLst>
                                      </p:cBhvr>
                                      <p:rCtr x="10365" y="-16852"/>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50"/>
                                        </p:tgtEl>
                                      </p:cBhvr>
                                      <p:by x="150000" y="150000"/>
                                    </p:animScale>
                                  </p:childTnLst>
                                </p:cTn>
                              </p:par>
                              <p:par>
                                <p:cTn id="19" presetID="6" presetClass="emph" presetSubtype="0" fill="hold" grpId="1" nodeType="withEffect">
                                  <p:stCondLst>
                                    <p:cond delay="0"/>
                                  </p:stCondLst>
                                  <p:childTnLst>
                                    <p:animScale>
                                      <p:cBhvr>
                                        <p:cTn id="20" dur="2000" fill="hold"/>
                                        <p:tgtEl>
                                          <p:spTgt spid="47"/>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p:tgtEl>
                                          <p:spTgt spid="16"/>
                                        </p:tgtEl>
                                        <p:attrNameLst>
                                          <p:attrName>ppt_y</p:attrName>
                                        </p:attrNameLst>
                                      </p:cBhvr>
                                      <p:tavLst>
                                        <p:tav tm="0">
                                          <p:val>
                                            <p:strVal val="#ppt_y+#ppt_h*1.125000"/>
                                          </p:val>
                                        </p:tav>
                                        <p:tav tm="100000">
                                          <p:val>
                                            <p:strVal val="#ppt_y"/>
                                          </p:val>
                                        </p:tav>
                                      </p:tavLst>
                                    </p:anim>
                                    <p:animEffect transition="in" filter="wipe(up)">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6" grpId="0"/>
      <p:bldP spid="47" grpId="0"/>
      <p:bldP spid="47" grpId="1"/>
      <p:bldP spid="50" grpId="0"/>
      <p:bldP spid="50" grpId="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322" y="893634"/>
            <a:ext cx="1456638" cy="833437"/>
          </a:xfrm>
          <a:prstGeom prst="rect">
            <a:avLst/>
          </a:prstGeom>
        </p:spPr>
      </p:pic>
      <p:pic>
        <p:nvPicPr>
          <p:cNvPr id="48" name="图片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
        <p:nvSpPr>
          <p:cNvPr id="16" name="TextBox 18"/>
          <p:cNvSpPr>
            <a:spLocks noChangeArrowheads="1"/>
          </p:cNvSpPr>
          <p:nvPr/>
        </p:nvSpPr>
        <p:spPr bwMode="auto">
          <a:xfrm>
            <a:off x="2155980" y="1660396"/>
            <a:ext cx="6987426" cy="291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住宿费：需在邀请函中明确，按差旅费规定标准安排</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交通费：需在邀请函中明确，按差旅费规定标准安排</a:t>
            </a:r>
            <a:endParaRPr lang="en-US" altLang="zh-CN" sz="1050" b="1" dirty="0">
              <a:ln w="3175">
                <a:solidFill>
                  <a:schemeClr val="tx1"/>
                </a:solidFill>
              </a:ln>
              <a:latin typeface="方正风雅宋简体" pitchFamily="2" charset="-122"/>
              <a:ea typeface="方正风雅宋简体" pitchFamily="2" charset="-122"/>
            </a:endParaRPr>
          </a:p>
          <a:p>
            <a:pPr>
              <a:lnSpc>
                <a:spcPct val="120000"/>
              </a:lnSpc>
            </a:pPr>
            <a:r>
              <a:rPr lang="zh-CN" altLang="en-US" sz="1100" b="1" dirty="0">
                <a:solidFill>
                  <a:srgbClr val="FF0000"/>
                </a:solidFill>
                <a:latin typeface="方正粗雅宋_GBK" pitchFamily="2" charset="-122"/>
                <a:ea typeface="方正粗雅宋_GBK" pitchFamily="2" charset="-122"/>
              </a:rPr>
              <a:t> </a:t>
            </a:r>
            <a:r>
              <a:rPr lang="zh-CN" altLang="en-US" sz="1100" b="1" dirty="0" smtClean="0">
                <a:solidFill>
                  <a:srgbClr val="FF0000"/>
                </a:solidFill>
                <a:latin typeface="方正粗雅宋_GBK" pitchFamily="2" charset="-122"/>
                <a:ea typeface="方正粗雅宋_GBK" pitchFamily="2" charset="-122"/>
              </a:rPr>
              <a:t>      </a:t>
            </a:r>
            <a:r>
              <a:rPr lang="zh-CN" altLang="en-US" sz="1050" b="1" dirty="0" smtClean="0">
                <a:solidFill>
                  <a:srgbClr val="FF0000"/>
                </a:solidFill>
                <a:latin typeface="方正粗雅宋_GBK" pitchFamily="2" charset="-122"/>
                <a:ea typeface="方正粗雅宋_GBK" pitchFamily="2" charset="-122"/>
              </a:rPr>
              <a:t>接待</a:t>
            </a:r>
            <a:r>
              <a:rPr lang="zh-CN" altLang="en-US" sz="1050" b="1" dirty="0">
                <a:solidFill>
                  <a:srgbClr val="FF0000"/>
                </a:solidFill>
                <a:latin typeface="方正粗雅宋_GBK" pitchFamily="2" charset="-122"/>
                <a:ea typeface="方正粗雅宋_GBK" pitchFamily="2" charset="-122"/>
              </a:rPr>
              <a:t>对象应按规定自行用餐，确需安排的，可安排一次工作餐</a:t>
            </a:r>
            <a:endParaRPr lang="en-US" altLang="zh-CN" sz="1050" b="1" dirty="0">
              <a:solidFill>
                <a:srgbClr val="FF0000"/>
              </a:solidFill>
              <a:latin typeface="方正粗雅宋_GBK" pitchFamily="2" charset="-122"/>
              <a:ea typeface="方正粗雅宋_GBK"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用餐要求：家常菜</a:t>
            </a:r>
            <a:r>
              <a:rPr lang="zh-CN" altLang="zh-CN" sz="1050" b="1" dirty="0">
                <a:ln w="3175">
                  <a:solidFill>
                    <a:schemeClr val="tx1"/>
                  </a:solidFill>
                </a:ln>
                <a:latin typeface="方正风雅宋简体" pitchFamily="2" charset="-122"/>
                <a:ea typeface="方正风雅宋简体" pitchFamily="2" charset="-122"/>
              </a:rPr>
              <a:t>，</a:t>
            </a:r>
            <a:r>
              <a:rPr lang="zh-CN" altLang="en-US" sz="1050" b="1" dirty="0">
                <a:ln w="3175">
                  <a:solidFill>
                    <a:schemeClr val="tx1"/>
                  </a:solidFill>
                </a:ln>
                <a:latin typeface="方正风雅宋简体" pitchFamily="2" charset="-122"/>
                <a:ea typeface="方正风雅宋简体" pitchFamily="2" charset="-122"/>
              </a:rPr>
              <a:t>不得提供鱼翅燕窝等高档菜肴和野生动物制作的菜肴，不得提供香烟和高档酒水</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接待标准：</a:t>
            </a:r>
            <a:r>
              <a:rPr lang="zh-CN" altLang="zh-CN" sz="1050" b="1" dirty="0">
                <a:ln w="3175">
                  <a:solidFill>
                    <a:schemeClr val="tx1"/>
                  </a:solidFill>
                </a:ln>
                <a:latin typeface="方正风雅宋简体" pitchFamily="2" charset="-122"/>
                <a:ea typeface="方正风雅宋简体" pitchFamily="2" charset="-122"/>
              </a:rPr>
              <a:t>每人不高于</a:t>
            </a:r>
            <a:r>
              <a:rPr lang="zh-CN" altLang="en-US" sz="1050" b="1" dirty="0">
                <a:ln w="3175">
                  <a:solidFill>
                    <a:schemeClr val="tx1"/>
                  </a:solidFill>
                </a:ln>
                <a:latin typeface="方正风雅宋简体" pitchFamily="2" charset="-122"/>
                <a:ea typeface="方正风雅宋简体" pitchFamily="2" charset="-122"/>
              </a:rPr>
              <a:t>２</a:t>
            </a:r>
            <a:r>
              <a:rPr lang="en-US" altLang="zh-CN" sz="1050" b="1" dirty="0">
                <a:ln w="3175">
                  <a:solidFill>
                    <a:schemeClr val="tx1"/>
                  </a:solidFill>
                </a:ln>
                <a:latin typeface="方正风雅宋简体" pitchFamily="2" charset="-122"/>
                <a:ea typeface="方正风雅宋简体" pitchFamily="2" charset="-122"/>
              </a:rPr>
              <a:t>00</a:t>
            </a:r>
            <a:r>
              <a:rPr lang="zh-CN" altLang="zh-CN" sz="1050" b="1" dirty="0">
                <a:ln w="3175">
                  <a:solidFill>
                    <a:schemeClr val="tx1"/>
                  </a:solidFill>
                </a:ln>
                <a:latin typeface="方正风雅宋简体" pitchFamily="2" charset="-122"/>
                <a:ea typeface="方正风雅宋简体" pitchFamily="2" charset="-122"/>
              </a:rPr>
              <a:t>元</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陪同人数：１０人内，陪３人以内；超过１０人，陪同不超过三分之一</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用餐场所：确需在外安排的，不得使用私人场所和高消费餐饮场所</a:t>
            </a:r>
            <a:endParaRPr lang="en-US" altLang="zh-CN"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5"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国内接待</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51" name="矩形 50"/>
          <p:cNvSpPr/>
          <p:nvPr/>
        </p:nvSpPr>
        <p:spPr>
          <a:xfrm>
            <a:off x="34739" y="17143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52" name="矩形 51"/>
          <p:cNvSpPr/>
          <p:nvPr/>
        </p:nvSpPr>
        <p:spPr>
          <a:xfrm>
            <a:off x="717392" y="17255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53" name="矩形 52"/>
          <p:cNvSpPr/>
          <p:nvPr/>
        </p:nvSpPr>
        <p:spPr>
          <a:xfrm>
            <a:off x="1440676" y="172552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54" name="矩形 53"/>
          <p:cNvSpPr/>
          <p:nvPr/>
        </p:nvSpPr>
        <p:spPr>
          <a:xfrm>
            <a:off x="41833" y="2375857"/>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55" name="矩形 54"/>
          <p:cNvSpPr/>
          <p:nvPr/>
        </p:nvSpPr>
        <p:spPr>
          <a:xfrm>
            <a:off x="744699" y="24418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56" name="矩形 55"/>
          <p:cNvSpPr/>
          <p:nvPr/>
        </p:nvSpPr>
        <p:spPr>
          <a:xfrm>
            <a:off x="1442494" y="23772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57" name="矩形 56"/>
          <p:cNvSpPr/>
          <p:nvPr/>
        </p:nvSpPr>
        <p:spPr>
          <a:xfrm>
            <a:off x="63314" y="30960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58" name="矩形 57"/>
          <p:cNvSpPr/>
          <p:nvPr/>
        </p:nvSpPr>
        <p:spPr>
          <a:xfrm>
            <a:off x="1412774" y="3067434"/>
            <a:ext cx="693567" cy="631857"/>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59" name="图片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1150" y="3038944"/>
            <a:ext cx="675191" cy="661924"/>
          </a:xfrm>
          <a:prstGeom prst="rect">
            <a:avLst/>
          </a:prstGeom>
        </p:spPr>
      </p:pic>
      <p:pic>
        <p:nvPicPr>
          <p:cNvPr id="60" name="图片 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38280" y="1723763"/>
            <a:ext cx="668061" cy="643870"/>
          </a:xfrm>
          <a:prstGeom prst="rect">
            <a:avLst/>
          </a:prstGeom>
        </p:spPr>
      </p:pic>
      <p:pic>
        <p:nvPicPr>
          <p:cNvPr id="61" name="图片 6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8888" y="2373625"/>
            <a:ext cx="698394" cy="673267"/>
          </a:xfrm>
          <a:prstGeom prst="rect">
            <a:avLst/>
          </a:prstGeom>
        </p:spPr>
      </p:pic>
      <p:pic>
        <p:nvPicPr>
          <p:cNvPr id="62" name="图片 6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0679" y="3048469"/>
            <a:ext cx="671145" cy="661924"/>
          </a:xfrm>
          <a:prstGeom prst="rect">
            <a:avLst/>
          </a:prstGeom>
        </p:spPr>
      </p:pic>
      <p:pic>
        <p:nvPicPr>
          <p:cNvPr id="63" name="图片 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87" y="3046722"/>
            <a:ext cx="671231" cy="681144"/>
          </a:xfrm>
          <a:prstGeom prst="rect">
            <a:avLst/>
          </a:prstGeom>
        </p:spPr>
      </p:pic>
      <p:pic>
        <p:nvPicPr>
          <p:cNvPr id="64" name="图片 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785" y="1698268"/>
            <a:ext cx="656033" cy="673932"/>
          </a:xfrm>
          <a:prstGeom prst="rect">
            <a:avLst/>
          </a:prstGeom>
        </p:spPr>
      </p:pic>
      <p:sp>
        <p:nvSpPr>
          <p:cNvPr id="65" name="矩形 64"/>
          <p:cNvSpPr/>
          <p:nvPr/>
        </p:nvSpPr>
        <p:spPr>
          <a:xfrm>
            <a:off x="55807" y="197902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66" name="矩形 65"/>
          <p:cNvSpPr/>
          <p:nvPr/>
        </p:nvSpPr>
        <p:spPr>
          <a:xfrm>
            <a:off x="223429" y="176293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67" name="矩形 66"/>
          <p:cNvSpPr/>
          <p:nvPr/>
        </p:nvSpPr>
        <p:spPr>
          <a:xfrm>
            <a:off x="1653716" y="1781200"/>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68" name="矩形 67"/>
          <p:cNvSpPr/>
          <p:nvPr/>
        </p:nvSpPr>
        <p:spPr>
          <a:xfrm>
            <a:off x="55807" y="33194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69" name="矩形 68"/>
          <p:cNvSpPr/>
          <p:nvPr/>
        </p:nvSpPr>
        <p:spPr>
          <a:xfrm>
            <a:off x="250855" y="31027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70" name="矩形 69"/>
          <p:cNvSpPr/>
          <p:nvPr/>
        </p:nvSpPr>
        <p:spPr>
          <a:xfrm>
            <a:off x="722064" y="26462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71" name="矩形 70"/>
          <p:cNvSpPr/>
          <p:nvPr/>
        </p:nvSpPr>
        <p:spPr>
          <a:xfrm>
            <a:off x="921946" y="24231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72" name="矩形 71"/>
          <p:cNvSpPr/>
          <p:nvPr/>
        </p:nvSpPr>
        <p:spPr>
          <a:xfrm>
            <a:off x="758954" y="33280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73" name="矩形 72"/>
          <p:cNvSpPr/>
          <p:nvPr/>
        </p:nvSpPr>
        <p:spPr>
          <a:xfrm>
            <a:off x="934137" y="31126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74" name="矩形 73"/>
          <p:cNvSpPr/>
          <p:nvPr/>
        </p:nvSpPr>
        <p:spPr>
          <a:xfrm>
            <a:off x="1250850" y="3355058"/>
            <a:ext cx="1035150" cy="338554"/>
          </a:xfrm>
          <a:prstGeom prst="rect">
            <a:avLst/>
          </a:prstGeom>
        </p:spPr>
        <p:txBody>
          <a:bodyPr wrap="square">
            <a:spAutoFit/>
          </a:bodyPr>
          <a:lstStyle/>
          <a:p>
            <a:r>
              <a:rPr lang="zh-CN" altLang="en-US" sz="1600" b="1" dirty="0" smtClean="0"/>
              <a:t>接待标准</a:t>
            </a:r>
            <a:endParaRPr lang="zh-CN" altLang="en-US" sz="1600" b="1" dirty="0"/>
          </a:p>
        </p:txBody>
      </p:sp>
      <p:sp>
        <p:nvSpPr>
          <p:cNvPr id="75" name="矩形 74"/>
          <p:cNvSpPr/>
          <p:nvPr/>
        </p:nvSpPr>
        <p:spPr>
          <a:xfrm>
            <a:off x="1575706" y="3093448"/>
            <a:ext cx="429963" cy="338554"/>
          </a:xfrm>
          <a:prstGeom prst="rect">
            <a:avLst/>
          </a:prstGeom>
        </p:spPr>
        <p:txBody>
          <a:bodyPr wrap="square">
            <a:spAutoFit/>
          </a:bodyPr>
          <a:lstStyle/>
          <a:p>
            <a:r>
              <a:rPr lang="en-US" altLang="zh-CN" sz="1600" b="1" dirty="0" smtClean="0"/>
              <a:t>06</a:t>
            </a:r>
            <a:endParaRPr lang="zh-CN" altLang="en-US" sz="1600" b="1" dirty="0"/>
          </a:p>
        </p:txBody>
      </p:sp>
    </p:spTree>
    <p:extLst>
      <p:ext uri="{BB962C8B-B14F-4D97-AF65-F5344CB8AC3E}">
        <p14:creationId xmlns:p14="http://schemas.microsoft.com/office/powerpoint/2010/main" val="423216929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145 -0.05 C -0.01007 -0.07994 -0.00955 -0.14506 -0.00312 -0.17377 C -0.00191 -0.19167 -0.00156 -0.22161 0.00313 -0.23858 C 0.00434 -0.25401 0.00573 -0.27315 0.01042 -0.28673 C 0.01233 -0.29228 0.01511 -0.29568 0.01667 -0.30154 C 0.01806 -0.30679 0.0191 -0.31358 0.02084 -0.31821 C 0.02448 -0.32778 0.02535 -0.32006 0.02813 -0.33488 C 0.03039 -0.34661 0.03768 -0.35062 0.04063 -0.3608 C 0.04323 -0.37006 0.0415 -0.36667 0.04584 -0.37191 C 0.04861 -0.37932 0.05139 -0.37901 0.05521 -0.38488 C 0.06042 -0.39259 0.06528 -0.39846 0.07188 -0.40154 C 0.07622 -0.40679 0.08125 -0.41049 0.08646 -0.41266 C 0.09792 -0.41204 0.11545 -0.41852 0.125 -0.40154 " pathEditMode="relative" rAng="0" ptsTypes="ffffffffffffA">
                                      <p:cBhvr>
                                        <p:cTn id="11" dur="2000" fill="hold"/>
                                        <p:tgtEl>
                                          <p:spTgt spid="75"/>
                                        </p:tgtEl>
                                        <p:attrNameLst>
                                          <p:attrName>ppt_x</p:attrName>
                                          <p:attrName>ppt_y</p:attrName>
                                        </p:attrNameLst>
                                      </p:cBhvr>
                                      <p:rCtr x="6823" y="-18426"/>
                                    </p:animMotion>
                                  </p:childTnLst>
                                </p:cTn>
                              </p:par>
                              <p:par>
                                <p:cTn id="12" presetID="0" presetClass="path" presetSubtype="0" accel="50000" decel="50000" fill="hold" grpId="0" nodeType="withEffect">
                                  <p:stCondLst>
                                    <p:cond delay="0"/>
                                  </p:stCondLst>
                                  <p:childTnLst>
                                    <p:animMotion origin="layout" path="M -0.01146 -0.05 C -0.01007 -0.07994 -0.00955 -0.14507 -0.00312 -0.17377 C -0.00191 -0.19167 -0.00156 -0.22161 0.00313 -0.23859 C 0.00434 -0.25402 0.00573 -0.27315 0.01042 -0.28673 C 0.01233 -0.29229 0.01511 -0.29568 0.01667 -0.30155 C 0.01806 -0.30679 0.0191 -0.31359 0.02084 -0.31821 C 0.02448 -0.32778 0.02535 -0.32007 0.02813 -0.33488 C 0.03038 -0.34661 0.03768 -0.35062 0.04063 -0.36081 C 0.04323 -0.37007 0.0415 -0.36667 0.04584 -0.37192 C 0.04861 -0.37933 0.05139 -0.37902 0.05521 -0.38488 C 0.06042 -0.3926 0.06528 -0.39846 0.07188 -0.40155 C 0.07622 -0.40679 0.08125 -0.4105 0.08646 -0.41266 C 0.09792 -0.41204 0.11545 -0.41852 0.125 -0.40155 " pathEditMode="relative" rAng="0" ptsTypes="ffffffffffffA">
                                      <p:cBhvr>
                                        <p:cTn id="13" dur="2000" fill="hold"/>
                                        <p:tgtEl>
                                          <p:spTgt spid="74"/>
                                        </p:tgtEl>
                                        <p:attrNameLst>
                                          <p:attrName>ppt_x</p:attrName>
                                          <p:attrName>ppt_y</p:attrName>
                                        </p:attrNameLst>
                                      </p:cBhvr>
                                      <p:rCtr x="6823" y="-18426"/>
                                    </p:animMotion>
                                  </p:childTnLst>
                                </p:cTn>
                              </p:par>
                              <p:par>
                                <p:cTn id="14" presetID="0" presetClass="path" presetSubtype="0" accel="50000" decel="50000" fill="hold" nodeType="withEffect">
                                  <p:stCondLst>
                                    <p:cond delay="0"/>
                                  </p:stCondLst>
                                  <p:childTnLst>
                                    <p:animMotion origin="layout" path="M -0.01146 -0.05 C -0.01007 -0.07994 -0.00955 -0.14506 -0.00313 -0.17376 C -0.00191 -0.19167 -0.00156 -0.2216 0.00312 -0.23858 C 0.00434 -0.25401 0.00573 -0.27315 0.01042 -0.28673 C 0.01232 -0.29228 0.0151 -0.29568 0.01667 -0.30154 C 0.01805 -0.30679 0.0191 -0.31358 0.02083 -0.31821 C 0.02448 -0.32778 0.02535 -0.32006 0.02812 -0.33488 C 0.03038 -0.3466 0.03767 -0.35062 0.04062 -0.3608 C 0.04323 -0.37006 0.04149 -0.36667 0.04583 -0.37191 C 0.04861 -0.37932 0.05139 -0.37901 0.05521 -0.38488 C 0.06042 -0.39259 0.06528 -0.39846 0.07187 -0.40154 C 0.07621 -0.40679 0.08125 -0.41049 0.08646 -0.41265 C 0.09792 -0.41204 0.11545 -0.41852 0.125 -0.40154 " pathEditMode="relative" rAng="0" ptsTypes="ffffffffffffA">
                                      <p:cBhvr>
                                        <p:cTn id="15" dur="2000" fill="hold"/>
                                        <p:tgtEl>
                                          <p:spTgt spid="59"/>
                                        </p:tgtEl>
                                        <p:attrNameLst>
                                          <p:attrName>ppt_x</p:attrName>
                                          <p:attrName>ppt_y</p:attrName>
                                        </p:attrNameLst>
                                      </p:cBhvr>
                                      <p:rCtr x="6823" y="-18426"/>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75"/>
                                        </p:tgtEl>
                                      </p:cBhvr>
                                      <p:by x="150000" y="150000"/>
                                    </p:animScale>
                                  </p:childTnLst>
                                </p:cTn>
                              </p:par>
                              <p:par>
                                <p:cTn id="19" presetID="6" presetClass="emph" presetSubtype="0" fill="hold" grpId="1" nodeType="withEffect">
                                  <p:stCondLst>
                                    <p:cond delay="0"/>
                                  </p:stCondLst>
                                  <p:childTnLst>
                                    <p:animScale>
                                      <p:cBhvr>
                                        <p:cTn id="20" dur="2000" fill="hold"/>
                                        <p:tgtEl>
                                          <p:spTgt spid="74"/>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p:tgtEl>
                                          <p:spTgt spid="16"/>
                                        </p:tgtEl>
                                        <p:attrNameLst>
                                          <p:attrName>ppt_y</p:attrName>
                                        </p:attrNameLst>
                                      </p:cBhvr>
                                      <p:tavLst>
                                        <p:tav tm="0">
                                          <p:val>
                                            <p:strVal val="#ppt_y+#ppt_h*1.125000"/>
                                          </p:val>
                                        </p:tav>
                                        <p:tav tm="100000">
                                          <p:val>
                                            <p:strVal val="#ppt_y"/>
                                          </p:val>
                                        </p:tav>
                                      </p:tavLst>
                                    </p:anim>
                                    <p:animEffect transition="in" filter="wipe(up)">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6" grpId="0"/>
      <p:bldP spid="74" grpId="0"/>
      <p:bldP spid="74" grpId="1"/>
      <p:bldP spid="75" grpId="0"/>
      <p:bldP spid="75" grpId="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7" name="TextBox 18"/>
          <p:cNvSpPr>
            <a:spLocks noChangeArrowheads="1"/>
          </p:cNvSpPr>
          <p:nvPr/>
        </p:nvSpPr>
        <p:spPr bwMode="auto">
          <a:xfrm>
            <a:off x="2178358" y="1980879"/>
            <a:ext cx="5213042" cy="1094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公务卡结算作为科研项目验收内容之一，并与科研信用记录挂钩</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应“转账为主，公务卡为辅，现金为补充”原则支付</a:t>
            </a:r>
            <a:r>
              <a:rPr lang="zh-CN" altLang="en-US" sz="1050" b="1" dirty="0">
                <a:ln w="3175">
                  <a:solidFill>
                    <a:schemeClr val="tx1"/>
                  </a:solidFill>
                </a:ln>
                <a:latin typeface="方正风雅宋简体" pitchFamily="2" charset="-122"/>
                <a:ea typeface="方正风雅宋简体" pitchFamily="2" charset="-122"/>
              </a:rPr>
              <a:t>，减少现金使用</a:t>
            </a: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卡</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 name="矩形 15"/>
          <p:cNvSpPr/>
          <p:nvPr/>
        </p:nvSpPr>
        <p:spPr>
          <a:xfrm>
            <a:off x="82364" y="17905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0" name="矩形 19"/>
          <p:cNvSpPr/>
          <p:nvPr/>
        </p:nvSpPr>
        <p:spPr>
          <a:xfrm>
            <a:off x="765017" y="18017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507351" y="1876252"/>
            <a:ext cx="661924" cy="55814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89458" y="2452057"/>
            <a:ext cx="675559" cy="614630"/>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92324" y="25180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90119" y="24534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110939" y="31722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60400" y="321734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79450" y="3123093"/>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03957" y="1790527"/>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6513" y="244982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8304" y="312466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935" y="3087479"/>
            <a:ext cx="710210" cy="716587"/>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935" y="1774468"/>
            <a:ext cx="656033" cy="673932"/>
          </a:xfrm>
          <a:prstGeom prst="rect">
            <a:avLst/>
          </a:prstGeom>
        </p:spPr>
      </p:pic>
      <p:sp>
        <p:nvSpPr>
          <p:cNvPr id="39" name="矩形 38"/>
          <p:cNvSpPr/>
          <p:nvPr/>
        </p:nvSpPr>
        <p:spPr>
          <a:xfrm>
            <a:off x="-96594" y="2055223"/>
            <a:ext cx="1138241" cy="338554"/>
          </a:xfrm>
          <a:prstGeom prst="rect">
            <a:avLst/>
          </a:prstGeom>
        </p:spPr>
        <p:txBody>
          <a:bodyPr wrap="square">
            <a:spAutoFit/>
          </a:bodyPr>
          <a:lstStyle/>
          <a:p>
            <a:r>
              <a:rPr lang="zh-CN" altLang="en-US" sz="1600" b="1" dirty="0" smtClean="0"/>
              <a:t>使用目的</a:t>
            </a:r>
            <a:endParaRPr lang="zh-CN" altLang="en-US" sz="1600" b="1" dirty="0"/>
          </a:p>
        </p:txBody>
      </p:sp>
      <p:sp>
        <p:nvSpPr>
          <p:cNvPr id="40" name="矩形 39"/>
          <p:cNvSpPr/>
          <p:nvPr/>
        </p:nvSpPr>
        <p:spPr>
          <a:xfrm>
            <a:off x="213903" y="1810564"/>
            <a:ext cx="585377" cy="338554"/>
          </a:xfrm>
          <a:prstGeom prst="rect">
            <a:avLst/>
          </a:prstGeom>
        </p:spPr>
        <p:txBody>
          <a:bodyPr wrap="square">
            <a:spAutoFit/>
          </a:bodyPr>
          <a:lstStyle/>
          <a:p>
            <a:r>
              <a:rPr lang="en-US" altLang="zh-CN" sz="1600" b="1" dirty="0" smtClean="0"/>
              <a:t>01</a:t>
            </a:r>
            <a:endParaRPr lang="zh-CN" altLang="en-US" sz="1600" b="1" dirty="0"/>
          </a:p>
        </p:txBody>
      </p:sp>
      <p:sp>
        <p:nvSpPr>
          <p:cNvPr id="41" name="矩形 40"/>
          <p:cNvSpPr/>
          <p:nvPr/>
        </p:nvSpPr>
        <p:spPr>
          <a:xfrm>
            <a:off x="1484557" y="2083798"/>
            <a:ext cx="682396"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2" name="矩形 41"/>
          <p:cNvSpPr/>
          <p:nvPr/>
        </p:nvSpPr>
        <p:spPr>
          <a:xfrm>
            <a:off x="1651264" y="1887446"/>
            <a:ext cx="385333"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3" name="矩形 42"/>
          <p:cNvSpPr/>
          <p:nvPr/>
        </p:nvSpPr>
        <p:spPr>
          <a:xfrm>
            <a:off x="103432" y="33956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4" name="矩形 43"/>
          <p:cNvSpPr/>
          <p:nvPr/>
        </p:nvSpPr>
        <p:spPr>
          <a:xfrm>
            <a:off x="298480" y="31789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5" name="矩形 44"/>
          <p:cNvSpPr/>
          <p:nvPr/>
        </p:nvSpPr>
        <p:spPr>
          <a:xfrm>
            <a:off x="769689" y="27224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6" name="矩形 45"/>
          <p:cNvSpPr/>
          <p:nvPr/>
        </p:nvSpPr>
        <p:spPr>
          <a:xfrm>
            <a:off x="969571" y="24993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7" name="矩形 46"/>
          <p:cNvSpPr/>
          <p:nvPr/>
        </p:nvSpPr>
        <p:spPr>
          <a:xfrm>
            <a:off x="806579" y="34042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50" name="矩形 49"/>
          <p:cNvSpPr/>
          <p:nvPr/>
        </p:nvSpPr>
        <p:spPr>
          <a:xfrm>
            <a:off x="981762" y="31888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1" name="矩形 50"/>
          <p:cNvSpPr/>
          <p:nvPr/>
        </p:nvSpPr>
        <p:spPr>
          <a:xfrm>
            <a:off x="1460400" y="342173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2" name="矩形 51"/>
          <p:cNvSpPr/>
          <p:nvPr/>
        </p:nvSpPr>
        <p:spPr>
          <a:xfrm>
            <a:off x="1623331" y="319822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133485062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0" presetClass="path" presetSubtype="0" accel="50000" decel="50000" fill="hold" grpId="0" nodeType="withEffect">
                                  <p:stCondLst>
                                    <p:cond delay="0"/>
                                  </p:stCondLst>
                                  <p:childTnLst>
                                    <p:animMotion origin="layout" path="M -0.02604 -0.08704 C -0.02222 -0.09136 -0.01788 -0.09568 -0.01354 -0.09815 C -0.00521 -0.10988 0.0099 -0.12686 0.01979 -0.13334 C 0.0224 -0.13519 0.02535 -0.13519 0.02813 -0.13704 C 0.0375 -0.1429 0.04566 -0.15371 0.05521 -0.15926 C 0.07379 -0.17037 0.09219 -0.1821 0.11146 -0.18889 C 0.12743 -0.20309 0.14705 -0.20679 0.16459 -0.20926 C 0.18854 -0.20865 0.2125 -0.20865 0.23646 -0.20741 C 0.24323 -0.2071 0.2559 -0.1855 0.2625 -0.18148 C 0.26441 -0.17809 0.26684 -0.17562 0.26875 -0.17223 C 0.27188 -0.16667 0.2724 -0.16204 0.27709 -0.15926 C 0.27847 -0.15679 0.27986 -0.15432 0.28125 -0.15186 " pathEditMode="relative" rAng="0" ptsTypes="fffffffffffA">
                                      <p:cBhvr>
                                        <p:cTn id="10" dur="2000" fill="hold"/>
                                        <p:tgtEl>
                                          <p:spTgt spid="40"/>
                                        </p:tgtEl>
                                        <p:attrNameLst>
                                          <p:attrName>ppt_x</p:attrName>
                                          <p:attrName>ppt_y</p:attrName>
                                        </p:attrNameLst>
                                      </p:cBhvr>
                                      <p:rCtr x="15365" y="-6111"/>
                                    </p:animMotion>
                                  </p:childTnLst>
                                </p:cTn>
                              </p:par>
                              <p:par>
                                <p:cTn id="11" presetID="0" presetClass="path" presetSubtype="0" accel="50000" decel="50000" fill="hold" grpId="0" nodeType="withEffect">
                                  <p:stCondLst>
                                    <p:cond delay="0"/>
                                  </p:stCondLst>
                                  <p:childTnLst>
                                    <p:animMotion origin="layout" path="M -0.02604 -0.08704 C -0.02222 -0.09136 -0.01788 -0.09568 -0.01354 -0.09815 C -0.00521 -0.10988 0.0099 -0.12685 0.01979 -0.13334 C 0.0224 -0.13519 0.02535 -0.13519 0.02813 -0.13704 C 0.0375 -0.1429 0.04566 -0.15371 0.05521 -0.15926 C 0.07379 -0.17037 0.09219 -0.1821 0.11146 -0.18889 C 0.12743 -0.20309 0.14705 -0.20679 0.16459 -0.20926 C 0.18854 -0.20864 0.2125 -0.20864 0.23646 -0.20741 C 0.24323 -0.2071 0.25591 -0.1855 0.2625 -0.18148 C 0.26441 -0.17809 0.26684 -0.17562 0.26875 -0.17222 C 0.27188 -0.16667 0.2724 -0.16204 0.27709 -0.15926 C 0.27847 -0.15679 0.27986 -0.15432 0.28125 -0.15185 " pathEditMode="relative" rAng="0" ptsTypes="fffffffffffA">
                                      <p:cBhvr>
                                        <p:cTn id="12" dur="2000" fill="hold"/>
                                        <p:tgtEl>
                                          <p:spTgt spid="39"/>
                                        </p:tgtEl>
                                        <p:attrNameLst>
                                          <p:attrName>ppt_x</p:attrName>
                                          <p:attrName>ppt_y</p:attrName>
                                        </p:attrNameLst>
                                      </p:cBhvr>
                                      <p:rCtr x="15365" y="-6111"/>
                                    </p:animMotion>
                                  </p:childTnLst>
                                </p:cTn>
                              </p:par>
                              <p:par>
                                <p:cTn id="13" presetID="0" presetClass="path" presetSubtype="0" accel="50000" decel="50000" fill="hold" nodeType="withEffect">
                                  <p:stCondLst>
                                    <p:cond delay="0"/>
                                  </p:stCondLst>
                                  <p:childTnLst>
                                    <p:animMotion origin="layout" path="M -0.02604 -0.08703 C -0.02222 -0.09135 -0.01788 -0.09568 -0.01354 -0.09814 C -0.00521 -0.10987 0.0099 -0.12685 0.01979 -0.13333 C 0.0224 -0.13518 0.02535 -0.13518 0.02812 -0.13703 C 0.0375 -0.1429 0.04566 -0.1537 0.05521 -0.15926 C 0.07378 -0.17037 0.09219 -0.18209 0.11146 -0.18889 C 0.12743 -0.20308 0.14705 -0.20679 0.16458 -0.20926 C 0.18854 -0.20864 0.2125 -0.20864 0.23646 -0.2074 C 0.24323 -0.20709 0.2559 -0.18549 0.2625 -0.18148 C 0.26441 -0.17808 0.26684 -0.17561 0.26875 -0.17222 C 0.27187 -0.16666 0.2724 -0.16203 0.27708 -0.15926 C 0.27847 -0.15679 0.27986 -0.15432 0.28125 -0.15185 " pathEditMode="relative" rAng="0" ptsTypes="fffffffffffA">
                                      <p:cBhvr>
                                        <p:cTn id="14" dur="2000" fill="hold"/>
                                        <p:tgtEl>
                                          <p:spTgt spid="38"/>
                                        </p:tgtEl>
                                        <p:attrNameLst>
                                          <p:attrName>ppt_x</p:attrName>
                                          <p:attrName>ppt_y</p:attrName>
                                        </p:attrNameLst>
                                      </p:cBhvr>
                                      <p:rCtr x="15365" y="-6111"/>
                                    </p:animMotion>
                                  </p:childTnLst>
                                </p:cTn>
                              </p:par>
                            </p:childTnLst>
                          </p:cTn>
                        </p:par>
                        <p:par>
                          <p:cTn id="15" fill="hold">
                            <p:stCondLst>
                              <p:cond delay="2000"/>
                            </p:stCondLst>
                            <p:childTnLst>
                              <p:par>
                                <p:cTn id="16" presetID="6" presetClass="emph" presetSubtype="0" fill="hold" grpId="1" nodeType="afterEffect">
                                  <p:stCondLst>
                                    <p:cond delay="0"/>
                                  </p:stCondLst>
                                  <p:childTnLst>
                                    <p:animScale>
                                      <p:cBhvr>
                                        <p:cTn id="17" dur="2000" fill="hold"/>
                                        <p:tgtEl>
                                          <p:spTgt spid="40"/>
                                        </p:tgtEl>
                                      </p:cBhvr>
                                      <p:by x="150000" y="150000"/>
                                    </p:animScale>
                                  </p:childTnLst>
                                </p:cTn>
                              </p:par>
                              <p:par>
                                <p:cTn id="18" presetID="6" presetClass="emph" presetSubtype="0" fill="hold" grpId="1" nodeType="withEffect">
                                  <p:stCondLst>
                                    <p:cond delay="0"/>
                                  </p:stCondLst>
                                  <p:childTnLst>
                                    <p:animScale>
                                      <p:cBhvr>
                                        <p:cTn id="19" dur="2000" fill="hold"/>
                                        <p:tgtEl>
                                          <p:spTgt spid="39"/>
                                        </p:tgtEl>
                                      </p:cBhvr>
                                      <p:by x="150000" y="150000"/>
                                    </p:animScale>
                                  </p:childTnLst>
                                </p:cTn>
                              </p:par>
                            </p:childTnLst>
                          </p:cTn>
                        </p:par>
                        <p:par>
                          <p:cTn id="20" fill="hold">
                            <p:stCondLst>
                              <p:cond delay="4000"/>
                            </p:stCondLst>
                            <p:childTnLst>
                              <p:par>
                                <p:cTn id="21" presetID="12" presetClass="entr" presetSubtype="4"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p:tgtEl>
                                          <p:spTgt spid="17"/>
                                        </p:tgtEl>
                                        <p:attrNameLst>
                                          <p:attrName>ppt_y</p:attrName>
                                        </p:attrNameLst>
                                      </p:cBhvr>
                                      <p:tavLst>
                                        <p:tav tm="0">
                                          <p:val>
                                            <p:strVal val="#ppt_y+#ppt_h*1.125000"/>
                                          </p:val>
                                        </p:tav>
                                        <p:tav tm="100000">
                                          <p:val>
                                            <p:strVal val="#ppt_y"/>
                                          </p:val>
                                        </p:tav>
                                      </p:tavLst>
                                    </p:anim>
                                    <p:animEffect transition="in" filter="wipe(up)">
                                      <p:cBhvr>
                                        <p:cTn id="2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p:bldP spid="39" grpId="0"/>
      <p:bldP spid="39" grpId="1"/>
      <p:bldP spid="40" grpId="0"/>
      <p:bldP spid="40" grpId="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6" name="TextBox 18"/>
          <p:cNvSpPr>
            <a:spLocks noChangeArrowheads="1"/>
          </p:cNvSpPr>
          <p:nvPr/>
        </p:nvSpPr>
        <p:spPr bwMode="auto">
          <a:xfrm>
            <a:off x="2155981" y="1980879"/>
            <a:ext cx="4216247"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各研究室、部门、课题组根据业务需要提出公务卡使用人员名单，经财务管理部门同意后，统一办理公务</a:t>
            </a:r>
            <a:r>
              <a:rPr lang="zh-CN" altLang="zh-CN" sz="1050" b="1" dirty="0" smtClean="0">
                <a:ln w="3175">
                  <a:solidFill>
                    <a:schemeClr val="tx1"/>
                  </a:solidFill>
                </a:ln>
                <a:latin typeface="方正风雅宋简体" pitchFamily="2" charset="-122"/>
                <a:ea typeface="方正风雅宋简体" pitchFamily="2" charset="-122"/>
              </a:rPr>
              <a:t>卡</a:t>
            </a:r>
            <a:endParaRPr lang="zh-CN" altLang="en-US" sz="1050" b="1" dirty="0">
              <a:ln w="3175">
                <a:solidFill>
                  <a:schemeClr val="tx1"/>
                </a:solidFill>
              </a:ln>
              <a:latin typeface="方正风雅宋简体" pitchFamily="2" charset="-122"/>
              <a:ea typeface="方正风雅宋简体" pitchFamily="2" charset="-122"/>
            </a:endParaRPr>
          </a:p>
        </p:txBody>
      </p:sp>
      <p:sp>
        <p:nvSpPr>
          <p:cNvPr id="14"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卡</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7" name="矩形 16"/>
          <p:cNvSpPr/>
          <p:nvPr/>
        </p:nvSpPr>
        <p:spPr>
          <a:xfrm>
            <a:off x="53789" y="169527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36442" y="170647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59726" y="170647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60883" y="2356807"/>
            <a:ext cx="675559" cy="614630"/>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63749" y="242281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61544" y="235819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82364" y="307695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31825" y="312209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0875" y="3027843"/>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57330" y="1704713"/>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7938" y="235457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729" y="302941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360" y="2992229"/>
            <a:ext cx="710210" cy="716587"/>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835" y="1679218"/>
            <a:ext cx="656033" cy="673932"/>
          </a:xfrm>
          <a:prstGeom prst="rect">
            <a:avLst/>
          </a:prstGeom>
        </p:spPr>
      </p:pic>
      <p:sp>
        <p:nvSpPr>
          <p:cNvPr id="39" name="矩形 38"/>
          <p:cNvSpPr/>
          <p:nvPr/>
        </p:nvSpPr>
        <p:spPr>
          <a:xfrm>
            <a:off x="74857" y="195997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42479" y="174388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265481" y="1950448"/>
            <a:ext cx="1030043" cy="338554"/>
          </a:xfrm>
          <a:prstGeom prst="rect">
            <a:avLst/>
          </a:prstGeom>
        </p:spPr>
        <p:txBody>
          <a:bodyPr wrap="square">
            <a:spAutoFit/>
          </a:bodyPr>
          <a:lstStyle/>
          <a:p>
            <a:r>
              <a:rPr lang="zh-CN" altLang="en-US" sz="1600" b="1" dirty="0" smtClean="0"/>
              <a:t>用卡申请</a:t>
            </a:r>
            <a:endParaRPr lang="zh-CN" altLang="en-US" sz="1600" b="1" dirty="0"/>
          </a:p>
        </p:txBody>
      </p:sp>
      <p:sp>
        <p:nvSpPr>
          <p:cNvPr id="42" name="矩形 41"/>
          <p:cNvSpPr/>
          <p:nvPr/>
        </p:nvSpPr>
        <p:spPr>
          <a:xfrm>
            <a:off x="1622689" y="1725521"/>
            <a:ext cx="663311" cy="338554"/>
          </a:xfrm>
          <a:prstGeom prst="rect">
            <a:avLst/>
          </a:prstGeom>
        </p:spPr>
        <p:txBody>
          <a:bodyPr wrap="square">
            <a:spAutoFit/>
          </a:bodyPr>
          <a:lstStyle/>
          <a:p>
            <a:r>
              <a:rPr lang="en-US" altLang="zh-CN" sz="1600" b="1" dirty="0" smtClean="0"/>
              <a:t>02</a:t>
            </a:r>
            <a:endParaRPr lang="zh-CN" altLang="en-US" sz="1600" b="1" dirty="0"/>
          </a:p>
        </p:txBody>
      </p:sp>
      <p:sp>
        <p:nvSpPr>
          <p:cNvPr id="43" name="矩形 42"/>
          <p:cNvSpPr/>
          <p:nvPr/>
        </p:nvSpPr>
        <p:spPr>
          <a:xfrm>
            <a:off x="74857" y="330039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4" name="矩形 43"/>
          <p:cNvSpPr/>
          <p:nvPr/>
        </p:nvSpPr>
        <p:spPr>
          <a:xfrm>
            <a:off x="269905" y="308370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5" name="矩形 44"/>
          <p:cNvSpPr/>
          <p:nvPr/>
        </p:nvSpPr>
        <p:spPr>
          <a:xfrm>
            <a:off x="741114" y="262720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6" name="矩形 45"/>
          <p:cNvSpPr/>
          <p:nvPr/>
        </p:nvSpPr>
        <p:spPr>
          <a:xfrm>
            <a:off x="940996" y="240408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7" name="矩形 46"/>
          <p:cNvSpPr/>
          <p:nvPr/>
        </p:nvSpPr>
        <p:spPr>
          <a:xfrm>
            <a:off x="778004" y="330900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50" name="矩形 49"/>
          <p:cNvSpPr/>
          <p:nvPr/>
        </p:nvSpPr>
        <p:spPr>
          <a:xfrm>
            <a:off x="953187" y="309360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1" name="矩形 50"/>
          <p:cNvSpPr/>
          <p:nvPr/>
        </p:nvSpPr>
        <p:spPr>
          <a:xfrm>
            <a:off x="1431825" y="332648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2" name="矩形 51"/>
          <p:cNvSpPr/>
          <p:nvPr/>
        </p:nvSpPr>
        <p:spPr>
          <a:xfrm>
            <a:off x="1594756" y="310297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409421385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0" presetClass="path" presetSubtype="0" accel="50000" decel="50000" fill="hold" grpId="0" nodeType="withEffect">
                                  <p:stCondLst>
                                    <p:cond delay="0"/>
                                  </p:stCondLst>
                                  <p:childTnLst>
                                    <p:animMotion origin="layout" path="M -0.01146 -0.07222 C -0.00712 -0.08735 -0.00053 -0.09907 0.00625 -0.11111 C 0.00729 -0.11296 0.00729 -0.11636 0.00833 -0.11852 C 0.01076 -0.12377 0.01441 -0.12747 0.01666 -0.13333 C 0.02066 -0.14383 0.01788 -0.13735 0.02604 -0.15185 C 0.02708 -0.1537 0.02916 -0.15741 0.02916 -0.1571 C 0.03281 -0.17654 0.04635 -0.17901 0.05625 -0.18333 C 0.07274 -0.18272 0.10121 -0.19661 0.11875 -0.17593 C 0.121 -0.16975 0.12708 -0.15926 0.12708 -0.15895 C 0.12934 -0.14691 0.12812 -0.15154 0.1302 -0.14444 " pathEditMode="relative" rAng="0" ptsTypes="fffffffffA">
                                      <p:cBhvr>
                                        <p:cTn id="10" dur="2000" fill="hold"/>
                                        <p:tgtEl>
                                          <p:spTgt spid="42"/>
                                        </p:tgtEl>
                                        <p:attrNameLst>
                                          <p:attrName>ppt_x</p:attrName>
                                          <p:attrName>ppt_y</p:attrName>
                                        </p:attrNameLst>
                                      </p:cBhvr>
                                      <p:rCtr x="7083" y="-6235"/>
                                    </p:animMotion>
                                  </p:childTnLst>
                                </p:cTn>
                              </p:par>
                              <p:par>
                                <p:cTn id="11" presetID="0" presetClass="path" presetSubtype="0" accel="50000" decel="50000" fill="hold" grpId="0" nodeType="withEffect">
                                  <p:stCondLst>
                                    <p:cond delay="0"/>
                                  </p:stCondLst>
                                  <p:childTnLst>
                                    <p:animMotion origin="layout" path="M -0.01146 -0.07223 C -0.00712 -0.08735 -0.00052 -0.09908 0.00625 -0.11111 C 0.00729 -0.11297 0.00729 -0.11636 0.00833 -0.11852 C 0.01076 -0.12377 0.01441 -0.12747 0.01666 -0.13334 C 0.02066 -0.14383 0.01788 -0.13735 0.02604 -0.15185 C 0.02708 -0.15371 0.02916 -0.15741 0.02916 -0.1571 C 0.03281 -0.17655 0.04635 -0.17902 0.05625 -0.18334 C 0.07274 -0.18272 0.10121 -0.19661 0.11875 -0.17593 C 0.12101 -0.16976 0.12708 -0.15926 0.12708 -0.15895 C 0.12934 -0.14692 0.12812 -0.15155 0.13021 -0.14445 " pathEditMode="relative" rAng="0" ptsTypes="fffffffffA">
                                      <p:cBhvr>
                                        <p:cTn id="12" dur="2000" fill="hold"/>
                                        <p:tgtEl>
                                          <p:spTgt spid="41"/>
                                        </p:tgtEl>
                                        <p:attrNameLst>
                                          <p:attrName>ppt_x</p:attrName>
                                          <p:attrName>ppt_y</p:attrName>
                                        </p:attrNameLst>
                                      </p:cBhvr>
                                      <p:rCtr x="7083" y="-6235"/>
                                    </p:animMotion>
                                  </p:childTnLst>
                                </p:cTn>
                              </p:par>
                              <p:par>
                                <p:cTn id="13" presetID="0" presetClass="path" presetSubtype="0" accel="50000" decel="50000" fill="hold" nodeType="withEffect">
                                  <p:stCondLst>
                                    <p:cond delay="0"/>
                                  </p:stCondLst>
                                  <p:childTnLst>
                                    <p:animMotion origin="layout" path="M -0.01145 -0.07223 C -0.00711 -0.08735 -0.00052 -0.09908 0.00625 -0.11111 C 0.0073 -0.11297 0.0073 -0.11636 0.00834 -0.11852 C 0.01077 -0.12377 0.01441 -0.12747 0.01667 -0.13334 C 0.02066 -0.14383 0.01789 -0.13735 0.02605 -0.15185 C 0.02709 -0.15371 0.02917 -0.15741 0.02917 -0.1571 C 0.03282 -0.17655 0.04636 -0.17902 0.05625 -0.18334 C 0.07275 -0.18272 0.10122 -0.19661 0.11875 -0.17593 C 0.12101 -0.16976 0.12709 -0.15926 0.12709 -0.15895 C 0.12934 -0.14692 0.12813 -0.15155 0.13021 -0.14445 " pathEditMode="relative" rAng="0" ptsTypes="fffffffffA">
                                      <p:cBhvr>
                                        <p:cTn id="14" dur="2000" fill="hold"/>
                                        <p:tgtEl>
                                          <p:spTgt spid="34"/>
                                        </p:tgtEl>
                                        <p:attrNameLst>
                                          <p:attrName>ppt_x</p:attrName>
                                          <p:attrName>ppt_y</p:attrName>
                                        </p:attrNameLst>
                                      </p:cBhvr>
                                      <p:rCtr x="7083" y="-6235"/>
                                    </p:animMotion>
                                  </p:childTnLst>
                                </p:cTn>
                              </p:par>
                            </p:childTnLst>
                          </p:cTn>
                        </p:par>
                        <p:par>
                          <p:cTn id="15" fill="hold">
                            <p:stCondLst>
                              <p:cond delay="2000"/>
                            </p:stCondLst>
                            <p:childTnLst>
                              <p:par>
                                <p:cTn id="16" presetID="6" presetClass="emph" presetSubtype="0" fill="hold" grpId="1" nodeType="afterEffect">
                                  <p:stCondLst>
                                    <p:cond delay="0"/>
                                  </p:stCondLst>
                                  <p:childTnLst>
                                    <p:animScale>
                                      <p:cBhvr>
                                        <p:cTn id="17" dur="2000" fill="hold"/>
                                        <p:tgtEl>
                                          <p:spTgt spid="42"/>
                                        </p:tgtEl>
                                      </p:cBhvr>
                                      <p:by x="150000" y="150000"/>
                                    </p:animScale>
                                  </p:childTnLst>
                                </p:cTn>
                              </p:par>
                              <p:par>
                                <p:cTn id="18" presetID="6" presetClass="emph" presetSubtype="0" fill="hold" grpId="1" nodeType="withEffect">
                                  <p:stCondLst>
                                    <p:cond delay="0"/>
                                  </p:stCondLst>
                                  <p:childTnLst>
                                    <p:animScale>
                                      <p:cBhvr>
                                        <p:cTn id="19" dur="2000" fill="hold"/>
                                        <p:tgtEl>
                                          <p:spTgt spid="41"/>
                                        </p:tgtEl>
                                      </p:cBhvr>
                                      <p:by x="150000" y="150000"/>
                                    </p:animScale>
                                  </p:childTnLst>
                                </p:cTn>
                              </p:par>
                            </p:childTnLst>
                          </p:cTn>
                        </p:par>
                        <p:par>
                          <p:cTn id="20" fill="hold">
                            <p:stCondLst>
                              <p:cond delay="4000"/>
                            </p:stCondLst>
                            <p:childTnLst>
                              <p:par>
                                <p:cTn id="21" presetID="12" presetClass="entr" presetSubtype="4"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p:tgtEl>
                                          <p:spTgt spid="16"/>
                                        </p:tgtEl>
                                        <p:attrNameLst>
                                          <p:attrName>ppt_y</p:attrName>
                                        </p:attrNameLst>
                                      </p:cBhvr>
                                      <p:tavLst>
                                        <p:tav tm="0">
                                          <p:val>
                                            <p:strVal val="#ppt_y+#ppt_h*1.125000"/>
                                          </p:val>
                                        </p:tav>
                                        <p:tav tm="100000">
                                          <p:val>
                                            <p:strVal val="#ppt_y"/>
                                          </p:val>
                                        </p:tav>
                                      </p:tavLst>
                                    </p:anim>
                                    <p:animEffect transition="in" filter="wipe(up)">
                                      <p:cBhvr>
                                        <p:cTn id="2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6" grpId="0"/>
      <p:bldP spid="41" grpId="0"/>
      <p:bldP spid="41" grpId="1"/>
      <p:bldP spid="42" grpId="0"/>
      <p:bldP spid="42" grpId="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7" name="TextBox 18"/>
          <p:cNvSpPr>
            <a:spLocks noChangeArrowheads="1"/>
          </p:cNvSpPr>
          <p:nvPr/>
        </p:nvSpPr>
        <p:spPr bwMode="auto">
          <a:xfrm>
            <a:off x="2089301" y="1990083"/>
            <a:ext cx="6073623" cy="1304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强制结算目录：属于</a:t>
            </a:r>
            <a:r>
              <a:rPr lang="zh-CN" altLang="zh-CN" sz="1050" b="1" dirty="0">
                <a:ln w="3175">
                  <a:solidFill>
                    <a:schemeClr val="tx1"/>
                  </a:solidFill>
                </a:ln>
                <a:latin typeface="方正风雅宋简体" pitchFamily="2" charset="-122"/>
                <a:ea typeface="方正风雅宋简体" pitchFamily="2" charset="-122"/>
                <a:hlinkClick r:id="rId5" action="ppaction://hlinkfile"/>
              </a:rPr>
              <a:t>财库</a:t>
            </a:r>
            <a:r>
              <a:rPr lang="en-US" altLang="zh-CN" sz="1050" b="1" dirty="0">
                <a:ln w="3175">
                  <a:solidFill>
                    <a:schemeClr val="tx1"/>
                  </a:solidFill>
                </a:ln>
                <a:latin typeface="方正风雅宋简体" pitchFamily="2" charset="-122"/>
                <a:ea typeface="方正风雅宋简体" pitchFamily="2" charset="-122"/>
                <a:hlinkClick r:id="rId5" action="ppaction://hlinkfile"/>
              </a:rPr>
              <a:t>[2011]160</a:t>
            </a:r>
            <a:r>
              <a:rPr lang="zh-CN" altLang="zh-CN" sz="1050" b="1" dirty="0">
                <a:ln w="3175">
                  <a:solidFill>
                    <a:schemeClr val="tx1"/>
                  </a:solidFill>
                </a:ln>
                <a:latin typeface="方正风雅宋简体" pitchFamily="2" charset="-122"/>
                <a:ea typeface="方正风雅宋简体" pitchFamily="2" charset="-122"/>
                <a:hlinkClick r:id="rId5" action="ppaction://hlinkfile"/>
              </a:rPr>
              <a:t>号文</a:t>
            </a:r>
            <a:r>
              <a:rPr lang="zh-CN" altLang="zh-CN" sz="1050" b="1" dirty="0">
                <a:ln w="3175">
                  <a:solidFill>
                    <a:schemeClr val="tx1"/>
                  </a:solidFill>
                </a:ln>
                <a:latin typeface="方正风雅宋简体" pitchFamily="2" charset="-122"/>
                <a:ea typeface="方正风雅宋简体" pitchFamily="2" charset="-122"/>
              </a:rPr>
              <a:t>范围支出的办公费、印刷费、咨询费、手续费、水电费、邮电费、物业管理费、差旅费、维修（护）费、租赁费、会议费、培训费、公务接待费、专用材料费、公务用车运行维护费、其他交通费用以及小额材料费和测试化验加工费等</a:t>
            </a:r>
            <a:endParaRPr lang="zh-CN" altLang="en-US" sz="1050" b="1" dirty="0">
              <a:ln w="3175">
                <a:solidFill>
                  <a:schemeClr val="tx1"/>
                </a:solidFill>
              </a:ln>
              <a:latin typeface="方正风雅宋简体" pitchFamily="2" charset="-122"/>
              <a:ea typeface="方正风雅宋简体" pitchFamily="2" charset="-122"/>
            </a:endParaRPr>
          </a:p>
        </p:txBody>
      </p:sp>
      <p:sp>
        <p:nvSpPr>
          <p:cNvPr id="14"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卡</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 name="矩形 15"/>
          <p:cNvSpPr/>
          <p:nvPr/>
        </p:nvSpPr>
        <p:spPr>
          <a:xfrm>
            <a:off x="44264" y="1685752"/>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26917" y="1696947"/>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50201" y="1696947"/>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51358" y="2347282"/>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54224" y="2365989"/>
            <a:ext cx="661924" cy="644380"/>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52019" y="2348672"/>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72839" y="3067434"/>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22300" y="3112572"/>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1350" y="3018318"/>
            <a:ext cx="661923" cy="661924"/>
          </a:xfrm>
          <a:prstGeom prst="rect">
            <a:avLst/>
          </a:prstGeom>
        </p:spPr>
      </p:pic>
      <p:pic>
        <p:nvPicPr>
          <p:cNvPr id="34" name="图片 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47805" y="1695188"/>
            <a:ext cx="668061" cy="643870"/>
          </a:xfrm>
          <a:prstGeom prst="rect">
            <a:avLst/>
          </a:prstGeom>
        </p:spPr>
      </p:pic>
      <p:pic>
        <p:nvPicPr>
          <p:cNvPr id="35" name="图片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8678" y="2343625"/>
            <a:ext cx="698394" cy="673267"/>
          </a:xfrm>
          <a:prstGeom prst="rect">
            <a:avLst/>
          </a:prstGeom>
        </p:spPr>
      </p:pic>
      <p:pic>
        <p:nvPicPr>
          <p:cNvPr id="36" name="图片 3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26918" y="3019894"/>
            <a:ext cx="714432" cy="661924"/>
          </a:xfrm>
          <a:prstGeom prst="rect">
            <a:avLst/>
          </a:prstGeom>
        </p:spPr>
      </p:pic>
      <p:pic>
        <p:nvPicPr>
          <p:cNvPr id="37" name="图片 3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212" y="3018147"/>
            <a:ext cx="671231" cy="681144"/>
          </a:xfrm>
          <a:prstGeom prst="rect">
            <a:avLst/>
          </a:prstGeom>
        </p:spPr>
      </p:pic>
      <p:pic>
        <p:nvPicPr>
          <p:cNvPr id="38" name="图片 3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835" y="1669693"/>
            <a:ext cx="656033" cy="673932"/>
          </a:xfrm>
          <a:prstGeom prst="rect">
            <a:avLst/>
          </a:prstGeom>
        </p:spPr>
      </p:pic>
      <p:sp>
        <p:nvSpPr>
          <p:cNvPr id="39" name="矩形 38"/>
          <p:cNvSpPr/>
          <p:nvPr/>
        </p:nvSpPr>
        <p:spPr>
          <a:xfrm>
            <a:off x="65332" y="1950448"/>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32954" y="1734364"/>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65332" y="3290870"/>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2" name="矩形 41"/>
          <p:cNvSpPr/>
          <p:nvPr/>
        </p:nvSpPr>
        <p:spPr>
          <a:xfrm>
            <a:off x="260380" y="3074184"/>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3" name="矩形 42"/>
          <p:cNvSpPr/>
          <p:nvPr/>
        </p:nvSpPr>
        <p:spPr>
          <a:xfrm>
            <a:off x="588713" y="2617678"/>
            <a:ext cx="1068623" cy="338554"/>
          </a:xfrm>
          <a:prstGeom prst="rect">
            <a:avLst/>
          </a:prstGeom>
        </p:spPr>
        <p:txBody>
          <a:bodyPr wrap="square">
            <a:spAutoFit/>
          </a:bodyPr>
          <a:lstStyle/>
          <a:p>
            <a:r>
              <a:rPr lang="zh-CN" altLang="en-US" sz="1600" b="1" dirty="0" smtClean="0"/>
              <a:t>结算目录</a:t>
            </a:r>
            <a:endParaRPr lang="zh-CN" altLang="en-US" sz="1600" b="1" dirty="0"/>
          </a:p>
        </p:txBody>
      </p:sp>
      <p:sp>
        <p:nvSpPr>
          <p:cNvPr id="44" name="矩形 43"/>
          <p:cNvSpPr/>
          <p:nvPr/>
        </p:nvSpPr>
        <p:spPr>
          <a:xfrm>
            <a:off x="912421" y="2375514"/>
            <a:ext cx="404402" cy="338554"/>
          </a:xfrm>
          <a:prstGeom prst="rect">
            <a:avLst/>
          </a:prstGeom>
        </p:spPr>
        <p:txBody>
          <a:bodyPr wrap="square">
            <a:spAutoFit/>
          </a:bodyPr>
          <a:lstStyle/>
          <a:p>
            <a:r>
              <a:rPr lang="en-US" altLang="zh-CN" sz="1600" b="1" dirty="0" smtClean="0"/>
              <a:t>03</a:t>
            </a:r>
            <a:endParaRPr lang="zh-CN" altLang="en-US" sz="1600" b="1" dirty="0"/>
          </a:p>
        </p:txBody>
      </p:sp>
      <p:sp>
        <p:nvSpPr>
          <p:cNvPr id="45" name="矩形 44"/>
          <p:cNvSpPr/>
          <p:nvPr/>
        </p:nvSpPr>
        <p:spPr>
          <a:xfrm>
            <a:off x="768479" y="3299484"/>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943662" y="3084082"/>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47" name="矩形 46"/>
          <p:cNvSpPr/>
          <p:nvPr/>
        </p:nvSpPr>
        <p:spPr>
          <a:xfrm>
            <a:off x="1422300" y="3316958"/>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0" name="矩形 49"/>
          <p:cNvSpPr/>
          <p:nvPr/>
        </p:nvSpPr>
        <p:spPr>
          <a:xfrm>
            <a:off x="1585231" y="3093448"/>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189578995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146 -0.06296 C 0.00955 -0.07685 0.01355 -0.0895 0.01667 -0.10185 C 0.02483 -0.13426 0.02848 -0.17037 0.03959 -0.2 C 0.04271 -0.22191 0.04931 -0.24506 0.05834 -0.26111 C 0.0606 -0.27315 0.06355 -0.29012 0.07084 -0.29444 C 0.07535 -0.30247 0.07969 -0.3071 0.08542 -0.31111 C 0.11216 -0.31049 0.13889 -0.31111 0.16563 -0.30926 C 0.16685 -0.30926 0.16771 -0.30648 0.16876 -0.30555 C 0.1698 -0.30463 0.17084 -0.30432 0.17188 -0.3037 C 0.17501 -0.29815 0.17761 -0.29691 0.18126 -0.29259 C 0.18646 -0.2787 0.17987 -0.29568 0.18646 -0.28148 C 0.18733 -0.27963 0.18803 -0.27777 0.18855 -0.27592 C 0.18907 -0.27407 0.18959 -0.27037 0.18959 -0.27006 " pathEditMode="relative" rAng="0" ptsTypes="ffffffffffffA">
                                      <p:cBhvr>
                                        <p:cTn id="11" dur="2000" fill="hold"/>
                                        <p:tgtEl>
                                          <p:spTgt spid="44"/>
                                        </p:tgtEl>
                                        <p:attrNameLst>
                                          <p:attrName>ppt_x</p:attrName>
                                          <p:attrName>ppt_y</p:attrName>
                                        </p:attrNameLst>
                                      </p:cBhvr>
                                      <p:rCtr x="8802" y="-12407"/>
                                    </p:animMotion>
                                  </p:childTnLst>
                                </p:cTn>
                              </p:par>
                              <p:par>
                                <p:cTn id="12" presetID="0" presetClass="path" presetSubtype="0" accel="50000" decel="50000" fill="hold" grpId="0" nodeType="withEffect">
                                  <p:stCondLst>
                                    <p:cond delay="0"/>
                                  </p:stCondLst>
                                  <p:childTnLst>
                                    <p:animMotion origin="layout" path="M 0.01146 -0.06297 C 0.00955 -0.07686 0.01354 -0.08951 0.01667 -0.10186 C 0.02483 -0.13426 0.02848 -0.17037 0.03959 -0.2 C 0.04271 -0.22192 0.04931 -0.24507 0.05834 -0.26111 C 0.06059 -0.27315 0.06354 -0.29013 0.07084 -0.29445 C 0.07535 -0.30247 0.07969 -0.3071 0.08542 -0.31111 C 0.11216 -0.3105 0.13889 -0.31111 0.16563 -0.30926 C 0.16684 -0.30926 0.16771 -0.30648 0.16875 -0.30556 C 0.16979 -0.30463 0.17084 -0.30432 0.17188 -0.30371 C 0.175 -0.29815 0.17761 -0.29692 0.18125 -0.2926 C 0.18646 -0.27871 0.17986 -0.29568 0.18646 -0.28148 C 0.18733 -0.27963 0.18802 -0.27778 0.18854 -0.27593 C 0.18907 -0.27408 0.18959 -0.27037 0.18959 -0.27007 " pathEditMode="relative" rAng="0" ptsTypes="ffffffffffffA">
                                      <p:cBhvr>
                                        <p:cTn id="13" dur="2000" fill="hold"/>
                                        <p:tgtEl>
                                          <p:spTgt spid="43"/>
                                        </p:tgtEl>
                                        <p:attrNameLst>
                                          <p:attrName>ppt_x</p:attrName>
                                          <p:attrName>ppt_y</p:attrName>
                                        </p:attrNameLst>
                                      </p:cBhvr>
                                      <p:rCtr x="8802" y="-12407"/>
                                    </p:animMotion>
                                  </p:childTnLst>
                                </p:cTn>
                              </p:par>
                              <p:par>
                                <p:cTn id="14" presetID="0" presetClass="path" presetSubtype="0" accel="50000" decel="50000" fill="hold" nodeType="withEffect">
                                  <p:stCondLst>
                                    <p:cond delay="0"/>
                                  </p:stCondLst>
                                  <p:childTnLst>
                                    <p:animMotion origin="layout" path="M 0.01146 -0.06297 C 0.00955 -0.07685 0.01354 -0.08951 0.01667 -0.10185 C 0.02483 -0.13426 0.02847 -0.17037 0.03959 -0.2 C 0.04271 -0.22192 0.04931 -0.24506 0.05834 -0.26111 C 0.06059 -0.27315 0.06354 -0.29013 0.07084 -0.29445 C 0.07535 -0.30247 0.07969 -0.3071 0.08542 -0.31111 C 0.11215 -0.3105 0.13889 -0.31111 0.16563 -0.30926 C 0.16684 -0.30926 0.16771 -0.30648 0.16875 -0.30556 C 0.16979 -0.30463 0.17084 -0.30432 0.17188 -0.30371 C 0.175 -0.29815 0.17761 -0.29692 0.18125 -0.29259 C 0.18646 -0.27871 0.17986 -0.29568 0.18646 -0.28148 C 0.18733 -0.27963 0.18802 -0.27778 0.18854 -0.27593 C 0.18906 -0.27408 0.18959 -0.27037 0.18959 -0.27006 " pathEditMode="relative" rAng="0" ptsTypes="ffffffffffffA">
                                      <p:cBhvr>
                                        <p:cTn id="15" dur="2000" fill="hold"/>
                                        <p:tgtEl>
                                          <p:spTgt spid="35"/>
                                        </p:tgtEl>
                                        <p:attrNameLst>
                                          <p:attrName>ppt_x</p:attrName>
                                          <p:attrName>ppt_y</p:attrName>
                                        </p:attrNameLst>
                                      </p:cBhvr>
                                      <p:rCtr x="8802" y="-12407"/>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44"/>
                                        </p:tgtEl>
                                      </p:cBhvr>
                                      <p:by x="150000" y="150000"/>
                                    </p:animScale>
                                  </p:childTnLst>
                                </p:cTn>
                              </p:par>
                              <p:par>
                                <p:cTn id="19" presetID="6" presetClass="emph" presetSubtype="0" fill="hold" grpId="1" nodeType="withEffect">
                                  <p:stCondLst>
                                    <p:cond delay="0"/>
                                  </p:stCondLst>
                                  <p:childTnLst>
                                    <p:animScale>
                                      <p:cBhvr>
                                        <p:cTn id="20" dur="2000" fill="hold"/>
                                        <p:tgtEl>
                                          <p:spTgt spid="43"/>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500"/>
                                        <p:tgtEl>
                                          <p:spTgt spid="17"/>
                                        </p:tgtEl>
                                        <p:attrNameLst>
                                          <p:attrName>ppt_y</p:attrName>
                                        </p:attrNameLst>
                                      </p:cBhvr>
                                      <p:tavLst>
                                        <p:tav tm="0">
                                          <p:val>
                                            <p:strVal val="#ppt_y+#ppt_h*1.125000"/>
                                          </p:val>
                                        </p:tav>
                                        <p:tav tm="100000">
                                          <p:val>
                                            <p:strVal val="#ppt_y"/>
                                          </p:val>
                                        </p:tav>
                                      </p:tavLst>
                                    </p:anim>
                                    <p:animEffect transition="in" filter="wipe(up)">
                                      <p:cBhvr>
                                        <p:cTn id="2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p:bldP spid="43" grpId="0"/>
      <p:bldP spid="43" grpId="1"/>
      <p:bldP spid="44" grpId="0"/>
      <p:bldP spid="44" grpId="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6" name="TextBox 18"/>
          <p:cNvSpPr>
            <a:spLocks noChangeArrowheads="1"/>
          </p:cNvSpPr>
          <p:nvPr/>
        </p:nvSpPr>
        <p:spPr bwMode="auto">
          <a:xfrm>
            <a:off x="2155981" y="2047554"/>
            <a:ext cx="5930744" cy="1304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公务卡使用人通过</a:t>
            </a:r>
            <a:r>
              <a:rPr lang="en-US" altLang="zh-CN" sz="1050" b="1" dirty="0">
                <a:ln w="3175">
                  <a:solidFill>
                    <a:schemeClr val="tx1"/>
                  </a:solidFill>
                </a:ln>
                <a:latin typeface="方正风雅宋简体" pitchFamily="2" charset="-122"/>
                <a:ea typeface="方正风雅宋简体" pitchFamily="2" charset="-122"/>
              </a:rPr>
              <a:t>ARP</a:t>
            </a:r>
            <a:r>
              <a:rPr lang="zh-CN" altLang="zh-CN" sz="1050" b="1" dirty="0">
                <a:ln w="3175">
                  <a:solidFill>
                    <a:schemeClr val="tx1"/>
                  </a:solidFill>
                </a:ln>
                <a:latin typeface="方正风雅宋简体" pitchFamily="2" charset="-122"/>
                <a:ea typeface="方正风雅宋简体" pitchFamily="2" charset="-122"/>
              </a:rPr>
              <a:t>网上报销系统填制报销单时，须在结算方式一栏中选择公务卡，并将公务卡号填入银行卡号一栏中，同时在报销时须提供公务卡消费结算凭证作为公务卡报销还款依据</a:t>
            </a:r>
            <a:endParaRPr lang="zh-CN" altLang="en-US" sz="1050" b="1" dirty="0">
              <a:ln w="3175">
                <a:solidFill>
                  <a:schemeClr val="tx1"/>
                </a:solidFill>
              </a:ln>
              <a:latin typeface="方正风雅宋简体" pitchFamily="2" charset="-122"/>
              <a:ea typeface="方正风雅宋简体" pitchFamily="2" charset="-122"/>
            </a:endParaRPr>
          </a:p>
        </p:txBody>
      </p:sp>
      <p:sp>
        <p:nvSpPr>
          <p:cNvPr id="14"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卡</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7" name="矩形 16"/>
          <p:cNvSpPr/>
          <p:nvPr/>
        </p:nvSpPr>
        <p:spPr>
          <a:xfrm>
            <a:off x="53789" y="169527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36442" y="170647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59726" y="170647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60883" y="2356807"/>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63749" y="242281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61544" y="235819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82364" y="307695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31825" y="312209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0875" y="3027843"/>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57330" y="1704713"/>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7938" y="235457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729" y="302941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737" y="3027672"/>
            <a:ext cx="671231" cy="681144"/>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835" y="1679218"/>
            <a:ext cx="656033" cy="673932"/>
          </a:xfrm>
          <a:prstGeom prst="rect">
            <a:avLst/>
          </a:prstGeom>
        </p:spPr>
      </p:pic>
      <p:sp>
        <p:nvSpPr>
          <p:cNvPr id="39" name="矩形 38"/>
          <p:cNvSpPr/>
          <p:nvPr/>
        </p:nvSpPr>
        <p:spPr>
          <a:xfrm>
            <a:off x="74857" y="195997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42479" y="174388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06118" y="3300395"/>
            <a:ext cx="1019854" cy="338554"/>
          </a:xfrm>
          <a:prstGeom prst="rect">
            <a:avLst/>
          </a:prstGeom>
        </p:spPr>
        <p:txBody>
          <a:bodyPr wrap="square">
            <a:spAutoFit/>
          </a:bodyPr>
          <a:lstStyle/>
          <a:p>
            <a:r>
              <a:rPr lang="zh-CN" altLang="en-US" sz="1600" b="1" dirty="0" smtClean="0"/>
              <a:t>报销要求</a:t>
            </a:r>
            <a:endParaRPr lang="zh-CN" altLang="en-US" sz="1600" b="1" dirty="0"/>
          </a:p>
        </p:txBody>
      </p:sp>
      <p:sp>
        <p:nvSpPr>
          <p:cNvPr id="42" name="矩形 41"/>
          <p:cNvSpPr/>
          <p:nvPr/>
        </p:nvSpPr>
        <p:spPr>
          <a:xfrm>
            <a:off x="231805" y="3083709"/>
            <a:ext cx="493844" cy="338554"/>
          </a:xfrm>
          <a:prstGeom prst="rect">
            <a:avLst/>
          </a:prstGeom>
        </p:spPr>
        <p:txBody>
          <a:bodyPr wrap="square">
            <a:spAutoFit/>
          </a:bodyPr>
          <a:lstStyle/>
          <a:p>
            <a:r>
              <a:rPr lang="en-US" altLang="zh-CN" sz="1600" b="1" dirty="0" smtClean="0"/>
              <a:t>04</a:t>
            </a:r>
            <a:endParaRPr lang="zh-CN" altLang="en-US" sz="1600" b="1" dirty="0"/>
          </a:p>
        </p:txBody>
      </p:sp>
      <p:sp>
        <p:nvSpPr>
          <p:cNvPr id="43" name="矩形 42"/>
          <p:cNvSpPr/>
          <p:nvPr/>
        </p:nvSpPr>
        <p:spPr>
          <a:xfrm>
            <a:off x="741114" y="262720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4" name="矩形 43"/>
          <p:cNvSpPr/>
          <p:nvPr/>
        </p:nvSpPr>
        <p:spPr>
          <a:xfrm>
            <a:off x="940996" y="240408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5" name="矩形 44"/>
          <p:cNvSpPr/>
          <p:nvPr/>
        </p:nvSpPr>
        <p:spPr>
          <a:xfrm>
            <a:off x="778004" y="330900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953187" y="309360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47" name="矩形 46"/>
          <p:cNvSpPr/>
          <p:nvPr/>
        </p:nvSpPr>
        <p:spPr>
          <a:xfrm>
            <a:off x="1431825" y="332648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0" name="矩形 49"/>
          <p:cNvSpPr/>
          <p:nvPr/>
        </p:nvSpPr>
        <p:spPr>
          <a:xfrm>
            <a:off x="1594756" y="310297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178046985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3.05556E-6 -0.05741 C 0.00781 -0.0855 0.01614 -0.11358 0.025 -0.14074 C 0.02968 -0.15494 0.03246 -0.17161 0.0375 -0.18519 C 0.03889 -0.19784 0.04132 -0.20648 0.04583 -0.21667 C 0.04913 -0.23426 0.05399 -0.24753 0.05937 -0.26297 C 0.06354 -0.275 0.06614 -0.28797 0.07187 -0.29815 C 0.07587 -0.31574 0.08368 -0.33025 0.09062 -0.34445 C 0.09305 -0.34939 0.09618 -0.35525 0.09791 -0.36111 C 0.09843 -0.36297 0.09826 -0.36513 0.09896 -0.36667 C 0.10642 -0.38334 0.12309 -0.40247 0.13437 -0.40741 C 0.14826 -0.42161 0.16337 -0.42562 0.17916 -0.42963 C 0.25677 -0.42747 0.221 -0.4321 0.25416 -0.42037 C 0.2559 -0.41821 0.26024 -0.41327 0.26146 -0.41111 C 0.26406 -0.40648 0.26406 -0.40093 0.26666 -0.3963 " pathEditMode="relative" rAng="0" ptsTypes="fffffffffffffA">
                                      <p:cBhvr>
                                        <p:cTn id="11" dur="2000" fill="hold"/>
                                        <p:tgtEl>
                                          <p:spTgt spid="42"/>
                                        </p:tgtEl>
                                        <p:attrNameLst>
                                          <p:attrName>ppt_x</p:attrName>
                                          <p:attrName>ppt_y</p:attrName>
                                        </p:attrNameLst>
                                      </p:cBhvr>
                                      <p:rCtr x="13333" y="-18735"/>
                                    </p:animMotion>
                                  </p:childTnLst>
                                </p:cTn>
                              </p:par>
                              <p:par>
                                <p:cTn id="12" presetID="0" presetClass="path" presetSubtype="0" accel="50000" decel="50000" fill="hold" grpId="0" nodeType="withEffect">
                                  <p:stCondLst>
                                    <p:cond delay="0"/>
                                  </p:stCondLst>
                                  <p:childTnLst>
                                    <p:animMotion origin="layout" path="M 2.77778E-6 -0.0574 C 0.00781 -0.08549 0.01614 -0.11358 0.025 -0.14074 C 0.02968 -0.15494 0.03246 -0.1716 0.0375 -0.18518 C 0.03889 -0.19784 0.04132 -0.20648 0.04583 -0.21666 C 0.04913 -0.23426 0.05399 -0.24753 0.05937 -0.26296 C 0.06354 -0.275 0.06614 -0.28796 0.07187 -0.29815 C 0.07587 -0.31574 0.08368 -0.33024 0.09062 -0.34444 C 0.09305 -0.34938 0.09618 -0.35524 0.09791 -0.36111 C 0.09843 -0.36296 0.09826 -0.36512 0.09896 -0.36666 C 0.10642 -0.38333 0.12309 -0.40247 0.13437 -0.4074 C 0.14826 -0.4216 0.16337 -0.42561 0.17916 -0.42963 C 0.25677 -0.42747 0.221 -0.4321 0.25416 -0.42037 C 0.2559 -0.41821 0.26024 -0.41327 0.26146 -0.41111 C 0.26406 -0.40648 0.26406 -0.40092 0.26666 -0.39629 " pathEditMode="relative" rAng="0" ptsTypes="fffffffffffffA">
                                      <p:cBhvr>
                                        <p:cTn id="13" dur="2000" fill="hold"/>
                                        <p:tgtEl>
                                          <p:spTgt spid="41"/>
                                        </p:tgtEl>
                                        <p:attrNameLst>
                                          <p:attrName>ppt_x</p:attrName>
                                          <p:attrName>ppt_y</p:attrName>
                                        </p:attrNameLst>
                                      </p:cBhvr>
                                      <p:rCtr x="13333" y="-18735"/>
                                    </p:animMotion>
                                  </p:childTnLst>
                                </p:cTn>
                              </p:par>
                              <p:par>
                                <p:cTn id="14" presetID="0" presetClass="path" presetSubtype="0" accel="50000" decel="50000" fill="hold" nodeType="withEffect">
                                  <p:stCondLst>
                                    <p:cond delay="0"/>
                                  </p:stCondLst>
                                  <p:childTnLst>
                                    <p:animMotion origin="layout" path="M -1.66667E-6 -0.05741 C 0.00781 -0.08549 0.01615 -0.11358 0.025 -0.14074 C 0.02969 -0.15494 0.03247 -0.17161 0.0375 -0.18519 C 0.03889 -0.19784 0.04132 -0.20648 0.04584 -0.21667 C 0.04913 -0.23426 0.05399 -0.24753 0.05938 -0.26296 C 0.06354 -0.275 0.06615 -0.28796 0.07188 -0.29815 C 0.07587 -0.31574 0.08368 -0.33025 0.09063 -0.34444 C 0.09306 -0.34938 0.09618 -0.35525 0.09792 -0.36111 C 0.09844 -0.36296 0.09827 -0.36512 0.09896 -0.36667 C 0.10643 -0.38333 0.12309 -0.40247 0.13438 -0.40741 C 0.14827 -0.42161 0.16337 -0.42562 0.17917 -0.42963 C 0.25677 -0.42747 0.22101 -0.4321 0.25417 -0.42037 C 0.2559 -0.41821 0.26024 -0.41327 0.26146 -0.41111 C 0.26406 -0.40648 0.26406 -0.40093 0.26667 -0.3963 " pathEditMode="relative" rAng="0" ptsTypes="fffffffffffffA">
                                      <p:cBhvr>
                                        <p:cTn id="15" dur="2000" fill="hold"/>
                                        <p:tgtEl>
                                          <p:spTgt spid="37"/>
                                        </p:tgtEl>
                                        <p:attrNameLst>
                                          <p:attrName>ppt_x</p:attrName>
                                          <p:attrName>ppt_y</p:attrName>
                                        </p:attrNameLst>
                                      </p:cBhvr>
                                      <p:rCtr x="13333" y="-18735"/>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42"/>
                                        </p:tgtEl>
                                      </p:cBhvr>
                                      <p:by x="150000" y="150000"/>
                                    </p:animScale>
                                  </p:childTnLst>
                                </p:cTn>
                              </p:par>
                              <p:par>
                                <p:cTn id="19" presetID="6" presetClass="emph" presetSubtype="0" fill="hold" grpId="1" nodeType="withEffect">
                                  <p:stCondLst>
                                    <p:cond delay="0"/>
                                  </p:stCondLst>
                                  <p:childTnLst>
                                    <p:animScale>
                                      <p:cBhvr>
                                        <p:cTn id="20" dur="2000" fill="hold"/>
                                        <p:tgtEl>
                                          <p:spTgt spid="41"/>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p:tgtEl>
                                          <p:spTgt spid="16"/>
                                        </p:tgtEl>
                                        <p:attrNameLst>
                                          <p:attrName>ppt_y</p:attrName>
                                        </p:attrNameLst>
                                      </p:cBhvr>
                                      <p:tavLst>
                                        <p:tav tm="0">
                                          <p:val>
                                            <p:strVal val="#ppt_y+#ppt_h*1.125000"/>
                                          </p:val>
                                        </p:tav>
                                        <p:tav tm="100000">
                                          <p:val>
                                            <p:strVal val="#ppt_y"/>
                                          </p:val>
                                        </p:tav>
                                      </p:tavLst>
                                    </p:anim>
                                    <p:animEffect transition="in" filter="wipe(up)">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6" grpId="0"/>
      <p:bldP spid="41" grpId="0"/>
      <p:bldP spid="41" grpId="1"/>
      <p:bldP spid="42" grpId="0"/>
      <p:bldP spid="42" grpId="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7" name="TextBox 18"/>
          <p:cNvSpPr>
            <a:spLocks noChangeArrowheads="1"/>
          </p:cNvSpPr>
          <p:nvPr/>
        </p:nvSpPr>
        <p:spPr bwMode="auto">
          <a:xfrm>
            <a:off x="2155981" y="1787749"/>
            <a:ext cx="6902294" cy="2273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1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在县级以下（不包括县级）地区发生的公务支出</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在县级及县级以上地区不具备转账和刷卡条件的场所发生的公务支出</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按规定支付给个人的支出。如确需用现金发放的慰问费、其他抚恤救济性支出，确需用现金支付给临时聘用人员的费用，确需用现金支付的培训费、劳务费、讲课费、评审费、咨询费等</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目前只能使用现金结算</a:t>
            </a:r>
            <a:r>
              <a:rPr lang="zh-CN" altLang="en-US" sz="1050" b="1" dirty="0">
                <a:ln w="3175">
                  <a:solidFill>
                    <a:schemeClr val="tx1"/>
                  </a:solidFill>
                </a:ln>
                <a:latin typeface="方正风雅宋简体" pitchFamily="2" charset="-122"/>
                <a:ea typeface="方正风雅宋简体" pitchFamily="2" charset="-122"/>
              </a:rPr>
              <a:t>：</a:t>
            </a:r>
            <a:r>
              <a:rPr lang="zh-CN" altLang="zh-CN" sz="1050" b="1" dirty="0">
                <a:ln w="3175">
                  <a:solidFill>
                    <a:schemeClr val="tx1"/>
                  </a:solidFill>
                </a:ln>
                <a:latin typeface="方正风雅宋简体" pitchFamily="2" charset="-122"/>
                <a:ea typeface="方正风雅宋简体" pitchFamily="2" charset="-122"/>
              </a:rPr>
              <a:t>签证费、快递费、过桥过路费、出租车费用等</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确因工作需要，长期出差出国等导致持卡人不能在公务卡结算期限内返回单位办理报销手续的支出</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因科研工作需要发生的市内交通费，但须报科研管理部门（或外事部门）及财务部门批准</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其他（如刻章费、拍照费、复打印费、海报（或名片）制作费、邮寄费、医疗费用等）确需使用现金结算的支出</a:t>
            </a:r>
            <a:endParaRPr lang="zh-CN" altLang="en-US" sz="1050" b="1" dirty="0">
              <a:ln w="3175">
                <a:solidFill>
                  <a:schemeClr val="tx1"/>
                </a:solidFill>
              </a:ln>
              <a:latin typeface="方正风雅宋简体" pitchFamily="2" charset="-122"/>
              <a:ea typeface="方正风雅宋简体" pitchFamily="2" charset="-122"/>
            </a:endParaRPr>
          </a:p>
        </p:txBody>
      </p:sp>
      <p:sp>
        <p:nvSpPr>
          <p:cNvPr id="2" name="TextBox 1"/>
          <p:cNvSpPr txBox="1"/>
          <p:nvPr/>
        </p:nvSpPr>
        <p:spPr>
          <a:xfrm>
            <a:off x="2133600" y="4004038"/>
            <a:ext cx="6610350" cy="307777"/>
          </a:xfrm>
          <a:prstGeom prst="rect">
            <a:avLst/>
          </a:prstGeom>
          <a:noFill/>
        </p:spPr>
        <p:txBody>
          <a:bodyPr wrap="square" rtlCol="0">
            <a:spAutoFit/>
          </a:bodyPr>
          <a:lstStyle/>
          <a:p>
            <a:r>
              <a:rPr lang="zh-CN" altLang="zh-CN" sz="1400" b="1" dirty="0">
                <a:solidFill>
                  <a:srgbClr val="FF0000"/>
                </a:solidFill>
                <a:latin typeface="方正粗雅宋_GBK" pitchFamily="2" charset="-122"/>
                <a:ea typeface="方正粗雅宋_GBK" pitchFamily="2" charset="-122"/>
              </a:rPr>
              <a:t>上述可用现金结算的事项，在办理报销时不再附额外证明材料</a:t>
            </a:r>
            <a:endParaRPr lang="zh-CN" altLang="en-US" sz="1400" b="1" dirty="0">
              <a:solidFill>
                <a:srgbClr val="FF0000"/>
              </a:solidFill>
              <a:latin typeface="方正粗雅宋_GBK" pitchFamily="2" charset="-122"/>
              <a:ea typeface="方正粗雅宋_GBK" pitchFamily="2" charset="-122"/>
            </a:endParaRPr>
          </a:p>
        </p:txBody>
      </p:sp>
      <p:sp>
        <p:nvSpPr>
          <p:cNvPr id="16"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卡</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21" name="矩形 20"/>
          <p:cNvSpPr/>
          <p:nvPr/>
        </p:nvSpPr>
        <p:spPr>
          <a:xfrm>
            <a:off x="63314" y="1666702"/>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745967" y="1677897"/>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1469251" y="1677897"/>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0408" y="2328232"/>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773274" y="2394242"/>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6" name="矩形 25"/>
          <p:cNvSpPr/>
          <p:nvPr/>
        </p:nvSpPr>
        <p:spPr>
          <a:xfrm>
            <a:off x="1471069" y="2329622"/>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32" name="矩形 31"/>
          <p:cNvSpPr/>
          <p:nvPr/>
        </p:nvSpPr>
        <p:spPr>
          <a:xfrm>
            <a:off x="91889" y="3048384"/>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3" name="矩形 32"/>
          <p:cNvSpPr/>
          <p:nvPr/>
        </p:nvSpPr>
        <p:spPr>
          <a:xfrm>
            <a:off x="1460400" y="3093522"/>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4" name="图片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3943" y="3008649"/>
            <a:ext cx="702038" cy="661924"/>
          </a:xfrm>
          <a:prstGeom prst="rect">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66855" y="1676138"/>
            <a:ext cx="668061" cy="643870"/>
          </a:xfrm>
          <a:prstGeom prst="rect">
            <a:avLst/>
          </a:prstGeom>
        </p:spPr>
      </p:pic>
      <p:pic>
        <p:nvPicPr>
          <p:cNvPr id="36" name="图片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7463" y="2326000"/>
            <a:ext cx="698394" cy="673267"/>
          </a:xfrm>
          <a:prstGeom prst="rect">
            <a:avLst/>
          </a:prstGeom>
        </p:spPr>
      </p:pic>
      <p:pic>
        <p:nvPicPr>
          <p:cNvPr id="37" name="图片 3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9254" y="3000844"/>
            <a:ext cx="671145" cy="661924"/>
          </a:xfrm>
          <a:prstGeom prst="rect">
            <a:avLst/>
          </a:prstGeom>
        </p:spPr>
      </p:pic>
      <p:pic>
        <p:nvPicPr>
          <p:cNvPr id="38" name="图片 3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262" y="2999097"/>
            <a:ext cx="671231" cy="681144"/>
          </a:xfrm>
          <a:prstGeom prst="rect">
            <a:avLst/>
          </a:prstGeom>
        </p:spPr>
      </p:pic>
      <p:pic>
        <p:nvPicPr>
          <p:cNvPr id="39" name="图片 3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360" y="1650643"/>
            <a:ext cx="656033" cy="673932"/>
          </a:xfrm>
          <a:prstGeom prst="rect">
            <a:avLst/>
          </a:prstGeom>
        </p:spPr>
      </p:pic>
      <p:sp>
        <p:nvSpPr>
          <p:cNvPr id="40" name="矩形 39"/>
          <p:cNvSpPr/>
          <p:nvPr/>
        </p:nvSpPr>
        <p:spPr>
          <a:xfrm>
            <a:off x="84382" y="1931398"/>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1" name="矩形 40"/>
          <p:cNvSpPr/>
          <p:nvPr/>
        </p:nvSpPr>
        <p:spPr>
          <a:xfrm>
            <a:off x="252004" y="1715314"/>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2" name="矩形 41"/>
          <p:cNvSpPr/>
          <p:nvPr/>
        </p:nvSpPr>
        <p:spPr>
          <a:xfrm>
            <a:off x="1492966" y="1958502"/>
            <a:ext cx="1030043"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3" name="矩形 42"/>
          <p:cNvSpPr/>
          <p:nvPr/>
        </p:nvSpPr>
        <p:spPr>
          <a:xfrm>
            <a:off x="1682291" y="1733575"/>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4" name="矩形 43"/>
          <p:cNvSpPr/>
          <p:nvPr/>
        </p:nvSpPr>
        <p:spPr>
          <a:xfrm>
            <a:off x="84382" y="3271820"/>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5" name="矩形 44"/>
          <p:cNvSpPr/>
          <p:nvPr/>
        </p:nvSpPr>
        <p:spPr>
          <a:xfrm>
            <a:off x="279430" y="3055134"/>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6" name="矩形 45"/>
          <p:cNvSpPr/>
          <p:nvPr/>
        </p:nvSpPr>
        <p:spPr>
          <a:xfrm>
            <a:off x="750639" y="2598628"/>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7" name="矩形 46"/>
          <p:cNvSpPr/>
          <p:nvPr/>
        </p:nvSpPr>
        <p:spPr>
          <a:xfrm>
            <a:off x="950521" y="2375514"/>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50" name="矩形 49"/>
          <p:cNvSpPr/>
          <p:nvPr/>
        </p:nvSpPr>
        <p:spPr>
          <a:xfrm>
            <a:off x="530352" y="3280434"/>
            <a:ext cx="1391909" cy="307777"/>
          </a:xfrm>
          <a:prstGeom prst="rect">
            <a:avLst/>
          </a:prstGeom>
        </p:spPr>
        <p:txBody>
          <a:bodyPr wrap="square">
            <a:spAutoFit/>
          </a:bodyPr>
          <a:lstStyle/>
          <a:p>
            <a:r>
              <a:rPr lang="zh-CN" altLang="en-US" sz="1400" b="1" dirty="0" smtClean="0"/>
              <a:t>不使用范围</a:t>
            </a:r>
            <a:endParaRPr lang="zh-CN" altLang="en-US" sz="1400" b="1" dirty="0"/>
          </a:p>
        </p:txBody>
      </p:sp>
      <p:sp>
        <p:nvSpPr>
          <p:cNvPr id="51" name="矩形 50"/>
          <p:cNvSpPr/>
          <p:nvPr/>
        </p:nvSpPr>
        <p:spPr>
          <a:xfrm>
            <a:off x="924612" y="3045982"/>
            <a:ext cx="401736" cy="338554"/>
          </a:xfrm>
          <a:prstGeom prst="rect">
            <a:avLst/>
          </a:prstGeom>
        </p:spPr>
        <p:txBody>
          <a:bodyPr wrap="square">
            <a:spAutoFit/>
          </a:bodyPr>
          <a:lstStyle/>
          <a:p>
            <a:r>
              <a:rPr lang="en-US" altLang="zh-CN" sz="1600" b="1" dirty="0" smtClean="0"/>
              <a:t>05</a:t>
            </a:r>
            <a:endParaRPr lang="zh-CN" altLang="en-US" sz="1600" b="1" dirty="0"/>
          </a:p>
        </p:txBody>
      </p:sp>
      <p:sp>
        <p:nvSpPr>
          <p:cNvPr id="52" name="矩形 51"/>
          <p:cNvSpPr/>
          <p:nvPr/>
        </p:nvSpPr>
        <p:spPr>
          <a:xfrm>
            <a:off x="1441350" y="3297908"/>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3" name="矩形 52"/>
          <p:cNvSpPr/>
          <p:nvPr/>
        </p:nvSpPr>
        <p:spPr>
          <a:xfrm>
            <a:off x="1604281" y="3074398"/>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425735210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979 -0.05926 C -0.01858 -0.06944 -0.01754 -0.07253 -0.01354 -0.07963 C -0.01094 -0.09352 -0.00486 -0.10247 -0.00104 -0.11481 C 0.00434 -0.1321 0.00764 -0.15093 0.0125 -0.16852 C 0.01857 -0.19012 0.02465 -0.21111 0.03229 -0.23148 C 0.0335 -0.24074 0.03576 -0.24383 0.03854 -0.25185 C 0.04323 -0.26512 0.04809 -0.2858 0.05521 -0.29444 C 0.06666 -0.325 0.08038 -0.35772 0.09896 -0.37407 C 0.10659 -0.38086 0.11892 -0.3963 0.12812 -0.3963 C 0.14791 -0.3963 0.16771 -0.3963 0.1875 -0.3963 " pathEditMode="relative" rAng="0" ptsTypes="fffffffffA">
                                      <p:cBhvr>
                                        <p:cTn id="11" dur="2000" fill="hold"/>
                                        <p:tgtEl>
                                          <p:spTgt spid="51"/>
                                        </p:tgtEl>
                                        <p:attrNameLst>
                                          <p:attrName>ppt_x</p:attrName>
                                          <p:attrName>ppt_y</p:attrName>
                                        </p:attrNameLst>
                                      </p:cBhvr>
                                      <p:rCtr x="10365" y="-16852"/>
                                    </p:animMotion>
                                  </p:childTnLst>
                                </p:cTn>
                              </p:par>
                              <p:par>
                                <p:cTn id="12" presetID="0" presetClass="path" presetSubtype="0" accel="50000" decel="50000" fill="hold" grpId="0" nodeType="withEffect">
                                  <p:stCondLst>
                                    <p:cond delay="0"/>
                                  </p:stCondLst>
                                  <p:childTnLst>
                                    <p:animMotion origin="layout" path="M -0.01979 -0.05926 C -0.01857 -0.06945 -0.01753 -0.07253 -0.01354 -0.07963 C -0.01093 -0.09352 -0.00486 -0.10247 -0.00104 -0.11482 C 0.00435 -0.1321 0.00764 -0.15093 0.0125 -0.16852 C 0.01858 -0.19012 0.02466 -0.21111 0.0323 -0.23148 C 0.03351 -0.24074 0.03577 -0.24383 0.03855 -0.25185 C 0.04323 -0.26512 0.0481 -0.2858 0.05521 -0.29445 C 0.06667 -0.325 0.08039 -0.35772 0.09896 -0.37408 C 0.1066 -0.38087 0.11893 -0.3963 0.12813 -0.3963 C 0.14792 -0.3963 0.16771 -0.3963 0.1875 -0.3963 " pathEditMode="relative" rAng="0" ptsTypes="fffffffffA">
                                      <p:cBhvr>
                                        <p:cTn id="13" dur="2000" fill="hold"/>
                                        <p:tgtEl>
                                          <p:spTgt spid="50"/>
                                        </p:tgtEl>
                                        <p:attrNameLst>
                                          <p:attrName>ppt_x</p:attrName>
                                          <p:attrName>ppt_y</p:attrName>
                                        </p:attrNameLst>
                                      </p:cBhvr>
                                      <p:rCtr x="10365" y="-16852"/>
                                    </p:animMotion>
                                  </p:childTnLst>
                                </p:cTn>
                              </p:par>
                              <p:par>
                                <p:cTn id="14" presetID="0" presetClass="path" presetSubtype="0" accel="50000" decel="50000" fill="hold" nodeType="withEffect">
                                  <p:stCondLst>
                                    <p:cond delay="0"/>
                                  </p:stCondLst>
                                  <p:childTnLst>
                                    <p:animMotion origin="layout" path="M -0.01979 -0.05926 C -0.01858 -0.06944 -0.01754 -0.07253 -0.01354 -0.07963 C -0.01094 -0.09352 -0.00486 -0.10247 -0.00104 -0.11481 C 0.00434 -0.1321 0.00764 -0.15093 0.0125 -0.16852 C 0.01857 -0.19012 0.02465 -0.21111 0.03229 -0.23148 C 0.0335 -0.24074 0.03576 -0.24383 0.03854 -0.25185 C 0.04323 -0.26512 0.04809 -0.2858 0.05521 -0.29444 C 0.06666 -0.325 0.08038 -0.35772 0.09896 -0.37407 C 0.10659 -0.38086 0.11892 -0.3963 0.12812 -0.3963 C 0.14791 -0.3963 0.16771 -0.3963 0.1875 -0.3963 " pathEditMode="relative" rAng="0" ptsTypes="fffffffffA">
                                      <p:cBhvr>
                                        <p:cTn id="15" dur="2000" fill="hold"/>
                                        <p:tgtEl>
                                          <p:spTgt spid="37"/>
                                        </p:tgtEl>
                                        <p:attrNameLst>
                                          <p:attrName>ppt_x</p:attrName>
                                          <p:attrName>ppt_y</p:attrName>
                                        </p:attrNameLst>
                                      </p:cBhvr>
                                      <p:rCtr x="10365" y="-16852"/>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51"/>
                                        </p:tgtEl>
                                      </p:cBhvr>
                                      <p:by x="150000" y="150000"/>
                                    </p:animScale>
                                  </p:childTnLst>
                                </p:cTn>
                              </p:par>
                              <p:par>
                                <p:cTn id="19" presetID="6" presetClass="emph" presetSubtype="0" fill="hold" grpId="1" nodeType="withEffect">
                                  <p:stCondLst>
                                    <p:cond delay="0"/>
                                  </p:stCondLst>
                                  <p:childTnLst>
                                    <p:animScale>
                                      <p:cBhvr>
                                        <p:cTn id="20" dur="2000" fill="hold"/>
                                        <p:tgtEl>
                                          <p:spTgt spid="50"/>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500"/>
                                        <p:tgtEl>
                                          <p:spTgt spid="17"/>
                                        </p:tgtEl>
                                        <p:attrNameLst>
                                          <p:attrName>ppt_y</p:attrName>
                                        </p:attrNameLst>
                                      </p:cBhvr>
                                      <p:tavLst>
                                        <p:tav tm="0">
                                          <p:val>
                                            <p:strVal val="#ppt_y+#ppt_h*1.125000"/>
                                          </p:val>
                                        </p:tav>
                                        <p:tav tm="100000">
                                          <p:val>
                                            <p:strVal val="#ppt_y"/>
                                          </p:val>
                                        </p:tav>
                                      </p:tavLst>
                                    </p:anim>
                                    <p:animEffect transition="in" filter="wipe(up)">
                                      <p:cBhvr>
                                        <p:cTn id="25" dur="500"/>
                                        <p:tgtEl>
                                          <p:spTgt spid="17"/>
                                        </p:tgtEl>
                                      </p:cBhvr>
                                    </p:animEffect>
                                  </p:childTnLst>
                                </p:cTn>
                              </p:par>
                              <p:par>
                                <p:cTn id="26" presetID="12" presetClass="entr" presetSubtype="4" fill="hold" grpId="0" nodeType="withEffect">
                                  <p:stCondLst>
                                    <p:cond delay="0"/>
                                  </p:stCondLst>
                                  <p:childTnLst>
                                    <p:set>
                                      <p:cBhvr>
                                        <p:cTn id="27" dur="1" fill="hold">
                                          <p:stCondLst>
                                            <p:cond delay="0"/>
                                          </p:stCondLst>
                                        </p:cTn>
                                        <p:tgtEl>
                                          <p:spTgt spid="2"/>
                                        </p:tgtEl>
                                        <p:attrNameLst>
                                          <p:attrName>style.visibility</p:attrName>
                                        </p:attrNameLst>
                                      </p:cBhvr>
                                      <p:to>
                                        <p:strVal val="visible"/>
                                      </p:to>
                                    </p:set>
                                    <p:anim calcmode="lin" valueType="num">
                                      <p:cBhvr additive="base">
                                        <p:cTn id="28" dur="500"/>
                                        <p:tgtEl>
                                          <p:spTgt spid="2"/>
                                        </p:tgtEl>
                                        <p:attrNameLst>
                                          <p:attrName>ppt_y</p:attrName>
                                        </p:attrNameLst>
                                      </p:cBhvr>
                                      <p:tavLst>
                                        <p:tav tm="0">
                                          <p:val>
                                            <p:strVal val="#ppt_y+#ppt_h*1.125000"/>
                                          </p:val>
                                        </p:tav>
                                        <p:tav tm="100000">
                                          <p:val>
                                            <p:strVal val="#ppt_y"/>
                                          </p:val>
                                        </p:tav>
                                      </p:tavLst>
                                    </p:anim>
                                    <p:animEffect transition="in" filter="wipe(up)">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p:bldP spid="2" grpId="0"/>
      <p:bldP spid="50" grpId="0"/>
      <p:bldP spid="50" grpId="1"/>
      <p:bldP spid="51" grpId="0"/>
      <p:bldP spid="51" grpId="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6" name="TextBox 18"/>
          <p:cNvSpPr>
            <a:spLocks noChangeArrowheads="1"/>
          </p:cNvSpPr>
          <p:nvPr/>
        </p:nvSpPr>
        <p:spPr bwMode="auto">
          <a:xfrm>
            <a:off x="2155981" y="1781175"/>
            <a:ext cx="6473669" cy="2112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en-US" sz="1050" b="1" dirty="0">
                <a:ln w="3175">
                  <a:solidFill>
                    <a:schemeClr val="tx1"/>
                  </a:solidFill>
                </a:ln>
                <a:latin typeface="方正风雅宋简体" pitchFamily="2" charset="-122"/>
                <a:ea typeface="方正风雅宋简体" pitchFamily="2" charset="-122"/>
              </a:rPr>
              <a:t>还有</a:t>
            </a:r>
            <a:r>
              <a:rPr lang="zh-CN" altLang="zh-CN" sz="1050" b="1" dirty="0">
                <a:ln w="3175">
                  <a:solidFill>
                    <a:schemeClr val="tx1"/>
                  </a:solidFill>
                </a:ln>
                <a:latin typeface="方正风雅宋简体" pitchFamily="2" charset="-122"/>
                <a:ea typeface="方正风雅宋简体" pitchFamily="2" charset="-122"/>
              </a:rPr>
              <a:t>其他特殊事项，由财务部门负责人在借款单或报销单上签批，并作为报销证明材料</a:t>
            </a:r>
            <a:endParaRPr lang="zh-CN" altLang="en-US"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公务卡为个人信用卡，公务卡持有人的公务消费支出须及时报销并由单位还款，其他消费支出均由个人负责还款，单位不承担因个人原因导致的一切责任（包括滞纳金）</a:t>
            </a:r>
            <a:endParaRPr lang="zh-CN" altLang="en-US"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持卡人离所，应及时办理销卡手续，不得继续使用公务卡，销卡与否作为办理正常离所手续依据之一。若离所人员不配合销卡，财务部门可直接提请发卡银行冻结相应的公务卡</a:t>
            </a:r>
            <a:endParaRPr lang="zh-CN" altLang="en-US" sz="1050" b="1" dirty="0">
              <a:ln w="3175">
                <a:solidFill>
                  <a:schemeClr val="tx1"/>
                </a:solidFill>
              </a:ln>
              <a:latin typeface="方正风雅宋简体" pitchFamily="2" charset="-122"/>
              <a:ea typeface="方正风雅宋简体" pitchFamily="2" charset="-122"/>
            </a:endParaRPr>
          </a:p>
        </p:txBody>
      </p:sp>
      <p:sp>
        <p:nvSpPr>
          <p:cNvPr id="14" name="文本框 3"/>
          <p:cNvSpPr txBox="1"/>
          <p:nvPr/>
        </p:nvSpPr>
        <p:spPr>
          <a:xfrm>
            <a:off x="858588" y="171608"/>
            <a:ext cx="1979862"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卡</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7" name="矩形 16"/>
          <p:cNvSpPr/>
          <p:nvPr/>
        </p:nvSpPr>
        <p:spPr>
          <a:xfrm>
            <a:off x="34739" y="17143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17392" y="17255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40676" y="172552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41833" y="2375857"/>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44699" y="24418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42494" y="23772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63314" y="30960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12774" y="3067434"/>
            <a:ext cx="693567" cy="631857"/>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1150" y="3038944"/>
            <a:ext cx="675191"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38280" y="1723763"/>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8888" y="237362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0679" y="304846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87" y="3046722"/>
            <a:ext cx="671231" cy="681144"/>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785" y="1698268"/>
            <a:ext cx="656033" cy="673932"/>
          </a:xfrm>
          <a:prstGeom prst="rect">
            <a:avLst/>
          </a:prstGeom>
        </p:spPr>
      </p:pic>
      <p:sp>
        <p:nvSpPr>
          <p:cNvPr id="39" name="矩形 38"/>
          <p:cNvSpPr/>
          <p:nvPr/>
        </p:nvSpPr>
        <p:spPr>
          <a:xfrm>
            <a:off x="55807" y="197902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23429" y="176293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653716" y="1781200"/>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2" name="矩形 41"/>
          <p:cNvSpPr/>
          <p:nvPr/>
        </p:nvSpPr>
        <p:spPr>
          <a:xfrm>
            <a:off x="55807" y="33194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3" name="矩形 42"/>
          <p:cNvSpPr/>
          <p:nvPr/>
        </p:nvSpPr>
        <p:spPr>
          <a:xfrm>
            <a:off x="250855" y="31027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4" name="矩形 43"/>
          <p:cNvSpPr/>
          <p:nvPr/>
        </p:nvSpPr>
        <p:spPr>
          <a:xfrm>
            <a:off x="722064" y="26462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5" name="矩形 44"/>
          <p:cNvSpPr/>
          <p:nvPr/>
        </p:nvSpPr>
        <p:spPr>
          <a:xfrm>
            <a:off x="921946" y="24231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6" name="矩形 45"/>
          <p:cNvSpPr/>
          <p:nvPr/>
        </p:nvSpPr>
        <p:spPr>
          <a:xfrm>
            <a:off x="758954" y="33280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7" name="矩形 46"/>
          <p:cNvSpPr/>
          <p:nvPr/>
        </p:nvSpPr>
        <p:spPr>
          <a:xfrm>
            <a:off x="934137" y="31126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0" name="矩形 49"/>
          <p:cNvSpPr/>
          <p:nvPr/>
        </p:nvSpPr>
        <p:spPr>
          <a:xfrm>
            <a:off x="1250850" y="3355058"/>
            <a:ext cx="1035150" cy="338554"/>
          </a:xfrm>
          <a:prstGeom prst="rect">
            <a:avLst/>
          </a:prstGeom>
        </p:spPr>
        <p:txBody>
          <a:bodyPr wrap="square">
            <a:spAutoFit/>
          </a:bodyPr>
          <a:lstStyle/>
          <a:p>
            <a:r>
              <a:rPr lang="zh-CN" altLang="en-US" sz="1600" b="1" dirty="0" smtClean="0"/>
              <a:t>注意事项</a:t>
            </a:r>
            <a:endParaRPr lang="zh-CN" altLang="en-US" sz="1600" b="1" dirty="0"/>
          </a:p>
        </p:txBody>
      </p:sp>
      <p:sp>
        <p:nvSpPr>
          <p:cNvPr id="51" name="矩形 50"/>
          <p:cNvSpPr/>
          <p:nvPr/>
        </p:nvSpPr>
        <p:spPr>
          <a:xfrm>
            <a:off x="1575706" y="3093448"/>
            <a:ext cx="429963" cy="338554"/>
          </a:xfrm>
          <a:prstGeom prst="rect">
            <a:avLst/>
          </a:prstGeom>
        </p:spPr>
        <p:txBody>
          <a:bodyPr wrap="square">
            <a:spAutoFit/>
          </a:bodyPr>
          <a:lstStyle/>
          <a:p>
            <a:r>
              <a:rPr lang="en-US" altLang="zh-CN" sz="1600" b="1" dirty="0" smtClean="0"/>
              <a:t>06</a:t>
            </a:r>
            <a:endParaRPr lang="zh-CN" altLang="en-US" sz="1600" b="1" dirty="0"/>
          </a:p>
        </p:txBody>
      </p:sp>
    </p:spTree>
    <p:extLst>
      <p:ext uri="{BB962C8B-B14F-4D97-AF65-F5344CB8AC3E}">
        <p14:creationId xmlns:p14="http://schemas.microsoft.com/office/powerpoint/2010/main" val="154525239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145 -0.05 C -0.01007 -0.07994 -0.00955 -0.14506 -0.00312 -0.17377 C -0.00191 -0.19167 -0.00156 -0.22161 0.00313 -0.23858 C 0.00434 -0.25401 0.00573 -0.27315 0.01042 -0.28673 C 0.01233 -0.29228 0.01511 -0.29568 0.01667 -0.30154 C 0.01806 -0.30679 0.0191 -0.31358 0.02084 -0.31821 C 0.02448 -0.32778 0.02535 -0.32006 0.02813 -0.33488 C 0.03039 -0.34661 0.03768 -0.35062 0.04063 -0.3608 C 0.04323 -0.37006 0.0415 -0.36667 0.04584 -0.37191 C 0.04861 -0.37932 0.05139 -0.37901 0.05521 -0.38488 C 0.06042 -0.39259 0.06528 -0.39846 0.07188 -0.40154 C 0.07622 -0.40679 0.08125 -0.41049 0.08646 -0.41266 C 0.09792 -0.41204 0.11545 -0.41852 0.125 -0.40154 " pathEditMode="relative" rAng="0" ptsTypes="ffffffffffffA">
                                      <p:cBhvr>
                                        <p:cTn id="11" dur="2000" fill="hold"/>
                                        <p:tgtEl>
                                          <p:spTgt spid="51"/>
                                        </p:tgtEl>
                                        <p:attrNameLst>
                                          <p:attrName>ppt_x</p:attrName>
                                          <p:attrName>ppt_y</p:attrName>
                                        </p:attrNameLst>
                                      </p:cBhvr>
                                      <p:rCtr x="6823" y="-18426"/>
                                    </p:animMotion>
                                  </p:childTnLst>
                                </p:cTn>
                              </p:par>
                              <p:par>
                                <p:cTn id="12" presetID="0" presetClass="path" presetSubtype="0" accel="50000" decel="50000" fill="hold" grpId="0" nodeType="withEffect">
                                  <p:stCondLst>
                                    <p:cond delay="0"/>
                                  </p:stCondLst>
                                  <p:childTnLst>
                                    <p:animMotion origin="layout" path="M -0.01146 -0.05 C -0.01007 -0.07994 -0.00955 -0.14507 -0.00312 -0.17377 C -0.00191 -0.19167 -0.00156 -0.22161 0.00313 -0.23859 C 0.00434 -0.25402 0.00573 -0.27315 0.01042 -0.28673 C 0.01233 -0.29229 0.01511 -0.29568 0.01667 -0.30155 C 0.01806 -0.30679 0.0191 -0.31359 0.02084 -0.31821 C 0.02448 -0.32778 0.02535 -0.32007 0.02813 -0.33488 C 0.03038 -0.34661 0.03768 -0.35062 0.04063 -0.36081 C 0.04323 -0.37007 0.0415 -0.36667 0.04584 -0.37192 C 0.04861 -0.37933 0.05139 -0.37902 0.05521 -0.38488 C 0.06042 -0.3926 0.06528 -0.39846 0.07188 -0.40155 C 0.07622 -0.40679 0.08125 -0.4105 0.08646 -0.41266 C 0.09792 -0.41204 0.11545 -0.41852 0.125 -0.40155 " pathEditMode="relative" rAng="0" ptsTypes="ffffffffffffA">
                                      <p:cBhvr>
                                        <p:cTn id="13" dur="2000" fill="hold"/>
                                        <p:tgtEl>
                                          <p:spTgt spid="50"/>
                                        </p:tgtEl>
                                        <p:attrNameLst>
                                          <p:attrName>ppt_x</p:attrName>
                                          <p:attrName>ppt_y</p:attrName>
                                        </p:attrNameLst>
                                      </p:cBhvr>
                                      <p:rCtr x="6823" y="-18426"/>
                                    </p:animMotion>
                                  </p:childTnLst>
                                </p:cTn>
                              </p:par>
                              <p:par>
                                <p:cTn id="14" presetID="0" presetClass="path" presetSubtype="0" accel="50000" decel="50000" fill="hold" nodeType="withEffect">
                                  <p:stCondLst>
                                    <p:cond delay="0"/>
                                  </p:stCondLst>
                                  <p:childTnLst>
                                    <p:animMotion origin="layout" path="M -0.01146 -0.05 C -0.01007 -0.07994 -0.00955 -0.14506 -0.00313 -0.17376 C -0.00191 -0.19167 -0.00156 -0.2216 0.00312 -0.23858 C 0.00434 -0.25401 0.00573 -0.27315 0.01042 -0.28673 C 0.01232 -0.29228 0.0151 -0.29568 0.01667 -0.30154 C 0.01805 -0.30679 0.0191 -0.31358 0.02083 -0.31821 C 0.02448 -0.32778 0.02535 -0.32006 0.02812 -0.33488 C 0.03038 -0.3466 0.03767 -0.35062 0.04062 -0.3608 C 0.04323 -0.37006 0.04149 -0.36667 0.04583 -0.37191 C 0.04861 -0.37932 0.05139 -0.37901 0.05521 -0.38488 C 0.06042 -0.39259 0.06528 -0.39846 0.07187 -0.40154 C 0.07621 -0.40679 0.08125 -0.41049 0.08646 -0.41265 C 0.09792 -0.41204 0.11545 -0.41852 0.125 -0.40154 " pathEditMode="relative" rAng="0" ptsTypes="ffffffffffffA">
                                      <p:cBhvr>
                                        <p:cTn id="15" dur="2000" fill="hold"/>
                                        <p:tgtEl>
                                          <p:spTgt spid="33"/>
                                        </p:tgtEl>
                                        <p:attrNameLst>
                                          <p:attrName>ppt_x</p:attrName>
                                          <p:attrName>ppt_y</p:attrName>
                                        </p:attrNameLst>
                                      </p:cBhvr>
                                      <p:rCtr x="6823" y="-18426"/>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51"/>
                                        </p:tgtEl>
                                      </p:cBhvr>
                                      <p:by x="150000" y="150000"/>
                                    </p:animScale>
                                  </p:childTnLst>
                                </p:cTn>
                              </p:par>
                              <p:par>
                                <p:cTn id="19" presetID="6" presetClass="emph" presetSubtype="0" fill="hold" grpId="1" nodeType="withEffect">
                                  <p:stCondLst>
                                    <p:cond delay="0"/>
                                  </p:stCondLst>
                                  <p:childTnLst>
                                    <p:animScale>
                                      <p:cBhvr>
                                        <p:cTn id="20" dur="2000" fill="hold"/>
                                        <p:tgtEl>
                                          <p:spTgt spid="50"/>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p:tgtEl>
                                          <p:spTgt spid="16"/>
                                        </p:tgtEl>
                                        <p:attrNameLst>
                                          <p:attrName>ppt_y</p:attrName>
                                        </p:attrNameLst>
                                      </p:cBhvr>
                                      <p:tavLst>
                                        <p:tav tm="0">
                                          <p:val>
                                            <p:strVal val="#ppt_y+#ppt_h*1.125000"/>
                                          </p:val>
                                        </p:tav>
                                        <p:tav tm="100000">
                                          <p:val>
                                            <p:strVal val="#ppt_y"/>
                                          </p:val>
                                        </p:tav>
                                      </p:tavLst>
                                    </p:anim>
                                    <p:animEffect transition="in" filter="wipe(up)">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6" grpId="0"/>
      <p:bldP spid="50" grpId="0"/>
      <p:bldP spid="50" grpId="1"/>
      <p:bldP spid="51" grpId="0"/>
      <p:bldP spid="51"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圆角矩形 21"/>
          <p:cNvSpPr/>
          <p:nvPr/>
        </p:nvSpPr>
        <p:spPr>
          <a:xfrm>
            <a:off x="211860" y="442113"/>
            <a:ext cx="131039" cy="4320386"/>
          </a:xfrm>
          <a:prstGeom prst="roundRect">
            <a:avLst>
              <a:gd name="adj" fmla="val 50000"/>
            </a:avLst>
          </a:prstGeom>
          <a:gradFill flip="none" rotWithShape="1">
            <a:gsLst>
              <a:gs pos="100000">
                <a:srgbClr val="878787"/>
              </a:gs>
              <a:gs pos="0">
                <a:sysClr val="window" lastClr="FFFFFF">
                  <a:lumMod val="85000"/>
                  <a:shade val="30000"/>
                  <a:satMod val="115000"/>
                </a:sysClr>
              </a:gs>
              <a:gs pos="45000">
                <a:sysClr val="window" lastClr="FFFFFF">
                  <a:lumMod val="85000"/>
                  <a:shade val="67500"/>
                  <a:satMod val="115000"/>
                </a:sysClr>
              </a:gs>
              <a:gs pos="62000">
                <a:sysClr val="window" lastClr="FFFFFF">
                  <a:lumMod val="85000"/>
                  <a:shade val="100000"/>
                  <a:satMod val="115000"/>
                </a:sysClr>
              </a:gs>
            </a:gsLst>
            <a:lin ang="10800000" scaled="1"/>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矩形 24"/>
          <p:cNvSpPr/>
          <p:nvPr/>
        </p:nvSpPr>
        <p:spPr>
          <a:xfrm>
            <a:off x="0" y="4762499"/>
            <a:ext cx="9144000" cy="381719"/>
          </a:xfrm>
          <a:prstGeom prst="rect">
            <a:avLst/>
          </a:prstGeom>
          <a:gradFill flip="none" rotWithShape="1">
            <a:gsLst>
              <a:gs pos="48320">
                <a:srgbClr val="E6C29A"/>
              </a:gs>
              <a:gs pos="100000">
                <a:srgbClr val="8C6233"/>
              </a:gs>
              <a:gs pos="0">
                <a:srgbClr val="DEA464">
                  <a:shade val="30000"/>
                  <a:satMod val="115000"/>
                </a:srgbClr>
              </a:gs>
              <a:gs pos="8000">
                <a:srgbClr val="DEA464">
                  <a:shade val="67500"/>
                  <a:satMod val="115000"/>
                </a:srgbClr>
              </a:gs>
              <a:gs pos="92000">
                <a:srgbClr val="DEA464">
                  <a:shade val="100000"/>
                  <a:satMod val="115000"/>
                </a:srgbClr>
              </a:gs>
            </a:gsLst>
            <a:lin ang="0" scaled="1"/>
            <a:tileRect/>
          </a:gradFill>
          <a:ln w="25400" cap="flat" cmpd="sng" algn="ctr">
            <a:noFill/>
            <a:prstDash val="solid"/>
          </a:ln>
          <a:effectLst>
            <a:outerShdw blurRad="50800" dist="38100" dir="16200000"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圆角矩形 26"/>
          <p:cNvSpPr/>
          <p:nvPr/>
        </p:nvSpPr>
        <p:spPr>
          <a:xfrm>
            <a:off x="156915" y="9652"/>
            <a:ext cx="2251952" cy="432460"/>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圆角矩形 27"/>
          <p:cNvSpPr/>
          <p:nvPr/>
        </p:nvSpPr>
        <p:spPr>
          <a:xfrm>
            <a:off x="2408867" y="21683"/>
            <a:ext cx="2112808" cy="420430"/>
          </a:xfrm>
          <a:prstGeom prst="roundRect">
            <a:avLst/>
          </a:prstGeom>
          <a:gradFill flip="none" rotWithShape="1">
            <a:gsLst>
              <a:gs pos="100000">
                <a:srgbClr val="963F00"/>
              </a:gs>
              <a:gs pos="0">
                <a:srgbClr val="F79646">
                  <a:lumMod val="75000"/>
                  <a:shade val="30000"/>
                  <a:satMod val="115000"/>
                </a:srgbClr>
              </a:gs>
              <a:gs pos="6000">
                <a:srgbClr val="F79646">
                  <a:lumMod val="75000"/>
                  <a:shade val="67500"/>
                  <a:satMod val="115000"/>
                </a:srgbClr>
              </a:gs>
              <a:gs pos="89000">
                <a:srgbClr val="F79646">
                  <a:lumMod val="75000"/>
                  <a:shade val="100000"/>
                  <a:satMod val="115000"/>
                </a:srgbClr>
              </a:gs>
            </a:gsLst>
            <a:lin ang="10800000" scaled="1"/>
            <a:tileRect/>
          </a:gra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TextBox 28"/>
          <p:cNvSpPr txBox="1"/>
          <p:nvPr/>
        </p:nvSpPr>
        <p:spPr>
          <a:xfrm>
            <a:off x="2837271" y="103558"/>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经费保障</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35" name="TextBox 34"/>
          <p:cNvSpPr txBox="1"/>
          <p:nvPr/>
        </p:nvSpPr>
        <p:spPr>
          <a:xfrm>
            <a:off x="1781600" y="4667250"/>
            <a:ext cx="5318720" cy="492443"/>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itchFamily="34" charset="0"/>
                <a:ea typeface="微软雅黑" pitchFamily="34" charset="-122"/>
                <a:cs typeface="Calibri" pitchFamily="34" charset="0"/>
              </a:defRPr>
            </a:lvl1p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ysClr val="windowText" lastClr="000000">
                    <a:lumMod val="75000"/>
                    <a:lumOff val="25000"/>
                  </a:sysClr>
                </a:solidFill>
                <a:effectLst>
                  <a:outerShdw dist="38100" dir="5400000" algn="t" rotWithShape="0">
                    <a:sysClr val="window" lastClr="FFFFFF">
                      <a:alpha val="48000"/>
                    </a:sysClr>
                  </a:outerShdw>
                </a:effectLst>
                <a:uLnTx/>
                <a:uFillTx/>
                <a:latin typeface="Agency FB" pitchFamily="34" charset="0"/>
                <a:ea typeface="微软雅黑" pitchFamily="34" charset="-122"/>
                <a:cs typeface="Calibri" pitchFamily="34" charset="0"/>
              </a:rPr>
              <a:t>科研财务助理制度</a:t>
            </a:r>
            <a:endParaRPr kumimoji="0" lang="zh-CN" altLang="en-US" sz="2000" b="1" i="0" u="none" strike="noStrike" kern="0" cap="none" spc="0" normalizeH="0" baseline="0" noProof="0" dirty="0">
              <a:ln>
                <a:noFill/>
              </a:ln>
              <a:solidFill>
                <a:sysClr val="windowText" lastClr="000000">
                  <a:lumMod val="75000"/>
                  <a:lumOff val="25000"/>
                </a:sysClr>
              </a:solidFill>
              <a:effectLst>
                <a:outerShdw dist="38100" dir="5400000" algn="t" rotWithShape="0">
                  <a:sysClr val="window" lastClr="FFFFFF">
                    <a:alpha val="48000"/>
                  </a:sysClr>
                </a:outerShdw>
              </a:effectLst>
              <a:uLnTx/>
              <a:uFillTx/>
              <a:latin typeface="Agency FB" pitchFamily="34" charset="0"/>
              <a:ea typeface="微软雅黑" pitchFamily="34" charset="-122"/>
              <a:cs typeface="Calibri" pitchFamily="34" charset="0"/>
            </a:endParaRPr>
          </a:p>
        </p:txBody>
      </p:sp>
      <p:sp>
        <p:nvSpPr>
          <p:cNvPr id="36" name="圆角矩形 35"/>
          <p:cNvSpPr/>
          <p:nvPr/>
        </p:nvSpPr>
        <p:spPr>
          <a:xfrm>
            <a:off x="4521675" y="21682"/>
            <a:ext cx="2251952" cy="420431"/>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圆角矩形 36"/>
          <p:cNvSpPr/>
          <p:nvPr/>
        </p:nvSpPr>
        <p:spPr>
          <a:xfrm>
            <a:off x="6773627" y="19050"/>
            <a:ext cx="2251952" cy="423063"/>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TextBox 37"/>
          <p:cNvSpPr txBox="1"/>
          <p:nvPr/>
        </p:nvSpPr>
        <p:spPr>
          <a:xfrm>
            <a:off x="606293" y="103558"/>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设置要求</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39" name="TextBox 38"/>
          <p:cNvSpPr txBox="1"/>
          <p:nvPr/>
        </p:nvSpPr>
        <p:spPr>
          <a:xfrm>
            <a:off x="4971053" y="88662"/>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职责要求</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40" name="TextBox 39"/>
          <p:cNvSpPr txBox="1"/>
          <p:nvPr/>
        </p:nvSpPr>
        <p:spPr>
          <a:xfrm>
            <a:off x="7223005" y="86681"/>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激励机制</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2" name="TextBox 1"/>
          <p:cNvSpPr txBox="1"/>
          <p:nvPr/>
        </p:nvSpPr>
        <p:spPr>
          <a:xfrm>
            <a:off x="617275" y="998020"/>
            <a:ext cx="7909450" cy="1264192"/>
          </a:xfrm>
          <a:prstGeom prst="rect">
            <a:avLst/>
          </a:prstGeom>
          <a:noFill/>
        </p:spPr>
        <p:txBody>
          <a:bodyPr wrap="square" rtlCol="0">
            <a:spAutoFit/>
          </a:bodyPr>
          <a:lstStyle/>
          <a:p>
            <a:pPr marL="457200" indent="-457200" fontAlgn="auto">
              <a:lnSpc>
                <a:spcPct val="200000"/>
              </a:lnSpc>
              <a:spcBef>
                <a:spcPts val="0"/>
              </a:spcBef>
              <a:spcAft>
                <a:spcPts val="0"/>
              </a:spcAft>
              <a:buClr>
                <a:srgbClr val="ECFE02"/>
              </a:buClr>
              <a:buFont typeface="Wingdings" pitchFamily="2" charset="2"/>
              <a:buChar char="l"/>
              <a:defRPr/>
            </a:pPr>
            <a:r>
              <a:rPr lang="zh-CN" altLang="zh-CN" b="1" dirty="0">
                <a:ln w="3175">
                  <a:solidFill>
                    <a:schemeClr val="tx1"/>
                  </a:solidFill>
                </a:ln>
                <a:latin typeface="方正风雅宋简体" pitchFamily="2" charset="-122"/>
                <a:ea typeface="方正风雅宋简体" pitchFamily="2" charset="-122"/>
              </a:rPr>
              <a:t>聘用科研财务助理所需费用，可由项目承担单位根据实际情况通过劳务费、科研项目间接费用、单位日常运转经费等渠道解决，也可从横向科研项目等其他渠道筹集，经费支出应符合财政相关规定</a:t>
            </a:r>
            <a:endParaRPr lang="en-US" altLang="zh-CN" b="1" dirty="0">
              <a:ln w="3175">
                <a:solidFill>
                  <a:schemeClr val="tx1"/>
                </a:solidFill>
              </a:ln>
              <a:latin typeface="方正风雅宋简体" pitchFamily="2" charset="-122"/>
              <a:ea typeface="方正风雅宋简体" pitchFamily="2" charset="-122"/>
            </a:endParaRPr>
          </a:p>
        </p:txBody>
      </p:sp>
    </p:spTree>
    <p:extLst>
      <p:ext uri="{BB962C8B-B14F-4D97-AF65-F5344CB8AC3E}">
        <p14:creationId xmlns:p14="http://schemas.microsoft.com/office/powerpoint/2010/main" val="325922196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p:stCondLst>
                                    <p:cond delay="0"/>
                                  </p:stCondLst>
                                  <p:childTnLst>
                                    <p:animScale>
                                      <p:cBhvr>
                                        <p:cTn id="6" dur="2000" fill="hold"/>
                                        <p:tgtEl>
                                          <p:spTgt spid="29"/>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7" name="TextBox 18"/>
          <p:cNvSpPr>
            <a:spLocks noChangeArrowheads="1"/>
          </p:cNvSpPr>
          <p:nvPr/>
        </p:nvSpPr>
        <p:spPr bwMode="auto">
          <a:xfrm>
            <a:off x="2155981" y="1996274"/>
            <a:ext cx="5968844" cy="1498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本人购买机票：购票人须使用公务卡或转账方式购买机票</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smtClean="0">
                <a:ln w="3175">
                  <a:solidFill>
                    <a:schemeClr val="tx1"/>
                  </a:solidFill>
                </a:ln>
                <a:latin typeface="方正风雅宋简体" pitchFamily="2" charset="-122"/>
                <a:ea typeface="方正风雅宋简体" pitchFamily="2" charset="-122"/>
              </a:rPr>
              <a:t>为</a:t>
            </a:r>
            <a:r>
              <a:rPr lang="zh-CN" altLang="zh-CN" sz="1050" b="1" dirty="0">
                <a:ln w="3175">
                  <a:solidFill>
                    <a:schemeClr val="tx1"/>
                  </a:solidFill>
                </a:ln>
                <a:latin typeface="方正风雅宋简体" pitchFamily="2" charset="-122"/>
                <a:ea typeface="方正风雅宋简体" pitchFamily="2" charset="-122"/>
              </a:rPr>
              <a:t>他人（包括聘请专家）购买机票：购票人须使用转账方式购买机票</a:t>
            </a:r>
            <a:endParaRPr lang="zh-CN" altLang="en-US"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smtClean="0">
                <a:ln w="3175">
                  <a:solidFill>
                    <a:schemeClr val="tx1"/>
                  </a:solidFill>
                </a:ln>
                <a:latin typeface="方正风雅宋简体" pitchFamily="2" charset="-122"/>
                <a:ea typeface="方正风雅宋简体" pitchFamily="2" charset="-122"/>
              </a:rPr>
              <a:t>使用</a:t>
            </a:r>
            <a:r>
              <a:rPr lang="zh-CN" altLang="zh-CN" sz="1050" b="1" dirty="0">
                <a:ln w="3175">
                  <a:solidFill>
                    <a:schemeClr val="tx1"/>
                  </a:solidFill>
                </a:ln>
                <a:latin typeface="方正风雅宋简体" pitchFamily="2" charset="-122"/>
                <a:ea typeface="方正风雅宋简体" pitchFamily="2" charset="-122"/>
              </a:rPr>
              <a:t>转账方式购票时，需要在支票、汇款等票据上标注资金用途为“公务机票购票款”</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文本框 3"/>
          <p:cNvSpPr txBox="1"/>
          <p:nvPr/>
        </p:nvSpPr>
        <p:spPr>
          <a:xfrm>
            <a:off x="858587" y="171608"/>
            <a:ext cx="2827349"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机票购买</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 name="矩形 15"/>
          <p:cNvSpPr/>
          <p:nvPr/>
        </p:nvSpPr>
        <p:spPr>
          <a:xfrm>
            <a:off x="82364" y="17905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65017" y="18017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507351" y="1876252"/>
            <a:ext cx="661924" cy="55814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89458" y="2452057"/>
            <a:ext cx="675559" cy="614630"/>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92324" y="25180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90119" y="24534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110939" y="31722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60400" y="321734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79450" y="3123093"/>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03957" y="1790527"/>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6513" y="244982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8304" y="312466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935" y="3087479"/>
            <a:ext cx="710210" cy="716587"/>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935" y="1774468"/>
            <a:ext cx="656033" cy="673932"/>
          </a:xfrm>
          <a:prstGeom prst="rect">
            <a:avLst/>
          </a:prstGeom>
        </p:spPr>
      </p:pic>
      <p:sp>
        <p:nvSpPr>
          <p:cNvPr id="39" name="矩形 38"/>
          <p:cNvSpPr/>
          <p:nvPr/>
        </p:nvSpPr>
        <p:spPr>
          <a:xfrm>
            <a:off x="-96594" y="2055223"/>
            <a:ext cx="1138241" cy="338554"/>
          </a:xfrm>
          <a:prstGeom prst="rect">
            <a:avLst/>
          </a:prstGeom>
        </p:spPr>
        <p:txBody>
          <a:bodyPr wrap="square">
            <a:spAutoFit/>
          </a:bodyPr>
          <a:lstStyle/>
          <a:p>
            <a:r>
              <a:rPr lang="zh-CN" altLang="en-US" sz="1600" b="1" dirty="0" smtClean="0"/>
              <a:t>支付方式</a:t>
            </a:r>
            <a:endParaRPr lang="zh-CN" altLang="en-US" sz="1600" b="1" dirty="0"/>
          </a:p>
        </p:txBody>
      </p:sp>
      <p:sp>
        <p:nvSpPr>
          <p:cNvPr id="40" name="矩形 39"/>
          <p:cNvSpPr/>
          <p:nvPr/>
        </p:nvSpPr>
        <p:spPr>
          <a:xfrm>
            <a:off x="213903" y="1810564"/>
            <a:ext cx="585377" cy="338554"/>
          </a:xfrm>
          <a:prstGeom prst="rect">
            <a:avLst/>
          </a:prstGeom>
        </p:spPr>
        <p:txBody>
          <a:bodyPr wrap="square">
            <a:spAutoFit/>
          </a:bodyPr>
          <a:lstStyle/>
          <a:p>
            <a:r>
              <a:rPr lang="en-US" altLang="zh-CN" sz="1600" b="1" dirty="0" smtClean="0"/>
              <a:t>01</a:t>
            </a:r>
            <a:endParaRPr lang="zh-CN" altLang="en-US" sz="1600" b="1" dirty="0"/>
          </a:p>
        </p:txBody>
      </p:sp>
      <p:sp>
        <p:nvSpPr>
          <p:cNvPr id="41" name="矩形 40"/>
          <p:cNvSpPr/>
          <p:nvPr/>
        </p:nvSpPr>
        <p:spPr>
          <a:xfrm>
            <a:off x="1484557" y="2083798"/>
            <a:ext cx="682396"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2" name="矩形 41"/>
          <p:cNvSpPr/>
          <p:nvPr/>
        </p:nvSpPr>
        <p:spPr>
          <a:xfrm>
            <a:off x="1651264" y="1887446"/>
            <a:ext cx="385333"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3" name="矩形 42"/>
          <p:cNvSpPr/>
          <p:nvPr/>
        </p:nvSpPr>
        <p:spPr>
          <a:xfrm>
            <a:off x="103432" y="33956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4" name="矩形 43"/>
          <p:cNvSpPr/>
          <p:nvPr/>
        </p:nvSpPr>
        <p:spPr>
          <a:xfrm>
            <a:off x="298480" y="31789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5" name="矩形 44"/>
          <p:cNvSpPr/>
          <p:nvPr/>
        </p:nvSpPr>
        <p:spPr>
          <a:xfrm>
            <a:off x="769689" y="27224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6" name="矩形 45"/>
          <p:cNvSpPr/>
          <p:nvPr/>
        </p:nvSpPr>
        <p:spPr>
          <a:xfrm>
            <a:off x="969571" y="24993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7" name="矩形 46"/>
          <p:cNvSpPr/>
          <p:nvPr/>
        </p:nvSpPr>
        <p:spPr>
          <a:xfrm>
            <a:off x="806579" y="34042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50" name="矩形 49"/>
          <p:cNvSpPr/>
          <p:nvPr/>
        </p:nvSpPr>
        <p:spPr>
          <a:xfrm>
            <a:off x="981762" y="31888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1" name="矩形 50"/>
          <p:cNvSpPr/>
          <p:nvPr/>
        </p:nvSpPr>
        <p:spPr>
          <a:xfrm>
            <a:off x="1460400" y="342173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2" name="矩形 51"/>
          <p:cNvSpPr/>
          <p:nvPr/>
        </p:nvSpPr>
        <p:spPr>
          <a:xfrm>
            <a:off x="1623331" y="319822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177053247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0" presetClass="path" presetSubtype="0" accel="50000" decel="50000" fill="hold" grpId="0" nodeType="withEffect">
                                  <p:stCondLst>
                                    <p:cond delay="0"/>
                                  </p:stCondLst>
                                  <p:childTnLst>
                                    <p:animMotion origin="layout" path="M -0.02604 -0.08704 C -0.02222 -0.09136 -0.01788 -0.09568 -0.01354 -0.09815 C -0.00521 -0.10988 0.0099 -0.12686 0.01979 -0.13334 C 0.0224 -0.13519 0.02535 -0.13519 0.02813 -0.13704 C 0.0375 -0.1429 0.04566 -0.15371 0.05521 -0.15926 C 0.07379 -0.17037 0.09219 -0.1821 0.11146 -0.18889 C 0.12743 -0.20309 0.14705 -0.20679 0.16459 -0.20926 C 0.18854 -0.20865 0.2125 -0.20865 0.23646 -0.20741 C 0.24323 -0.2071 0.2559 -0.1855 0.2625 -0.18148 C 0.26441 -0.17809 0.26684 -0.17562 0.26875 -0.17223 C 0.27188 -0.16667 0.2724 -0.16204 0.27709 -0.15926 C 0.27847 -0.15679 0.27986 -0.15432 0.28125 -0.15186 " pathEditMode="relative" rAng="0" ptsTypes="fffffffffffA">
                                      <p:cBhvr>
                                        <p:cTn id="10" dur="2000" fill="hold"/>
                                        <p:tgtEl>
                                          <p:spTgt spid="40"/>
                                        </p:tgtEl>
                                        <p:attrNameLst>
                                          <p:attrName>ppt_x</p:attrName>
                                          <p:attrName>ppt_y</p:attrName>
                                        </p:attrNameLst>
                                      </p:cBhvr>
                                      <p:rCtr x="15365" y="-6111"/>
                                    </p:animMotion>
                                  </p:childTnLst>
                                </p:cTn>
                              </p:par>
                              <p:par>
                                <p:cTn id="11" presetID="0" presetClass="path" presetSubtype="0" accel="50000" decel="50000" fill="hold" grpId="0" nodeType="withEffect">
                                  <p:stCondLst>
                                    <p:cond delay="0"/>
                                  </p:stCondLst>
                                  <p:childTnLst>
                                    <p:animMotion origin="layout" path="M -0.02604 -0.08704 C -0.02222 -0.09136 -0.01788 -0.09568 -0.01354 -0.09815 C -0.00521 -0.10988 0.0099 -0.12685 0.01979 -0.13334 C 0.0224 -0.13519 0.02535 -0.13519 0.02813 -0.13704 C 0.0375 -0.1429 0.04566 -0.15371 0.05521 -0.15926 C 0.07379 -0.17037 0.09219 -0.1821 0.11146 -0.18889 C 0.12743 -0.20309 0.14705 -0.20679 0.16459 -0.20926 C 0.18854 -0.20864 0.2125 -0.20864 0.23646 -0.20741 C 0.24323 -0.2071 0.25591 -0.1855 0.2625 -0.18148 C 0.26441 -0.17809 0.26684 -0.17562 0.26875 -0.17222 C 0.27188 -0.16667 0.2724 -0.16204 0.27709 -0.15926 C 0.27847 -0.15679 0.27986 -0.15432 0.28125 -0.15185 " pathEditMode="relative" rAng="0" ptsTypes="fffffffffffA">
                                      <p:cBhvr>
                                        <p:cTn id="12" dur="2000" fill="hold"/>
                                        <p:tgtEl>
                                          <p:spTgt spid="39"/>
                                        </p:tgtEl>
                                        <p:attrNameLst>
                                          <p:attrName>ppt_x</p:attrName>
                                          <p:attrName>ppt_y</p:attrName>
                                        </p:attrNameLst>
                                      </p:cBhvr>
                                      <p:rCtr x="15365" y="-6111"/>
                                    </p:animMotion>
                                  </p:childTnLst>
                                </p:cTn>
                              </p:par>
                              <p:par>
                                <p:cTn id="13" presetID="0" presetClass="path" presetSubtype="0" accel="50000" decel="50000" fill="hold" nodeType="withEffect">
                                  <p:stCondLst>
                                    <p:cond delay="0"/>
                                  </p:stCondLst>
                                  <p:childTnLst>
                                    <p:animMotion origin="layout" path="M -0.02604 -0.08703 C -0.02222 -0.09135 -0.01788 -0.09568 -0.01354 -0.09814 C -0.00521 -0.10987 0.0099 -0.12685 0.01979 -0.13333 C 0.0224 -0.13518 0.02535 -0.13518 0.02812 -0.13703 C 0.0375 -0.1429 0.04566 -0.1537 0.05521 -0.15926 C 0.07378 -0.17037 0.09219 -0.18209 0.11146 -0.18889 C 0.12743 -0.20308 0.14705 -0.20679 0.16458 -0.20926 C 0.18854 -0.20864 0.2125 -0.20864 0.23646 -0.2074 C 0.24323 -0.20709 0.2559 -0.18549 0.2625 -0.18148 C 0.26441 -0.17808 0.26684 -0.17561 0.26875 -0.17222 C 0.27187 -0.16666 0.2724 -0.16203 0.27708 -0.15926 C 0.27847 -0.15679 0.27986 -0.15432 0.28125 -0.15185 " pathEditMode="relative" rAng="0" ptsTypes="fffffffffffA">
                                      <p:cBhvr>
                                        <p:cTn id="14" dur="2000" fill="hold"/>
                                        <p:tgtEl>
                                          <p:spTgt spid="38"/>
                                        </p:tgtEl>
                                        <p:attrNameLst>
                                          <p:attrName>ppt_x</p:attrName>
                                          <p:attrName>ppt_y</p:attrName>
                                        </p:attrNameLst>
                                      </p:cBhvr>
                                      <p:rCtr x="15365" y="-6111"/>
                                    </p:animMotion>
                                  </p:childTnLst>
                                </p:cTn>
                              </p:par>
                            </p:childTnLst>
                          </p:cTn>
                        </p:par>
                        <p:par>
                          <p:cTn id="15" fill="hold">
                            <p:stCondLst>
                              <p:cond delay="2000"/>
                            </p:stCondLst>
                            <p:childTnLst>
                              <p:par>
                                <p:cTn id="16" presetID="6" presetClass="emph" presetSubtype="0" fill="hold" grpId="1" nodeType="afterEffect">
                                  <p:stCondLst>
                                    <p:cond delay="0"/>
                                  </p:stCondLst>
                                  <p:childTnLst>
                                    <p:animScale>
                                      <p:cBhvr>
                                        <p:cTn id="17" dur="2000" fill="hold"/>
                                        <p:tgtEl>
                                          <p:spTgt spid="40"/>
                                        </p:tgtEl>
                                      </p:cBhvr>
                                      <p:by x="150000" y="150000"/>
                                    </p:animScale>
                                  </p:childTnLst>
                                </p:cTn>
                              </p:par>
                              <p:par>
                                <p:cTn id="18" presetID="6" presetClass="emph" presetSubtype="0" fill="hold" grpId="1" nodeType="withEffect">
                                  <p:stCondLst>
                                    <p:cond delay="0"/>
                                  </p:stCondLst>
                                  <p:childTnLst>
                                    <p:animScale>
                                      <p:cBhvr>
                                        <p:cTn id="19" dur="2000" fill="hold"/>
                                        <p:tgtEl>
                                          <p:spTgt spid="39"/>
                                        </p:tgtEl>
                                      </p:cBhvr>
                                      <p:by x="150000" y="150000"/>
                                    </p:animScale>
                                  </p:childTnLst>
                                </p:cTn>
                              </p:par>
                            </p:childTnLst>
                          </p:cTn>
                        </p:par>
                        <p:par>
                          <p:cTn id="20" fill="hold">
                            <p:stCondLst>
                              <p:cond delay="4000"/>
                            </p:stCondLst>
                            <p:childTnLst>
                              <p:par>
                                <p:cTn id="21" presetID="12" presetClass="entr" presetSubtype="4"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p:tgtEl>
                                          <p:spTgt spid="17"/>
                                        </p:tgtEl>
                                        <p:attrNameLst>
                                          <p:attrName>ppt_y</p:attrName>
                                        </p:attrNameLst>
                                      </p:cBhvr>
                                      <p:tavLst>
                                        <p:tav tm="0">
                                          <p:val>
                                            <p:strVal val="#ppt_y+#ppt_h*1.125000"/>
                                          </p:val>
                                        </p:tav>
                                        <p:tav tm="100000">
                                          <p:val>
                                            <p:strVal val="#ppt_y"/>
                                          </p:val>
                                        </p:tav>
                                      </p:tavLst>
                                    </p:anim>
                                    <p:animEffect transition="in" filter="wipe(up)">
                                      <p:cBhvr>
                                        <p:cTn id="2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p:bldP spid="39" grpId="0"/>
      <p:bldP spid="39" grpId="1"/>
      <p:bldP spid="40" grpId="0"/>
      <p:bldP spid="40" grpId="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6" name="TextBox 18"/>
          <p:cNvSpPr>
            <a:spLocks noChangeArrowheads="1"/>
          </p:cNvSpPr>
          <p:nvPr/>
        </p:nvSpPr>
        <p:spPr bwMode="auto">
          <a:xfrm>
            <a:off x="2178357" y="1876104"/>
            <a:ext cx="6632268" cy="1498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使用公务卡购买时，应提前在政府采购机票管理网站进行注册</a:t>
            </a:r>
            <a:endParaRPr lang="en-US" altLang="zh-CN"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smtClean="0">
                <a:ln w="3175">
                  <a:solidFill>
                    <a:schemeClr val="tx1"/>
                  </a:solidFill>
                </a:ln>
                <a:latin typeface="方正风雅宋简体" pitchFamily="2" charset="-122"/>
                <a:ea typeface="方正风雅宋简体" pitchFamily="2" charset="-122"/>
              </a:rPr>
              <a:t>购票</a:t>
            </a:r>
            <a:r>
              <a:rPr lang="zh-CN" altLang="zh-CN" sz="1050" b="1" dirty="0">
                <a:ln w="3175">
                  <a:solidFill>
                    <a:schemeClr val="tx1"/>
                  </a:solidFill>
                </a:ln>
                <a:latin typeface="方正风雅宋简体" pitchFamily="2" charset="-122"/>
                <a:ea typeface="方正风雅宋简体" pitchFamily="2" charset="-122"/>
              </a:rPr>
              <a:t>者可通过政府采购机票管理网站（</a:t>
            </a:r>
            <a:r>
              <a:rPr lang="en-US" altLang="zh-CN" sz="1050" b="1" dirty="0">
                <a:ln w="3175">
                  <a:solidFill>
                    <a:schemeClr val="tx1"/>
                  </a:solidFill>
                </a:ln>
                <a:latin typeface="方正风雅宋简体" pitchFamily="2" charset="-122"/>
                <a:ea typeface="方正风雅宋简体" pitchFamily="2" charset="-122"/>
              </a:rPr>
              <a:t>www.gpticket.org</a:t>
            </a:r>
            <a:r>
              <a:rPr lang="zh-CN" altLang="zh-CN" sz="1050" b="1" dirty="0">
                <a:ln w="3175">
                  <a:solidFill>
                    <a:schemeClr val="tx1"/>
                  </a:solidFill>
                </a:ln>
                <a:latin typeface="方正风雅宋简体" pitchFamily="2" charset="-122"/>
                <a:ea typeface="方正风雅宋简体" pitchFamily="2" charset="-122"/>
              </a:rPr>
              <a:t>）或公务行</a:t>
            </a:r>
            <a:r>
              <a:rPr lang="en-US" altLang="zh-CN" sz="1050" b="1" dirty="0">
                <a:ln w="3175">
                  <a:solidFill>
                    <a:schemeClr val="tx1"/>
                  </a:solidFill>
                </a:ln>
                <a:latin typeface="方正风雅宋简体" pitchFamily="2" charset="-122"/>
                <a:ea typeface="方正风雅宋简体" pitchFamily="2" charset="-122"/>
              </a:rPr>
              <a:t>APP</a:t>
            </a:r>
            <a:r>
              <a:rPr lang="zh-CN" altLang="zh-CN" sz="1050" b="1" dirty="0">
                <a:ln w="3175">
                  <a:solidFill>
                    <a:schemeClr val="tx1"/>
                  </a:solidFill>
                </a:ln>
                <a:latin typeface="方正风雅宋简体" pitchFamily="2" charset="-122"/>
                <a:ea typeface="方正风雅宋简体" pitchFamily="2" charset="-122"/>
              </a:rPr>
              <a:t>购买，也可通过政府采购机票管理网站发布的国内航空公司直销机构或机票销售代理机构使用公务卡或转账的方式购买机票</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文本框 3"/>
          <p:cNvSpPr txBox="1"/>
          <p:nvPr/>
        </p:nvSpPr>
        <p:spPr>
          <a:xfrm>
            <a:off x="858587" y="171608"/>
            <a:ext cx="2827349"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机票购买</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7" name="矩形 16"/>
          <p:cNvSpPr/>
          <p:nvPr/>
        </p:nvSpPr>
        <p:spPr>
          <a:xfrm>
            <a:off x="53789" y="169527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36442" y="170647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59726" y="170647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60883" y="2356807"/>
            <a:ext cx="675559" cy="614630"/>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63749" y="242281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61544" y="235819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82364" y="307695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31825" y="312209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0875" y="3027843"/>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57330" y="1704713"/>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7938" y="235457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729" y="302941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360" y="2992229"/>
            <a:ext cx="710210" cy="716587"/>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835" y="1679218"/>
            <a:ext cx="656033" cy="673932"/>
          </a:xfrm>
          <a:prstGeom prst="rect">
            <a:avLst/>
          </a:prstGeom>
        </p:spPr>
      </p:pic>
      <p:sp>
        <p:nvSpPr>
          <p:cNvPr id="39" name="矩形 38"/>
          <p:cNvSpPr/>
          <p:nvPr/>
        </p:nvSpPr>
        <p:spPr>
          <a:xfrm>
            <a:off x="74857" y="195997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42479" y="174388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265481" y="1950448"/>
            <a:ext cx="1030043" cy="338554"/>
          </a:xfrm>
          <a:prstGeom prst="rect">
            <a:avLst/>
          </a:prstGeom>
        </p:spPr>
        <p:txBody>
          <a:bodyPr wrap="square">
            <a:spAutoFit/>
          </a:bodyPr>
          <a:lstStyle/>
          <a:p>
            <a:r>
              <a:rPr lang="zh-CN" altLang="en-US" sz="1600" b="1" dirty="0" smtClean="0"/>
              <a:t>购买渠道</a:t>
            </a:r>
            <a:endParaRPr lang="zh-CN" altLang="en-US" sz="1600" b="1" dirty="0"/>
          </a:p>
        </p:txBody>
      </p:sp>
      <p:sp>
        <p:nvSpPr>
          <p:cNvPr id="42" name="矩形 41"/>
          <p:cNvSpPr/>
          <p:nvPr/>
        </p:nvSpPr>
        <p:spPr>
          <a:xfrm>
            <a:off x="1622689" y="1725521"/>
            <a:ext cx="663311" cy="338554"/>
          </a:xfrm>
          <a:prstGeom prst="rect">
            <a:avLst/>
          </a:prstGeom>
        </p:spPr>
        <p:txBody>
          <a:bodyPr wrap="square">
            <a:spAutoFit/>
          </a:bodyPr>
          <a:lstStyle/>
          <a:p>
            <a:r>
              <a:rPr lang="en-US" altLang="zh-CN" sz="1600" b="1" dirty="0" smtClean="0"/>
              <a:t>02</a:t>
            </a:r>
            <a:endParaRPr lang="zh-CN" altLang="en-US" sz="1600" b="1" dirty="0"/>
          </a:p>
        </p:txBody>
      </p:sp>
      <p:sp>
        <p:nvSpPr>
          <p:cNvPr id="43" name="矩形 42"/>
          <p:cNvSpPr/>
          <p:nvPr/>
        </p:nvSpPr>
        <p:spPr>
          <a:xfrm>
            <a:off x="74857" y="330039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4" name="矩形 43"/>
          <p:cNvSpPr/>
          <p:nvPr/>
        </p:nvSpPr>
        <p:spPr>
          <a:xfrm>
            <a:off x="269905" y="308370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5" name="矩形 44"/>
          <p:cNvSpPr/>
          <p:nvPr/>
        </p:nvSpPr>
        <p:spPr>
          <a:xfrm>
            <a:off x="741114" y="262720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6" name="矩形 45"/>
          <p:cNvSpPr/>
          <p:nvPr/>
        </p:nvSpPr>
        <p:spPr>
          <a:xfrm>
            <a:off x="940996" y="240408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7" name="矩形 46"/>
          <p:cNvSpPr/>
          <p:nvPr/>
        </p:nvSpPr>
        <p:spPr>
          <a:xfrm>
            <a:off x="778004" y="330900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50" name="矩形 49"/>
          <p:cNvSpPr/>
          <p:nvPr/>
        </p:nvSpPr>
        <p:spPr>
          <a:xfrm>
            <a:off x="953187" y="309360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1" name="矩形 50"/>
          <p:cNvSpPr/>
          <p:nvPr/>
        </p:nvSpPr>
        <p:spPr>
          <a:xfrm>
            <a:off x="1431825" y="332648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2" name="矩形 51"/>
          <p:cNvSpPr/>
          <p:nvPr/>
        </p:nvSpPr>
        <p:spPr>
          <a:xfrm>
            <a:off x="1594756" y="310297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60153858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0" presetClass="path" presetSubtype="0" accel="50000" decel="50000" fill="hold" grpId="0" nodeType="withEffect">
                                  <p:stCondLst>
                                    <p:cond delay="0"/>
                                  </p:stCondLst>
                                  <p:childTnLst>
                                    <p:animMotion origin="layout" path="M -0.01146 -0.07222 C -0.00712 -0.08735 -0.00053 -0.09907 0.00625 -0.11111 C 0.00729 -0.11296 0.00729 -0.11636 0.00833 -0.11852 C 0.01076 -0.12377 0.01441 -0.12747 0.01666 -0.13333 C 0.02066 -0.14383 0.01788 -0.13735 0.02604 -0.15185 C 0.02708 -0.1537 0.02916 -0.15741 0.02916 -0.1571 C 0.03281 -0.17654 0.04635 -0.17901 0.05625 -0.18333 C 0.07274 -0.18272 0.10121 -0.19661 0.11875 -0.17593 C 0.121 -0.16975 0.12708 -0.15926 0.12708 -0.15895 C 0.12934 -0.14691 0.12812 -0.15154 0.1302 -0.14444 " pathEditMode="relative" rAng="0" ptsTypes="fffffffffA">
                                      <p:cBhvr>
                                        <p:cTn id="10" dur="2000" fill="hold"/>
                                        <p:tgtEl>
                                          <p:spTgt spid="42"/>
                                        </p:tgtEl>
                                        <p:attrNameLst>
                                          <p:attrName>ppt_x</p:attrName>
                                          <p:attrName>ppt_y</p:attrName>
                                        </p:attrNameLst>
                                      </p:cBhvr>
                                      <p:rCtr x="7083" y="-6235"/>
                                    </p:animMotion>
                                  </p:childTnLst>
                                </p:cTn>
                              </p:par>
                              <p:par>
                                <p:cTn id="11" presetID="0" presetClass="path" presetSubtype="0" accel="50000" decel="50000" fill="hold" grpId="0" nodeType="withEffect">
                                  <p:stCondLst>
                                    <p:cond delay="0"/>
                                  </p:stCondLst>
                                  <p:childTnLst>
                                    <p:animMotion origin="layout" path="M -0.01146 -0.07223 C -0.00712 -0.08735 -0.00052 -0.09908 0.00625 -0.11111 C 0.00729 -0.11297 0.00729 -0.11636 0.00833 -0.11852 C 0.01076 -0.12377 0.01441 -0.12747 0.01666 -0.13334 C 0.02066 -0.14383 0.01788 -0.13735 0.02604 -0.15185 C 0.02708 -0.15371 0.02916 -0.15741 0.02916 -0.1571 C 0.03281 -0.17655 0.04635 -0.17902 0.05625 -0.18334 C 0.07274 -0.18272 0.10121 -0.19661 0.11875 -0.17593 C 0.12101 -0.16976 0.12708 -0.15926 0.12708 -0.15895 C 0.12934 -0.14692 0.12812 -0.15155 0.13021 -0.14445 " pathEditMode="relative" rAng="0" ptsTypes="fffffffffA">
                                      <p:cBhvr>
                                        <p:cTn id="12" dur="2000" fill="hold"/>
                                        <p:tgtEl>
                                          <p:spTgt spid="41"/>
                                        </p:tgtEl>
                                        <p:attrNameLst>
                                          <p:attrName>ppt_x</p:attrName>
                                          <p:attrName>ppt_y</p:attrName>
                                        </p:attrNameLst>
                                      </p:cBhvr>
                                      <p:rCtr x="7083" y="-6235"/>
                                    </p:animMotion>
                                  </p:childTnLst>
                                </p:cTn>
                              </p:par>
                              <p:par>
                                <p:cTn id="13" presetID="0" presetClass="path" presetSubtype="0" accel="50000" decel="50000" fill="hold" nodeType="withEffect">
                                  <p:stCondLst>
                                    <p:cond delay="0"/>
                                  </p:stCondLst>
                                  <p:childTnLst>
                                    <p:animMotion origin="layout" path="M -0.01145 -0.07223 C -0.00711 -0.08735 -0.00052 -0.09908 0.00625 -0.11111 C 0.0073 -0.11297 0.0073 -0.11636 0.00834 -0.11852 C 0.01077 -0.12377 0.01441 -0.12747 0.01667 -0.13334 C 0.02066 -0.14383 0.01789 -0.13735 0.02605 -0.15185 C 0.02709 -0.15371 0.02917 -0.15741 0.02917 -0.1571 C 0.03282 -0.17655 0.04636 -0.17902 0.05625 -0.18334 C 0.07275 -0.18272 0.10122 -0.19661 0.11875 -0.17593 C 0.12101 -0.16976 0.12709 -0.15926 0.12709 -0.15895 C 0.12934 -0.14692 0.12813 -0.15155 0.13021 -0.14445 " pathEditMode="relative" rAng="0" ptsTypes="fffffffffA">
                                      <p:cBhvr>
                                        <p:cTn id="14" dur="2000" fill="hold"/>
                                        <p:tgtEl>
                                          <p:spTgt spid="34"/>
                                        </p:tgtEl>
                                        <p:attrNameLst>
                                          <p:attrName>ppt_x</p:attrName>
                                          <p:attrName>ppt_y</p:attrName>
                                        </p:attrNameLst>
                                      </p:cBhvr>
                                      <p:rCtr x="7083" y="-6235"/>
                                    </p:animMotion>
                                  </p:childTnLst>
                                </p:cTn>
                              </p:par>
                            </p:childTnLst>
                          </p:cTn>
                        </p:par>
                        <p:par>
                          <p:cTn id="15" fill="hold">
                            <p:stCondLst>
                              <p:cond delay="2000"/>
                            </p:stCondLst>
                            <p:childTnLst>
                              <p:par>
                                <p:cTn id="16" presetID="6" presetClass="emph" presetSubtype="0" fill="hold" grpId="1" nodeType="afterEffect">
                                  <p:stCondLst>
                                    <p:cond delay="0"/>
                                  </p:stCondLst>
                                  <p:childTnLst>
                                    <p:animScale>
                                      <p:cBhvr>
                                        <p:cTn id="17" dur="2000" fill="hold"/>
                                        <p:tgtEl>
                                          <p:spTgt spid="42"/>
                                        </p:tgtEl>
                                      </p:cBhvr>
                                      <p:by x="150000" y="150000"/>
                                    </p:animScale>
                                  </p:childTnLst>
                                </p:cTn>
                              </p:par>
                              <p:par>
                                <p:cTn id="18" presetID="6" presetClass="emph" presetSubtype="0" fill="hold" grpId="1" nodeType="withEffect">
                                  <p:stCondLst>
                                    <p:cond delay="0"/>
                                  </p:stCondLst>
                                  <p:childTnLst>
                                    <p:animScale>
                                      <p:cBhvr>
                                        <p:cTn id="19" dur="2000" fill="hold"/>
                                        <p:tgtEl>
                                          <p:spTgt spid="41"/>
                                        </p:tgtEl>
                                      </p:cBhvr>
                                      <p:by x="150000" y="150000"/>
                                    </p:animScale>
                                  </p:childTnLst>
                                </p:cTn>
                              </p:par>
                            </p:childTnLst>
                          </p:cTn>
                        </p:par>
                        <p:par>
                          <p:cTn id="20" fill="hold">
                            <p:stCondLst>
                              <p:cond delay="4000"/>
                            </p:stCondLst>
                            <p:childTnLst>
                              <p:par>
                                <p:cTn id="21" presetID="12" presetClass="entr" presetSubtype="4"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p:tgtEl>
                                          <p:spTgt spid="16"/>
                                        </p:tgtEl>
                                        <p:attrNameLst>
                                          <p:attrName>ppt_y</p:attrName>
                                        </p:attrNameLst>
                                      </p:cBhvr>
                                      <p:tavLst>
                                        <p:tav tm="0">
                                          <p:val>
                                            <p:strVal val="#ppt_y+#ppt_h*1.125000"/>
                                          </p:val>
                                        </p:tav>
                                        <p:tav tm="100000">
                                          <p:val>
                                            <p:strVal val="#ppt_y"/>
                                          </p:val>
                                        </p:tav>
                                      </p:tavLst>
                                    </p:anim>
                                    <p:animEffect transition="in" filter="wipe(up)">
                                      <p:cBhvr>
                                        <p:cTn id="2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6" grpId="0"/>
      <p:bldP spid="41" grpId="0"/>
      <p:bldP spid="41" grpId="1"/>
      <p:bldP spid="42" grpId="0"/>
      <p:bldP spid="42" grpId="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7" name="TextBox 18"/>
          <p:cNvSpPr>
            <a:spLocks noChangeArrowheads="1"/>
          </p:cNvSpPr>
          <p:nvPr/>
        </p:nvSpPr>
        <p:spPr bwMode="auto">
          <a:xfrm>
            <a:off x="2155981" y="1752600"/>
            <a:ext cx="6416519" cy="222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0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购票人为未办理公务卡、公务卡额度不足的人员以及需要购买公务机票的其他人员购票的，可使用转账方式在各航空公司直销机构或具备机票销售资质的代理机构购票</a:t>
            </a:r>
            <a:endParaRPr lang="zh-CN" altLang="en-US" sz="1050" b="1" dirty="0">
              <a:ln w="3175">
                <a:solidFill>
                  <a:schemeClr val="tx1"/>
                </a:solidFill>
              </a:ln>
              <a:latin typeface="方正风雅宋简体" pitchFamily="2" charset="-122"/>
              <a:ea typeface="方正风雅宋简体" pitchFamily="2" charset="-122"/>
            </a:endParaRPr>
          </a:p>
          <a:p>
            <a:pPr marL="457200" indent="-457200" fontAlgn="auto">
              <a:lnSpc>
                <a:spcPct val="20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因公临时出国时，购票人应当选择直达目的地国家（地区）的国内航空公司航班出入境，没有直达航班的，应当选择国内航空公司航班到达的最临近目的地国家（地区）进行中转。因中转</a:t>
            </a:r>
            <a:r>
              <a:rPr lang="en-US" altLang="zh-CN" sz="1050" b="1" dirty="0">
                <a:ln w="3175">
                  <a:solidFill>
                    <a:schemeClr val="tx1"/>
                  </a:solidFill>
                </a:ln>
                <a:latin typeface="方正风雅宋简体" pitchFamily="2" charset="-122"/>
                <a:ea typeface="方正风雅宋简体" pitchFamily="2" charset="-122"/>
              </a:rPr>
              <a:t>1</a:t>
            </a:r>
            <a:r>
              <a:rPr lang="zh-CN" altLang="zh-CN" sz="1050" b="1" dirty="0">
                <a:ln w="3175">
                  <a:solidFill>
                    <a:schemeClr val="tx1"/>
                  </a:solidFill>
                </a:ln>
                <a:latin typeface="方正风雅宋简体" pitchFamily="2" charset="-122"/>
                <a:ea typeface="方正风雅宋简体" pitchFamily="2" charset="-122"/>
              </a:rPr>
              <a:t>次以上（不含</a:t>
            </a:r>
            <a:r>
              <a:rPr lang="en-US" altLang="zh-CN" sz="1050" b="1" dirty="0">
                <a:ln w="3175">
                  <a:solidFill>
                    <a:schemeClr val="tx1"/>
                  </a:solidFill>
                </a:ln>
                <a:latin typeface="方正风雅宋简体" pitchFamily="2" charset="-122"/>
                <a:ea typeface="方正风雅宋简体" pitchFamily="2" charset="-122"/>
              </a:rPr>
              <a:t>1</a:t>
            </a:r>
            <a:r>
              <a:rPr lang="zh-CN" altLang="zh-CN" sz="1050" b="1" dirty="0">
                <a:ln w="3175">
                  <a:solidFill>
                    <a:schemeClr val="tx1"/>
                  </a:solidFill>
                </a:ln>
                <a:latin typeface="方正风雅宋简体" pitchFamily="2" charset="-122"/>
                <a:ea typeface="方正风雅宋简体" pitchFamily="2" charset="-122"/>
              </a:rPr>
              <a:t>次）等特殊原因确需选择非国内航空公司航班，以及因最邻近目的地国家（地区）中转需办理过境签证而选择其他邻近中转地的，须事先报外事部门和财务部门审批同意</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文本框 3"/>
          <p:cNvSpPr txBox="1"/>
          <p:nvPr/>
        </p:nvSpPr>
        <p:spPr>
          <a:xfrm>
            <a:off x="858587" y="171608"/>
            <a:ext cx="2827349"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机票购买</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 name="矩形 15"/>
          <p:cNvSpPr/>
          <p:nvPr/>
        </p:nvSpPr>
        <p:spPr>
          <a:xfrm>
            <a:off x="44264" y="1685752"/>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26917" y="1696947"/>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50201" y="1696947"/>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51358" y="2347282"/>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54224" y="2365989"/>
            <a:ext cx="661924" cy="644380"/>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52019" y="2348672"/>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72839" y="3067434"/>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22300" y="3112572"/>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41350" y="3018318"/>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7805" y="1695188"/>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8678" y="234362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6918" y="3019894"/>
            <a:ext cx="714432"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212" y="3018147"/>
            <a:ext cx="671231" cy="681144"/>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835" y="1669693"/>
            <a:ext cx="656033" cy="673932"/>
          </a:xfrm>
          <a:prstGeom prst="rect">
            <a:avLst/>
          </a:prstGeom>
        </p:spPr>
      </p:pic>
      <p:sp>
        <p:nvSpPr>
          <p:cNvPr id="39" name="矩形 38"/>
          <p:cNvSpPr/>
          <p:nvPr/>
        </p:nvSpPr>
        <p:spPr>
          <a:xfrm>
            <a:off x="65332" y="1950448"/>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32954" y="1734364"/>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65332" y="3290870"/>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2" name="矩形 41"/>
          <p:cNvSpPr/>
          <p:nvPr/>
        </p:nvSpPr>
        <p:spPr>
          <a:xfrm>
            <a:off x="260380" y="3074184"/>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3" name="矩形 42"/>
          <p:cNvSpPr/>
          <p:nvPr/>
        </p:nvSpPr>
        <p:spPr>
          <a:xfrm>
            <a:off x="588713" y="2617678"/>
            <a:ext cx="1068623" cy="338554"/>
          </a:xfrm>
          <a:prstGeom prst="rect">
            <a:avLst/>
          </a:prstGeom>
        </p:spPr>
        <p:txBody>
          <a:bodyPr wrap="square">
            <a:spAutoFit/>
          </a:bodyPr>
          <a:lstStyle/>
          <a:p>
            <a:r>
              <a:rPr lang="zh-CN" altLang="en-US" sz="1600" b="1" dirty="0" smtClean="0"/>
              <a:t>购买要求</a:t>
            </a:r>
            <a:endParaRPr lang="zh-CN" altLang="en-US" sz="1600" b="1" dirty="0"/>
          </a:p>
        </p:txBody>
      </p:sp>
      <p:sp>
        <p:nvSpPr>
          <p:cNvPr id="44" name="矩形 43"/>
          <p:cNvSpPr/>
          <p:nvPr/>
        </p:nvSpPr>
        <p:spPr>
          <a:xfrm>
            <a:off x="912421" y="2375514"/>
            <a:ext cx="404402" cy="338554"/>
          </a:xfrm>
          <a:prstGeom prst="rect">
            <a:avLst/>
          </a:prstGeom>
        </p:spPr>
        <p:txBody>
          <a:bodyPr wrap="square">
            <a:spAutoFit/>
          </a:bodyPr>
          <a:lstStyle/>
          <a:p>
            <a:r>
              <a:rPr lang="en-US" altLang="zh-CN" sz="1600" b="1" dirty="0" smtClean="0"/>
              <a:t>03</a:t>
            </a:r>
            <a:endParaRPr lang="zh-CN" altLang="en-US" sz="1600" b="1" dirty="0"/>
          </a:p>
        </p:txBody>
      </p:sp>
      <p:sp>
        <p:nvSpPr>
          <p:cNvPr id="45" name="矩形 44"/>
          <p:cNvSpPr/>
          <p:nvPr/>
        </p:nvSpPr>
        <p:spPr>
          <a:xfrm>
            <a:off x="768479" y="3299484"/>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943662" y="3084082"/>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47" name="矩形 46"/>
          <p:cNvSpPr/>
          <p:nvPr/>
        </p:nvSpPr>
        <p:spPr>
          <a:xfrm>
            <a:off x="1422300" y="3316958"/>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0" name="矩形 49"/>
          <p:cNvSpPr/>
          <p:nvPr/>
        </p:nvSpPr>
        <p:spPr>
          <a:xfrm>
            <a:off x="1585231" y="3093448"/>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383517865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146 -0.06296 C 0.00955 -0.07685 0.01355 -0.0895 0.01667 -0.10185 C 0.02483 -0.13426 0.02848 -0.17037 0.03959 -0.2 C 0.04271 -0.22191 0.04931 -0.24506 0.05834 -0.26111 C 0.0606 -0.27315 0.06355 -0.29012 0.07084 -0.29444 C 0.07535 -0.30247 0.07969 -0.3071 0.08542 -0.31111 C 0.11216 -0.31049 0.13889 -0.31111 0.16563 -0.30926 C 0.16685 -0.30926 0.16771 -0.30648 0.16876 -0.30555 C 0.1698 -0.30463 0.17084 -0.30432 0.17188 -0.3037 C 0.17501 -0.29815 0.17761 -0.29691 0.18126 -0.29259 C 0.18646 -0.2787 0.17987 -0.29568 0.18646 -0.28148 C 0.18733 -0.27963 0.18803 -0.27777 0.18855 -0.27592 C 0.18907 -0.27407 0.18959 -0.27037 0.18959 -0.27006 " pathEditMode="relative" rAng="0" ptsTypes="ffffffffffffA">
                                      <p:cBhvr>
                                        <p:cTn id="11" dur="2000" fill="hold"/>
                                        <p:tgtEl>
                                          <p:spTgt spid="44"/>
                                        </p:tgtEl>
                                        <p:attrNameLst>
                                          <p:attrName>ppt_x</p:attrName>
                                          <p:attrName>ppt_y</p:attrName>
                                        </p:attrNameLst>
                                      </p:cBhvr>
                                      <p:rCtr x="8802" y="-12407"/>
                                    </p:animMotion>
                                  </p:childTnLst>
                                </p:cTn>
                              </p:par>
                              <p:par>
                                <p:cTn id="12" presetID="0" presetClass="path" presetSubtype="0" accel="50000" decel="50000" fill="hold" grpId="0" nodeType="withEffect">
                                  <p:stCondLst>
                                    <p:cond delay="0"/>
                                  </p:stCondLst>
                                  <p:childTnLst>
                                    <p:animMotion origin="layout" path="M 0.01146 -0.06297 C 0.00955 -0.07686 0.01354 -0.08951 0.01667 -0.10186 C 0.02483 -0.13426 0.02848 -0.17037 0.03959 -0.2 C 0.04271 -0.22192 0.04931 -0.24507 0.05834 -0.26111 C 0.06059 -0.27315 0.06354 -0.29013 0.07084 -0.29445 C 0.07535 -0.30247 0.07969 -0.3071 0.08542 -0.31111 C 0.11216 -0.3105 0.13889 -0.31111 0.16563 -0.30926 C 0.16684 -0.30926 0.16771 -0.30648 0.16875 -0.30556 C 0.16979 -0.30463 0.17084 -0.30432 0.17188 -0.30371 C 0.175 -0.29815 0.17761 -0.29692 0.18125 -0.2926 C 0.18646 -0.27871 0.17986 -0.29568 0.18646 -0.28148 C 0.18733 -0.27963 0.18802 -0.27778 0.18854 -0.27593 C 0.18907 -0.27408 0.18959 -0.27037 0.18959 -0.27007 " pathEditMode="relative" rAng="0" ptsTypes="ffffffffffffA">
                                      <p:cBhvr>
                                        <p:cTn id="13" dur="2000" fill="hold"/>
                                        <p:tgtEl>
                                          <p:spTgt spid="43"/>
                                        </p:tgtEl>
                                        <p:attrNameLst>
                                          <p:attrName>ppt_x</p:attrName>
                                          <p:attrName>ppt_y</p:attrName>
                                        </p:attrNameLst>
                                      </p:cBhvr>
                                      <p:rCtr x="8802" y="-12407"/>
                                    </p:animMotion>
                                  </p:childTnLst>
                                </p:cTn>
                              </p:par>
                              <p:par>
                                <p:cTn id="14" presetID="0" presetClass="path" presetSubtype="0" accel="50000" decel="50000" fill="hold" nodeType="withEffect">
                                  <p:stCondLst>
                                    <p:cond delay="0"/>
                                  </p:stCondLst>
                                  <p:childTnLst>
                                    <p:animMotion origin="layout" path="M 0.01146 -0.06297 C 0.00955 -0.07685 0.01354 -0.08951 0.01667 -0.10185 C 0.02483 -0.13426 0.02847 -0.17037 0.03959 -0.2 C 0.04271 -0.22192 0.04931 -0.24506 0.05834 -0.26111 C 0.06059 -0.27315 0.06354 -0.29013 0.07084 -0.29445 C 0.07535 -0.30247 0.07969 -0.3071 0.08542 -0.31111 C 0.11215 -0.3105 0.13889 -0.31111 0.16563 -0.30926 C 0.16684 -0.30926 0.16771 -0.30648 0.16875 -0.30556 C 0.16979 -0.30463 0.17084 -0.30432 0.17188 -0.30371 C 0.175 -0.29815 0.17761 -0.29692 0.18125 -0.29259 C 0.18646 -0.27871 0.17986 -0.29568 0.18646 -0.28148 C 0.18733 -0.27963 0.18802 -0.27778 0.18854 -0.27593 C 0.18906 -0.27408 0.18959 -0.27037 0.18959 -0.27006 " pathEditMode="relative" rAng="0" ptsTypes="ffffffffffffA">
                                      <p:cBhvr>
                                        <p:cTn id="15" dur="2000" fill="hold"/>
                                        <p:tgtEl>
                                          <p:spTgt spid="35"/>
                                        </p:tgtEl>
                                        <p:attrNameLst>
                                          <p:attrName>ppt_x</p:attrName>
                                          <p:attrName>ppt_y</p:attrName>
                                        </p:attrNameLst>
                                      </p:cBhvr>
                                      <p:rCtr x="8802" y="-12407"/>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44"/>
                                        </p:tgtEl>
                                      </p:cBhvr>
                                      <p:by x="150000" y="150000"/>
                                    </p:animScale>
                                  </p:childTnLst>
                                </p:cTn>
                              </p:par>
                              <p:par>
                                <p:cTn id="19" presetID="6" presetClass="emph" presetSubtype="0" fill="hold" grpId="1" nodeType="withEffect">
                                  <p:stCondLst>
                                    <p:cond delay="0"/>
                                  </p:stCondLst>
                                  <p:childTnLst>
                                    <p:animScale>
                                      <p:cBhvr>
                                        <p:cTn id="20" dur="2000" fill="hold"/>
                                        <p:tgtEl>
                                          <p:spTgt spid="43"/>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500"/>
                                        <p:tgtEl>
                                          <p:spTgt spid="17"/>
                                        </p:tgtEl>
                                        <p:attrNameLst>
                                          <p:attrName>ppt_y</p:attrName>
                                        </p:attrNameLst>
                                      </p:cBhvr>
                                      <p:tavLst>
                                        <p:tav tm="0">
                                          <p:val>
                                            <p:strVal val="#ppt_y+#ppt_h*1.125000"/>
                                          </p:val>
                                        </p:tav>
                                        <p:tav tm="100000">
                                          <p:val>
                                            <p:strVal val="#ppt_y"/>
                                          </p:val>
                                        </p:tav>
                                      </p:tavLst>
                                    </p:anim>
                                    <p:animEffect transition="in" filter="wipe(up)">
                                      <p:cBhvr>
                                        <p:cTn id="2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p:bldP spid="43" grpId="0"/>
      <p:bldP spid="43" grpId="1"/>
      <p:bldP spid="44" grpId="0"/>
      <p:bldP spid="44" grpId="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6" name="TextBox 18"/>
          <p:cNvSpPr>
            <a:spLocks noChangeArrowheads="1"/>
          </p:cNvSpPr>
          <p:nvPr/>
        </p:nvSpPr>
        <p:spPr bwMode="auto">
          <a:xfrm>
            <a:off x="2155981" y="1799364"/>
            <a:ext cx="6197444" cy="1902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为进一步贯彻落实厉行节约和支持本国航空公司发展的要求，国内出差、因公临时出国购买机票，购票人可以购买市场上公务机票销售渠道外低于政府采购优惠票价的国内航空公司航班机票，购票时应当保留从各航空公司官方网站或政府采购机票管理网站下载的出行日期机票市场价格截图等证明其低于购票时点政府采购优惠票价的材料</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文本框 3"/>
          <p:cNvSpPr txBox="1"/>
          <p:nvPr/>
        </p:nvSpPr>
        <p:spPr>
          <a:xfrm>
            <a:off x="858587" y="171608"/>
            <a:ext cx="2827349"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机票购买</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7" name="矩形 16"/>
          <p:cNvSpPr/>
          <p:nvPr/>
        </p:nvSpPr>
        <p:spPr>
          <a:xfrm>
            <a:off x="53789" y="169527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36442" y="170647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59726" y="170647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60883" y="2356807"/>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63749" y="242281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61544" y="235819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82364" y="307695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31825" y="3122097"/>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0875" y="3027843"/>
            <a:ext cx="661923"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57330" y="1704713"/>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7938" y="235457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729" y="302941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737" y="3027672"/>
            <a:ext cx="671231" cy="681144"/>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835" y="1679218"/>
            <a:ext cx="656033" cy="673932"/>
          </a:xfrm>
          <a:prstGeom prst="rect">
            <a:avLst/>
          </a:prstGeom>
        </p:spPr>
      </p:pic>
      <p:sp>
        <p:nvSpPr>
          <p:cNvPr id="39" name="矩形 38"/>
          <p:cNvSpPr/>
          <p:nvPr/>
        </p:nvSpPr>
        <p:spPr>
          <a:xfrm>
            <a:off x="74857" y="195997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42479" y="174388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06118" y="3300395"/>
            <a:ext cx="1019854" cy="338554"/>
          </a:xfrm>
          <a:prstGeom prst="rect">
            <a:avLst/>
          </a:prstGeom>
        </p:spPr>
        <p:txBody>
          <a:bodyPr wrap="square">
            <a:spAutoFit/>
          </a:bodyPr>
          <a:lstStyle/>
          <a:p>
            <a:r>
              <a:rPr lang="zh-CN" altLang="en-US" sz="1600" b="1" dirty="0" smtClean="0"/>
              <a:t>低价机票</a:t>
            </a:r>
            <a:endParaRPr lang="zh-CN" altLang="en-US" sz="1600" b="1" dirty="0"/>
          </a:p>
        </p:txBody>
      </p:sp>
      <p:sp>
        <p:nvSpPr>
          <p:cNvPr id="42" name="矩形 41"/>
          <p:cNvSpPr/>
          <p:nvPr/>
        </p:nvSpPr>
        <p:spPr>
          <a:xfrm>
            <a:off x="231805" y="3083709"/>
            <a:ext cx="493844" cy="338554"/>
          </a:xfrm>
          <a:prstGeom prst="rect">
            <a:avLst/>
          </a:prstGeom>
        </p:spPr>
        <p:txBody>
          <a:bodyPr wrap="square">
            <a:spAutoFit/>
          </a:bodyPr>
          <a:lstStyle/>
          <a:p>
            <a:r>
              <a:rPr lang="en-US" altLang="zh-CN" sz="1600" b="1" dirty="0" smtClean="0"/>
              <a:t>04</a:t>
            </a:r>
            <a:endParaRPr lang="zh-CN" altLang="en-US" sz="1600" b="1" dirty="0"/>
          </a:p>
        </p:txBody>
      </p:sp>
      <p:sp>
        <p:nvSpPr>
          <p:cNvPr id="43" name="矩形 42"/>
          <p:cNvSpPr/>
          <p:nvPr/>
        </p:nvSpPr>
        <p:spPr>
          <a:xfrm>
            <a:off x="741114" y="262720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4" name="矩形 43"/>
          <p:cNvSpPr/>
          <p:nvPr/>
        </p:nvSpPr>
        <p:spPr>
          <a:xfrm>
            <a:off x="940996" y="240408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5" name="矩形 44"/>
          <p:cNvSpPr/>
          <p:nvPr/>
        </p:nvSpPr>
        <p:spPr>
          <a:xfrm>
            <a:off x="778004" y="330900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6" name="矩形 45"/>
          <p:cNvSpPr/>
          <p:nvPr/>
        </p:nvSpPr>
        <p:spPr>
          <a:xfrm>
            <a:off x="953187" y="309360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47" name="矩形 46"/>
          <p:cNvSpPr/>
          <p:nvPr/>
        </p:nvSpPr>
        <p:spPr>
          <a:xfrm>
            <a:off x="1431825" y="3326483"/>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0" name="矩形 49"/>
          <p:cNvSpPr/>
          <p:nvPr/>
        </p:nvSpPr>
        <p:spPr>
          <a:xfrm>
            <a:off x="1594756" y="3102973"/>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422751730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3.05556E-6 -0.05741 C 0.00781 -0.0855 0.01614 -0.11358 0.025 -0.14074 C 0.02968 -0.15494 0.03246 -0.17161 0.0375 -0.18519 C 0.03889 -0.19784 0.04132 -0.20648 0.04583 -0.21667 C 0.04913 -0.23426 0.05399 -0.24753 0.05937 -0.26297 C 0.06354 -0.275 0.06614 -0.28797 0.07187 -0.29815 C 0.07587 -0.31574 0.08368 -0.33025 0.09062 -0.34445 C 0.09305 -0.34939 0.09618 -0.35525 0.09791 -0.36111 C 0.09843 -0.36297 0.09826 -0.36513 0.09896 -0.36667 C 0.10642 -0.38334 0.12309 -0.40247 0.13437 -0.40741 C 0.14826 -0.42161 0.16337 -0.42562 0.17916 -0.42963 C 0.25677 -0.42747 0.221 -0.4321 0.25416 -0.42037 C 0.2559 -0.41821 0.26024 -0.41327 0.26146 -0.41111 C 0.26406 -0.40648 0.26406 -0.40093 0.26666 -0.3963 " pathEditMode="relative" rAng="0" ptsTypes="fffffffffffffA">
                                      <p:cBhvr>
                                        <p:cTn id="11" dur="2000" fill="hold"/>
                                        <p:tgtEl>
                                          <p:spTgt spid="42"/>
                                        </p:tgtEl>
                                        <p:attrNameLst>
                                          <p:attrName>ppt_x</p:attrName>
                                          <p:attrName>ppt_y</p:attrName>
                                        </p:attrNameLst>
                                      </p:cBhvr>
                                      <p:rCtr x="13333" y="-18735"/>
                                    </p:animMotion>
                                  </p:childTnLst>
                                </p:cTn>
                              </p:par>
                              <p:par>
                                <p:cTn id="12" presetID="0" presetClass="path" presetSubtype="0" accel="50000" decel="50000" fill="hold" grpId="0" nodeType="withEffect">
                                  <p:stCondLst>
                                    <p:cond delay="0"/>
                                  </p:stCondLst>
                                  <p:childTnLst>
                                    <p:animMotion origin="layout" path="M 2.77778E-6 -0.0574 C 0.00781 -0.08549 0.01614 -0.11358 0.025 -0.14074 C 0.02968 -0.15494 0.03246 -0.1716 0.0375 -0.18518 C 0.03889 -0.19784 0.04132 -0.20648 0.04583 -0.21666 C 0.04913 -0.23426 0.05399 -0.24753 0.05937 -0.26296 C 0.06354 -0.275 0.06614 -0.28796 0.07187 -0.29815 C 0.07587 -0.31574 0.08368 -0.33024 0.09062 -0.34444 C 0.09305 -0.34938 0.09618 -0.35524 0.09791 -0.36111 C 0.09843 -0.36296 0.09826 -0.36512 0.09896 -0.36666 C 0.10642 -0.38333 0.12309 -0.40247 0.13437 -0.4074 C 0.14826 -0.4216 0.16337 -0.42561 0.17916 -0.42963 C 0.25677 -0.42747 0.221 -0.4321 0.25416 -0.42037 C 0.2559 -0.41821 0.26024 -0.41327 0.26146 -0.41111 C 0.26406 -0.40648 0.26406 -0.40092 0.26666 -0.39629 " pathEditMode="relative" rAng="0" ptsTypes="fffffffffffffA">
                                      <p:cBhvr>
                                        <p:cTn id="13" dur="2000" fill="hold"/>
                                        <p:tgtEl>
                                          <p:spTgt spid="41"/>
                                        </p:tgtEl>
                                        <p:attrNameLst>
                                          <p:attrName>ppt_x</p:attrName>
                                          <p:attrName>ppt_y</p:attrName>
                                        </p:attrNameLst>
                                      </p:cBhvr>
                                      <p:rCtr x="13333" y="-18735"/>
                                    </p:animMotion>
                                  </p:childTnLst>
                                </p:cTn>
                              </p:par>
                              <p:par>
                                <p:cTn id="14" presetID="0" presetClass="path" presetSubtype="0" accel="50000" decel="50000" fill="hold" nodeType="withEffect">
                                  <p:stCondLst>
                                    <p:cond delay="0"/>
                                  </p:stCondLst>
                                  <p:childTnLst>
                                    <p:animMotion origin="layout" path="M -1.66667E-6 -0.05741 C 0.00781 -0.08549 0.01615 -0.11358 0.025 -0.14074 C 0.02969 -0.15494 0.03247 -0.17161 0.0375 -0.18519 C 0.03889 -0.19784 0.04132 -0.20648 0.04584 -0.21667 C 0.04913 -0.23426 0.05399 -0.24753 0.05938 -0.26296 C 0.06354 -0.275 0.06615 -0.28796 0.07188 -0.29815 C 0.07587 -0.31574 0.08368 -0.33025 0.09063 -0.34444 C 0.09306 -0.34938 0.09618 -0.35525 0.09792 -0.36111 C 0.09844 -0.36296 0.09827 -0.36512 0.09896 -0.36667 C 0.10643 -0.38333 0.12309 -0.40247 0.13438 -0.40741 C 0.14827 -0.42161 0.16337 -0.42562 0.17917 -0.42963 C 0.25677 -0.42747 0.22101 -0.4321 0.25417 -0.42037 C 0.2559 -0.41821 0.26024 -0.41327 0.26146 -0.41111 C 0.26406 -0.40648 0.26406 -0.40093 0.26667 -0.3963 " pathEditMode="relative" rAng="0" ptsTypes="fffffffffffffA">
                                      <p:cBhvr>
                                        <p:cTn id="15" dur="2000" fill="hold"/>
                                        <p:tgtEl>
                                          <p:spTgt spid="37"/>
                                        </p:tgtEl>
                                        <p:attrNameLst>
                                          <p:attrName>ppt_x</p:attrName>
                                          <p:attrName>ppt_y</p:attrName>
                                        </p:attrNameLst>
                                      </p:cBhvr>
                                      <p:rCtr x="13333" y="-18735"/>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42"/>
                                        </p:tgtEl>
                                      </p:cBhvr>
                                      <p:by x="150000" y="150000"/>
                                    </p:animScale>
                                  </p:childTnLst>
                                </p:cTn>
                              </p:par>
                              <p:par>
                                <p:cTn id="19" presetID="6" presetClass="emph" presetSubtype="0" fill="hold" grpId="1" nodeType="withEffect">
                                  <p:stCondLst>
                                    <p:cond delay="0"/>
                                  </p:stCondLst>
                                  <p:childTnLst>
                                    <p:animScale>
                                      <p:cBhvr>
                                        <p:cTn id="20" dur="2000" fill="hold"/>
                                        <p:tgtEl>
                                          <p:spTgt spid="41"/>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p:tgtEl>
                                          <p:spTgt spid="16"/>
                                        </p:tgtEl>
                                        <p:attrNameLst>
                                          <p:attrName>ppt_y</p:attrName>
                                        </p:attrNameLst>
                                      </p:cBhvr>
                                      <p:tavLst>
                                        <p:tav tm="0">
                                          <p:val>
                                            <p:strVal val="#ppt_y+#ppt_h*1.125000"/>
                                          </p:val>
                                        </p:tav>
                                        <p:tav tm="100000">
                                          <p:val>
                                            <p:strVal val="#ppt_y"/>
                                          </p:val>
                                        </p:tav>
                                      </p:tavLst>
                                    </p:anim>
                                    <p:animEffect transition="in" filter="wipe(up)">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6" grpId="0"/>
      <p:bldP spid="41" grpId="0"/>
      <p:bldP spid="41" grpId="1"/>
      <p:bldP spid="42" grpId="0"/>
      <p:bldP spid="42" grpId="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17" name="TextBox 18"/>
          <p:cNvSpPr>
            <a:spLocks noChangeArrowheads="1"/>
          </p:cNvSpPr>
          <p:nvPr/>
        </p:nvSpPr>
        <p:spPr bwMode="auto">
          <a:xfrm>
            <a:off x="2141616" y="1816531"/>
            <a:ext cx="6006944" cy="1902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应以标注有政府采购机票查验号码的《航空运输电子客票行程单》作为报销凭据</a:t>
            </a:r>
            <a:endParaRPr lang="zh-CN" altLang="en-US"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购票人报销政府采购机票销售渠道购买的机票退票手续费时，可以各航空公司或机票销售代理机构出具的退款单据作为报销凭证</a:t>
            </a:r>
            <a:endParaRPr lang="zh-CN" altLang="en-US" sz="1050" b="1" dirty="0">
              <a:ln w="3175">
                <a:solidFill>
                  <a:schemeClr val="tx1"/>
                </a:solidFill>
              </a:ln>
              <a:latin typeface="方正风雅宋简体" pitchFamily="2" charset="-122"/>
              <a:ea typeface="方正风雅宋简体" pitchFamily="2" charset="-122"/>
            </a:endParaRPr>
          </a:p>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报销购买市场低价的费用时，须提供低于政府采购优惠票价的证明材料</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文本框 3"/>
          <p:cNvSpPr txBox="1"/>
          <p:nvPr/>
        </p:nvSpPr>
        <p:spPr>
          <a:xfrm>
            <a:off x="858587" y="171608"/>
            <a:ext cx="2827349"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机票购买</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 name="矩形 15"/>
          <p:cNvSpPr/>
          <p:nvPr/>
        </p:nvSpPr>
        <p:spPr>
          <a:xfrm>
            <a:off x="63314" y="1666702"/>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1" name="矩形 20"/>
          <p:cNvSpPr/>
          <p:nvPr/>
        </p:nvSpPr>
        <p:spPr>
          <a:xfrm>
            <a:off x="745967" y="1677897"/>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69251" y="1677897"/>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70408" y="2328232"/>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73274" y="2394242"/>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71069" y="2329622"/>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91889" y="3048384"/>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60400" y="3093522"/>
            <a:ext cx="661924" cy="55814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3943" y="3008649"/>
            <a:ext cx="702038"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66855" y="1676138"/>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7463" y="2326000"/>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9254" y="3000844"/>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262" y="2999097"/>
            <a:ext cx="671231" cy="681144"/>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360" y="1650643"/>
            <a:ext cx="656033" cy="673932"/>
          </a:xfrm>
          <a:prstGeom prst="rect">
            <a:avLst/>
          </a:prstGeom>
        </p:spPr>
      </p:pic>
      <p:sp>
        <p:nvSpPr>
          <p:cNvPr id="39" name="矩形 38"/>
          <p:cNvSpPr/>
          <p:nvPr/>
        </p:nvSpPr>
        <p:spPr>
          <a:xfrm>
            <a:off x="84382" y="1931398"/>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52004" y="1715314"/>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492966" y="1958502"/>
            <a:ext cx="1030043" cy="230832"/>
          </a:xfrm>
          <a:prstGeom prst="rect">
            <a:avLst/>
          </a:prstGeom>
        </p:spPr>
        <p:txBody>
          <a:bodyPr wrap="square">
            <a:spAutoFit/>
          </a:bodyPr>
          <a:lstStyle/>
          <a:p>
            <a:r>
              <a:rPr lang="zh-CN" altLang="en-US" sz="900" dirty="0" smtClean="0">
                <a:solidFill>
                  <a:schemeClr val="bg1">
                    <a:lumMod val="50000"/>
                  </a:schemeClr>
                </a:solidFill>
              </a:rPr>
              <a:t>支付方式</a:t>
            </a:r>
            <a:endParaRPr lang="zh-CN" altLang="en-US" sz="900" dirty="0">
              <a:solidFill>
                <a:schemeClr val="bg1">
                  <a:lumMod val="50000"/>
                </a:schemeClr>
              </a:solidFill>
            </a:endParaRPr>
          </a:p>
        </p:txBody>
      </p:sp>
      <p:sp>
        <p:nvSpPr>
          <p:cNvPr id="42" name="矩形 41"/>
          <p:cNvSpPr/>
          <p:nvPr/>
        </p:nvSpPr>
        <p:spPr>
          <a:xfrm>
            <a:off x="1682291" y="1733575"/>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3" name="矩形 42"/>
          <p:cNvSpPr/>
          <p:nvPr/>
        </p:nvSpPr>
        <p:spPr>
          <a:xfrm>
            <a:off x="84382" y="3271820"/>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4" name="矩形 43"/>
          <p:cNvSpPr/>
          <p:nvPr/>
        </p:nvSpPr>
        <p:spPr>
          <a:xfrm>
            <a:off x="279430" y="3055134"/>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5" name="矩形 44"/>
          <p:cNvSpPr/>
          <p:nvPr/>
        </p:nvSpPr>
        <p:spPr>
          <a:xfrm>
            <a:off x="750639" y="2598628"/>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6" name="矩形 45"/>
          <p:cNvSpPr/>
          <p:nvPr/>
        </p:nvSpPr>
        <p:spPr>
          <a:xfrm>
            <a:off x="950521" y="2375514"/>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7" name="矩形 46"/>
          <p:cNvSpPr/>
          <p:nvPr/>
        </p:nvSpPr>
        <p:spPr>
          <a:xfrm>
            <a:off x="616078" y="3280434"/>
            <a:ext cx="1031734" cy="338554"/>
          </a:xfrm>
          <a:prstGeom prst="rect">
            <a:avLst/>
          </a:prstGeom>
        </p:spPr>
        <p:txBody>
          <a:bodyPr wrap="square">
            <a:spAutoFit/>
          </a:bodyPr>
          <a:lstStyle/>
          <a:p>
            <a:r>
              <a:rPr lang="zh-CN" altLang="en-US" sz="1600" b="1" dirty="0" smtClean="0"/>
              <a:t>报销要求</a:t>
            </a:r>
            <a:endParaRPr lang="zh-CN" altLang="en-US" sz="1600" b="1" dirty="0"/>
          </a:p>
        </p:txBody>
      </p:sp>
      <p:sp>
        <p:nvSpPr>
          <p:cNvPr id="50" name="矩形 49"/>
          <p:cNvSpPr/>
          <p:nvPr/>
        </p:nvSpPr>
        <p:spPr>
          <a:xfrm>
            <a:off x="924612" y="3045982"/>
            <a:ext cx="401736" cy="338554"/>
          </a:xfrm>
          <a:prstGeom prst="rect">
            <a:avLst/>
          </a:prstGeom>
        </p:spPr>
        <p:txBody>
          <a:bodyPr wrap="square">
            <a:spAutoFit/>
          </a:bodyPr>
          <a:lstStyle/>
          <a:p>
            <a:r>
              <a:rPr lang="en-US" altLang="zh-CN" sz="1600" b="1" dirty="0" smtClean="0"/>
              <a:t>05</a:t>
            </a:r>
            <a:endParaRPr lang="zh-CN" altLang="en-US" sz="1600" b="1" dirty="0"/>
          </a:p>
        </p:txBody>
      </p:sp>
      <p:sp>
        <p:nvSpPr>
          <p:cNvPr id="51" name="矩形 50"/>
          <p:cNvSpPr/>
          <p:nvPr/>
        </p:nvSpPr>
        <p:spPr>
          <a:xfrm>
            <a:off x="1441350" y="3297908"/>
            <a:ext cx="682396" cy="230832"/>
          </a:xfrm>
          <a:prstGeom prst="rect">
            <a:avLst/>
          </a:prstGeom>
        </p:spPr>
        <p:txBody>
          <a:bodyPr wrap="square">
            <a:spAutoFit/>
          </a:bodyPr>
          <a:lstStyle/>
          <a:p>
            <a:r>
              <a:rPr lang="zh-CN" altLang="en-US" sz="900" dirty="0" smtClean="0">
                <a:solidFill>
                  <a:schemeClr val="bg1">
                    <a:lumMod val="50000"/>
                  </a:schemeClr>
                </a:solidFill>
              </a:rPr>
              <a:t>接待标准</a:t>
            </a:r>
            <a:endParaRPr lang="zh-CN" altLang="en-US" sz="900" dirty="0">
              <a:solidFill>
                <a:schemeClr val="bg1">
                  <a:lumMod val="50000"/>
                </a:schemeClr>
              </a:solidFill>
            </a:endParaRPr>
          </a:p>
        </p:txBody>
      </p:sp>
      <p:sp>
        <p:nvSpPr>
          <p:cNvPr id="52" name="矩形 51"/>
          <p:cNvSpPr/>
          <p:nvPr/>
        </p:nvSpPr>
        <p:spPr>
          <a:xfrm>
            <a:off x="1604281" y="3074398"/>
            <a:ext cx="429963" cy="230832"/>
          </a:xfrm>
          <a:prstGeom prst="rect">
            <a:avLst/>
          </a:prstGeom>
        </p:spPr>
        <p:txBody>
          <a:bodyPr wrap="square">
            <a:spAutoFit/>
          </a:bodyPr>
          <a:lstStyle/>
          <a:p>
            <a:r>
              <a:rPr lang="en-US" altLang="zh-CN" sz="900" dirty="0" smtClean="0">
                <a:solidFill>
                  <a:schemeClr val="bg1">
                    <a:lumMod val="50000"/>
                  </a:schemeClr>
                </a:solidFill>
              </a:rPr>
              <a:t>06</a:t>
            </a:r>
            <a:endParaRPr lang="zh-CN" altLang="en-US" sz="900" dirty="0">
              <a:solidFill>
                <a:schemeClr val="bg1">
                  <a:lumMod val="50000"/>
                </a:schemeClr>
              </a:solidFill>
            </a:endParaRPr>
          </a:p>
        </p:txBody>
      </p:sp>
    </p:spTree>
    <p:extLst>
      <p:ext uri="{BB962C8B-B14F-4D97-AF65-F5344CB8AC3E}">
        <p14:creationId xmlns:p14="http://schemas.microsoft.com/office/powerpoint/2010/main" val="71947230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979 -0.05926 C -0.01858 -0.06944 -0.01754 -0.07253 -0.01354 -0.07963 C -0.01094 -0.09352 -0.00486 -0.10247 -0.00104 -0.11481 C 0.00434 -0.1321 0.00764 -0.15093 0.0125 -0.16852 C 0.01857 -0.19012 0.02465 -0.21111 0.03229 -0.23148 C 0.0335 -0.24074 0.03576 -0.24383 0.03854 -0.25185 C 0.04323 -0.26512 0.04809 -0.2858 0.05521 -0.29444 C 0.06666 -0.325 0.08038 -0.35772 0.09896 -0.37407 C 0.10659 -0.38086 0.11892 -0.3963 0.12812 -0.3963 C 0.14791 -0.3963 0.16771 -0.3963 0.1875 -0.3963 " pathEditMode="relative" rAng="0" ptsTypes="fffffffffA">
                                      <p:cBhvr>
                                        <p:cTn id="11" dur="2000" fill="hold"/>
                                        <p:tgtEl>
                                          <p:spTgt spid="50"/>
                                        </p:tgtEl>
                                        <p:attrNameLst>
                                          <p:attrName>ppt_x</p:attrName>
                                          <p:attrName>ppt_y</p:attrName>
                                        </p:attrNameLst>
                                      </p:cBhvr>
                                      <p:rCtr x="10365" y="-16852"/>
                                    </p:animMotion>
                                  </p:childTnLst>
                                </p:cTn>
                              </p:par>
                              <p:par>
                                <p:cTn id="12" presetID="0" presetClass="path" presetSubtype="0" accel="50000" decel="50000" fill="hold" grpId="0" nodeType="withEffect">
                                  <p:stCondLst>
                                    <p:cond delay="0"/>
                                  </p:stCondLst>
                                  <p:childTnLst>
                                    <p:animMotion origin="layout" path="M -0.01979 -0.05926 C -0.01857 -0.06945 -0.01753 -0.07253 -0.01354 -0.07963 C -0.01093 -0.09352 -0.00486 -0.10247 -0.00104 -0.11482 C 0.00435 -0.1321 0.00764 -0.15093 0.0125 -0.16852 C 0.01858 -0.19012 0.02466 -0.21111 0.0323 -0.23148 C 0.03351 -0.24074 0.03577 -0.24383 0.03855 -0.25185 C 0.04323 -0.26512 0.0481 -0.2858 0.05521 -0.29445 C 0.06667 -0.325 0.08039 -0.35772 0.09896 -0.37408 C 0.1066 -0.38087 0.11893 -0.3963 0.12813 -0.3963 C 0.14792 -0.3963 0.16771 -0.3963 0.1875 -0.3963 " pathEditMode="relative" rAng="0" ptsTypes="fffffffffA">
                                      <p:cBhvr>
                                        <p:cTn id="13" dur="2000" fill="hold"/>
                                        <p:tgtEl>
                                          <p:spTgt spid="47"/>
                                        </p:tgtEl>
                                        <p:attrNameLst>
                                          <p:attrName>ppt_x</p:attrName>
                                          <p:attrName>ppt_y</p:attrName>
                                        </p:attrNameLst>
                                      </p:cBhvr>
                                      <p:rCtr x="10365" y="-16852"/>
                                    </p:animMotion>
                                  </p:childTnLst>
                                </p:cTn>
                              </p:par>
                              <p:par>
                                <p:cTn id="14" presetID="0" presetClass="path" presetSubtype="0" accel="50000" decel="50000" fill="hold" nodeType="withEffect">
                                  <p:stCondLst>
                                    <p:cond delay="0"/>
                                  </p:stCondLst>
                                  <p:childTnLst>
                                    <p:animMotion origin="layout" path="M -0.01979 -0.05926 C -0.01858 -0.06944 -0.01754 -0.07253 -0.01354 -0.07963 C -0.01094 -0.09352 -0.00486 -0.10247 -0.00104 -0.11481 C 0.00434 -0.1321 0.00764 -0.15093 0.0125 -0.16852 C 0.01857 -0.19012 0.02465 -0.21111 0.03229 -0.23148 C 0.0335 -0.24074 0.03576 -0.24383 0.03854 -0.25185 C 0.04323 -0.26512 0.04809 -0.2858 0.05521 -0.29444 C 0.06666 -0.325 0.08038 -0.35772 0.09896 -0.37407 C 0.10659 -0.38086 0.11892 -0.3963 0.12812 -0.3963 C 0.14791 -0.3963 0.16771 -0.3963 0.1875 -0.3963 " pathEditMode="relative" rAng="0" ptsTypes="fffffffffA">
                                      <p:cBhvr>
                                        <p:cTn id="15" dur="2000" fill="hold"/>
                                        <p:tgtEl>
                                          <p:spTgt spid="36"/>
                                        </p:tgtEl>
                                        <p:attrNameLst>
                                          <p:attrName>ppt_x</p:attrName>
                                          <p:attrName>ppt_y</p:attrName>
                                        </p:attrNameLst>
                                      </p:cBhvr>
                                      <p:rCtr x="10365" y="-16852"/>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50"/>
                                        </p:tgtEl>
                                      </p:cBhvr>
                                      <p:by x="150000" y="150000"/>
                                    </p:animScale>
                                  </p:childTnLst>
                                </p:cTn>
                              </p:par>
                              <p:par>
                                <p:cTn id="19" presetID="6" presetClass="emph" presetSubtype="0" fill="hold" grpId="1" nodeType="withEffect">
                                  <p:stCondLst>
                                    <p:cond delay="0"/>
                                  </p:stCondLst>
                                  <p:childTnLst>
                                    <p:animScale>
                                      <p:cBhvr>
                                        <p:cTn id="20" dur="2000" fill="hold"/>
                                        <p:tgtEl>
                                          <p:spTgt spid="47"/>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500"/>
                                        <p:tgtEl>
                                          <p:spTgt spid="17"/>
                                        </p:tgtEl>
                                        <p:attrNameLst>
                                          <p:attrName>ppt_y</p:attrName>
                                        </p:attrNameLst>
                                      </p:cBhvr>
                                      <p:tavLst>
                                        <p:tav tm="0">
                                          <p:val>
                                            <p:strVal val="#ppt_y+#ppt_h*1.125000"/>
                                          </p:val>
                                        </p:tav>
                                        <p:tav tm="100000">
                                          <p:val>
                                            <p:strVal val="#ppt_y"/>
                                          </p:val>
                                        </p:tav>
                                      </p:tavLst>
                                    </p:anim>
                                    <p:animEffect transition="in" filter="wipe(up)">
                                      <p:cBhvr>
                                        <p:cTn id="2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p:bldP spid="47" grpId="0"/>
      <p:bldP spid="47" grpId="1"/>
      <p:bldP spid="50" grpId="0"/>
      <p:bldP spid="50"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2155981" y="1116825"/>
            <a:ext cx="6988019" cy="531000"/>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1013"/>
          </a:p>
        </p:txBody>
      </p:sp>
      <p:grpSp>
        <p:nvGrpSpPr>
          <p:cNvPr id="27" name="组合 27"/>
          <p:cNvGrpSpPr>
            <a:grpSpLocks/>
          </p:cNvGrpSpPr>
          <p:nvPr/>
        </p:nvGrpSpPr>
        <p:grpSpPr bwMode="auto">
          <a:xfrm>
            <a:off x="596" y="4269550"/>
            <a:ext cx="9142810" cy="864503"/>
            <a:chOff x="0" y="0"/>
            <a:chExt cx="4727045" cy="649007"/>
          </a:xfrm>
        </p:grpSpPr>
        <p:sp>
          <p:nvSpPr>
            <p:cNvPr id="28" name="矩形 12"/>
            <p:cNvSpPr>
              <a:spLocks noChangeArrowheads="1"/>
            </p:cNvSpPr>
            <p:nvPr/>
          </p:nvSpPr>
          <p:spPr bwMode="auto">
            <a:xfrm rot="16200000">
              <a:off x="2281590" y="-2078072"/>
              <a:ext cx="163866" cy="4727045"/>
            </a:xfrm>
            <a:prstGeom prst="rect">
              <a:avLst/>
            </a:prstGeom>
            <a:solidFill>
              <a:srgbClr val="00C8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29" name="矩形 13"/>
            <p:cNvSpPr>
              <a:spLocks noChangeArrowheads="1"/>
            </p:cNvSpPr>
            <p:nvPr/>
          </p:nvSpPr>
          <p:spPr bwMode="auto">
            <a:xfrm rot="16200000">
              <a:off x="2322556" y="-2236797"/>
              <a:ext cx="81933" cy="4727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0" name="矩形 14"/>
            <p:cNvSpPr>
              <a:spLocks noChangeArrowheads="1"/>
            </p:cNvSpPr>
            <p:nvPr/>
          </p:nvSpPr>
          <p:spPr bwMode="auto">
            <a:xfrm rot="16200000">
              <a:off x="2338943" y="-2338944"/>
              <a:ext cx="49160" cy="4727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sp>
          <p:nvSpPr>
            <p:cNvPr id="31" name="矩形 15"/>
            <p:cNvSpPr>
              <a:spLocks noChangeArrowheads="1"/>
            </p:cNvSpPr>
            <p:nvPr/>
          </p:nvSpPr>
          <p:spPr bwMode="auto">
            <a:xfrm rot="16200000">
              <a:off x="2240623" y="-1837417"/>
              <a:ext cx="245799" cy="4727045"/>
            </a:xfrm>
            <a:prstGeom prst="rect">
              <a:avLst/>
            </a:prstGeom>
            <a:solidFill>
              <a:srgbClr val="0091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013">
                <a:solidFill>
                  <a:srgbClr val="FFFFFF"/>
                </a:solidFill>
                <a:latin typeface="宋体" pitchFamily="2" charset="-122"/>
                <a:sym typeface="宋体" pitchFamily="2" charset="-122"/>
              </a:endParaRPr>
            </a:p>
          </p:txBody>
        </p:sp>
      </p:gr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49" name="TextBox 48"/>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4976" y="974826"/>
            <a:ext cx="1085256" cy="682524"/>
          </a:xfrm>
          <a:prstGeom prst="rect">
            <a:avLst/>
          </a:prstGeom>
        </p:spPr>
      </p:pic>
      <p:sp>
        <p:nvSpPr>
          <p:cNvPr id="20" name="TextBox 18"/>
          <p:cNvSpPr>
            <a:spLocks noChangeArrowheads="1"/>
          </p:cNvSpPr>
          <p:nvPr/>
        </p:nvSpPr>
        <p:spPr bwMode="auto">
          <a:xfrm>
            <a:off x="2155980" y="2142804"/>
            <a:ext cx="6587969" cy="1094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457200" indent="-457200" fontAlgn="auto">
              <a:lnSpc>
                <a:spcPct val="250000"/>
              </a:lnSpc>
              <a:spcBef>
                <a:spcPts val="0"/>
              </a:spcBef>
              <a:spcAft>
                <a:spcPts val="0"/>
              </a:spcAft>
              <a:buClr>
                <a:srgbClr val="ECFE02"/>
              </a:buClr>
              <a:buFont typeface="Wingdings" pitchFamily="2" charset="2"/>
              <a:buChar char="l"/>
              <a:defRPr/>
            </a:pPr>
            <a:r>
              <a:rPr lang="zh-CN" altLang="zh-CN" sz="1050" b="1" dirty="0">
                <a:ln w="3175">
                  <a:solidFill>
                    <a:schemeClr val="tx1"/>
                  </a:solidFill>
                </a:ln>
                <a:latin typeface="方正风雅宋简体" pitchFamily="2" charset="-122"/>
                <a:ea typeface="方正风雅宋简体" pitchFamily="2" charset="-122"/>
              </a:rPr>
              <a:t>需承担引进人才和学术交流人员国际机票的购买方式可参照本规定执行，需支付其垫付的机票款只能通过转账方式，不得以现金支付</a:t>
            </a:r>
            <a:endParaRPr lang="zh-CN" altLang="en-US" sz="1050" b="1" dirty="0">
              <a:ln w="3175">
                <a:solidFill>
                  <a:schemeClr val="tx1"/>
                </a:solidFill>
              </a:ln>
              <a:latin typeface="方正风雅宋简体" pitchFamily="2" charset="-122"/>
              <a:ea typeface="方正风雅宋简体" pitchFamily="2" charset="-122"/>
            </a:endParaRPr>
          </a:p>
          <a:p>
            <a:pPr>
              <a:lnSpc>
                <a:spcPct val="120000"/>
              </a:lnSpc>
              <a:buFont typeface="Arial" pitchFamily="34" charset="0"/>
              <a:buNone/>
            </a:pPr>
            <a:endParaRPr lang="en-US" altLang="zh-CN" sz="105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14" name="文本框 3"/>
          <p:cNvSpPr txBox="1"/>
          <p:nvPr/>
        </p:nvSpPr>
        <p:spPr>
          <a:xfrm>
            <a:off x="858587" y="171608"/>
            <a:ext cx="2827349"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公务机票购买</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 name="矩形 15"/>
          <p:cNvSpPr/>
          <p:nvPr/>
        </p:nvSpPr>
        <p:spPr>
          <a:xfrm>
            <a:off x="34739" y="1714327"/>
            <a:ext cx="661924" cy="641815"/>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17" name="矩形 16"/>
          <p:cNvSpPr/>
          <p:nvPr/>
        </p:nvSpPr>
        <p:spPr>
          <a:xfrm>
            <a:off x="717392" y="1725522"/>
            <a:ext cx="706052" cy="632676"/>
          </a:xfrm>
          <a:prstGeom prst="rect">
            <a:avLst/>
          </a:pr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2" name="矩形 21"/>
          <p:cNvSpPr/>
          <p:nvPr/>
        </p:nvSpPr>
        <p:spPr>
          <a:xfrm>
            <a:off x="1440676" y="1725522"/>
            <a:ext cx="659602" cy="632675"/>
          </a:xfrm>
          <a:prstGeom prst="rect">
            <a:avLst/>
          </a:prstGeom>
          <a:solidFill>
            <a:srgbClr val="FCB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3" name="矩形 22"/>
          <p:cNvSpPr/>
          <p:nvPr/>
        </p:nvSpPr>
        <p:spPr>
          <a:xfrm>
            <a:off x="41833" y="2375857"/>
            <a:ext cx="675559" cy="672612"/>
          </a:xfrm>
          <a:prstGeom prst="rect">
            <a:avLst/>
          </a:prstGeom>
          <a:solidFill>
            <a:srgbClr val="00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4" name="矩形 23"/>
          <p:cNvSpPr/>
          <p:nvPr/>
        </p:nvSpPr>
        <p:spPr>
          <a:xfrm>
            <a:off x="744699" y="2441867"/>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25" name="矩形 24"/>
          <p:cNvSpPr/>
          <p:nvPr/>
        </p:nvSpPr>
        <p:spPr>
          <a:xfrm>
            <a:off x="1442494" y="2377247"/>
            <a:ext cx="661924" cy="652171"/>
          </a:xfrm>
          <a:prstGeom prst="rect">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zh-CN" altLang="en-US" sz="900">
              <a:solidFill>
                <a:schemeClr val="bg1">
                  <a:lumMod val="50000"/>
                </a:schemeClr>
              </a:solidFill>
            </a:endParaRPr>
          </a:p>
        </p:txBody>
      </p:sp>
      <p:sp>
        <p:nvSpPr>
          <p:cNvPr id="26" name="矩形 25"/>
          <p:cNvSpPr/>
          <p:nvPr/>
        </p:nvSpPr>
        <p:spPr>
          <a:xfrm>
            <a:off x="63314" y="3096009"/>
            <a:ext cx="661924" cy="55814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sp>
        <p:nvSpPr>
          <p:cNvPr id="32" name="矩形 31"/>
          <p:cNvSpPr/>
          <p:nvPr/>
        </p:nvSpPr>
        <p:spPr>
          <a:xfrm>
            <a:off x="1412774" y="3067434"/>
            <a:ext cx="693567" cy="631857"/>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solidFill>
                <a:schemeClr val="bg1">
                  <a:lumMod val="50000"/>
                </a:schemeClr>
              </a:solidFill>
            </a:endParaRPr>
          </a:p>
        </p:txBody>
      </p:sp>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1150" y="3038944"/>
            <a:ext cx="675191" cy="661924"/>
          </a:xfrm>
          <a:prstGeom prst="rect">
            <a:avLst/>
          </a:prstGeom>
        </p:spPr>
      </p:pic>
      <p:pic>
        <p:nvPicPr>
          <p:cNvPr id="34" name="图片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38280" y="1723763"/>
            <a:ext cx="668061" cy="643870"/>
          </a:xfrm>
          <a:prstGeom prst="rect">
            <a:avLst/>
          </a:prstGeom>
        </p:spPr>
      </p:pic>
      <p:pic>
        <p:nvPicPr>
          <p:cNvPr id="35" name="图片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8888" y="2373625"/>
            <a:ext cx="698394" cy="673267"/>
          </a:xfrm>
          <a:prstGeom prst="rect">
            <a:avLst/>
          </a:prstGeom>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0679" y="3048469"/>
            <a:ext cx="671145" cy="661924"/>
          </a:xfrm>
          <a:prstGeom prst="rect">
            <a:avLst/>
          </a:prstGeom>
        </p:spPr>
      </p:pic>
      <p:pic>
        <p:nvPicPr>
          <p:cNvPr id="37" name="图片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87" y="3046722"/>
            <a:ext cx="671231" cy="681144"/>
          </a:xfrm>
          <a:prstGeom prst="rect">
            <a:avLst/>
          </a:prstGeom>
        </p:spPr>
      </p:pic>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785" y="1698268"/>
            <a:ext cx="656033" cy="673932"/>
          </a:xfrm>
          <a:prstGeom prst="rect">
            <a:avLst/>
          </a:prstGeom>
        </p:spPr>
      </p:pic>
      <p:sp>
        <p:nvSpPr>
          <p:cNvPr id="39" name="矩形 38"/>
          <p:cNvSpPr/>
          <p:nvPr/>
        </p:nvSpPr>
        <p:spPr>
          <a:xfrm>
            <a:off x="55807" y="1979023"/>
            <a:ext cx="682396" cy="230832"/>
          </a:xfrm>
          <a:prstGeom prst="rect">
            <a:avLst/>
          </a:prstGeom>
        </p:spPr>
        <p:txBody>
          <a:bodyPr wrap="square">
            <a:spAutoFit/>
          </a:bodyPr>
          <a:lstStyle/>
          <a:p>
            <a:r>
              <a:rPr lang="zh-CN" altLang="en-US" sz="900" dirty="0">
                <a:solidFill>
                  <a:schemeClr val="bg1">
                    <a:lumMod val="50000"/>
                  </a:schemeClr>
                </a:solidFill>
              </a:rPr>
              <a:t>报销凭证</a:t>
            </a:r>
          </a:p>
        </p:txBody>
      </p:sp>
      <p:sp>
        <p:nvSpPr>
          <p:cNvPr id="40" name="矩形 39"/>
          <p:cNvSpPr/>
          <p:nvPr/>
        </p:nvSpPr>
        <p:spPr>
          <a:xfrm>
            <a:off x="223429" y="1762939"/>
            <a:ext cx="350944" cy="230832"/>
          </a:xfrm>
          <a:prstGeom prst="rect">
            <a:avLst/>
          </a:prstGeom>
        </p:spPr>
        <p:txBody>
          <a:bodyPr wrap="square">
            <a:spAutoFit/>
          </a:bodyPr>
          <a:lstStyle/>
          <a:p>
            <a:r>
              <a:rPr lang="en-US" altLang="zh-CN" sz="900" dirty="0" smtClean="0">
                <a:solidFill>
                  <a:schemeClr val="tx2">
                    <a:lumMod val="60000"/>
                    <a:lumOff val="40000"/>
                  </a:schemeClr>
                </a:solidFill>
              </a:rPr>
              <a:t>01</a:t>
            </a:r>
            <a:endParaRPr lang="zh-CN" altLang="en-US" sz="900" dirty="0">
              <a:solidFill>
                <a:schemeClr val="tx2">
                  <a:lumMod val="60000"/>
                  <a:lumOff val="40000"/>
                </a:schemeClr>
              </a:solidFill>
            </a:endParaRPr>
          </a:p>
        </p:txBody>
      </p:sp>
      <p:sp>
        <p:nvSpPr>
          <p:cNvPr id="41" name="矩形 40"/>
          <p:cNvSpPr/>
          <p:nvPr/>
        </p:nvSpPr>
        <p:spPr>
          <a:xfrm>
            <a:off x="1653716" y="1781200"/>
            <a:ext cx="663311" cy="230832"/>
          </a:xfrm>
          <a:prstGeom prst="rect">
            <a:avLst/>
          </a:prstGeom>
        </p:spPr>
        <p:txBody>
          <a:bodyPr wrap="square">
            <a:spAutoFit/>
          </a:bodyPr>
          <a:lstStyle/>
          <a:p>
            <a:r>
              <a:rPr lang="en-US" altLang="zh-CN" sz="900" dirty="0" smtClean="0">
                <a:solidFill>
                  <a:schemeClr val="bg1">
                    <a:lumMod val="50000"/>
                  </a:schemeClr>
                </a:solidFill>
              </a:rPr>
              <a:t>02</a:t>
            </a:r>
            <a:endParaRPr lang="zh-CN" altLang="en-US" sz="900" dirty="0">
              <a:solidFill>
                <a:schemeClr val="bg1">
                  <a:lumMod val="50000"/>
                </a:schemeClr>
              </a:solidFill>
            </a:endParaRPr>
          </a:p>
        </p:txBody>
      </p:sp>
      <p:sp>
        <p:nvSpPr>
          <p:cNvPr id="42" name="矩形 41"/>
          <p:cNvSpPr/>
          <p:nvPr/>
        </p:nvSpPr>
        <p:spPr>
          <a:xfrm>
            <a:off x="55807" y="3319445"/>
            <a:ext cx="682396" cy="230832"/>
          </a:xfrm>
          <a:prstGeom prst="rect">
            <a:avLst/>
          </a:prstGeom>
        </p:spPr>
        <p:txBody>
          <a:bodyPr wrap="square">
            <a:spAutoFit/>
          </a:bodyPr>
          <a:lstStyle/>
          <a:p>
            <a:r>
              <a:rPr lang="zh-CN" altLang="en-US" sz="900" dirty="0" smtClean="0">
                <a:solidFill>
                  <a:schemeClr val="bg1">
                    <a:lumMod val="50000"/>
                  </a:schemeClr>
                </a:solidFill>
              </a:rPr>
              <a:t>审批程序</a:t>
            </a:r>
            <a:endParaRPr lang="zh-CN" altLang="en-US" sz="900" dirty="0">
              <a:solidFill>
                <a:schemeClr val="bg1">
                  <a:lumMod val="50000"/>
                </a:schemeClr>
              </a:solidFill>
            </a:endParaRPr>
          </a:p>
        </p:txBody>
      </p:sp>
      <p:sp>
        <p:nvSpPr>
          <p:cNvPr id="43" name="矩形 42"/>
          <p:cNvSpPr/>
          <p:nvPr/>
        </p:nvSpPr>
        <p:spPr>
          <a:xfrm>
            <a:off x="250855" y="3102759"/>
            <a:ext cx="350944" cy="230832"/>
          </a:xfrm>
          <a:prstGeom prst="rect">
            <a:avLst/>
          </a:prstGeom>
        </p:spPr>
        <p:txBody>
          <a:bodyPr wrap="square">
            <a:spAutoFit/>
          </a:bodyPr>
          <a:lstStyle/>
          <a:p>
            <a:r>
              <a:rPr lang="en-US" altLang="zh-CN" sz="900" dirty="0" smtClean="0">
                <a:solidFill>
                  <a:schemeClr val="bg1">
                    <a:lumMod val="50000"/>
                  </a:schemeClr>
                </a:solidFill>
              </a:rPr>
              <a:t>04</a:t>
            </a:r>
            <a:endParaRPr lang="zh-CN" altLang="en-US" sz="900" dirty="0">
              <a:solidFill>
                <a:schemeClr val="bg1">
                  <a:lumMod val="50000"/>
                </a:schemeClr>
              </a:solidFill>
            </a:endParaRPr>
          </a:p>
        </p:txBody>
      </p:sp>
      <p:sp>
        <p:nvSpPr>
          <p:cNvPr id="44" name="矩形 43"/>
          <p:cNvSpPr/>
          <p:nvPr/>
        </p:nvSpPr>
        <p:spPr>
          <a:xfrm>
            <a:off x="722064" y="2646253"/>
            <a:ext cx="682396" cy="230832"/>
          </a:xfrm>
          <a:prstGeom prst="rect">
            <a:avLst/>
          </a:prstGeom>
        </p:spPr>
        <p:txBody>
          <a:bodyPr wrap="square">
            <a:spAutoFit/>
          </a:bodyPr>
          <a:lstStyle/>
          <a:p>
            <a:r>
              <a:rPr lang="zh-CN" altLang="en-US" sz="900" dirty="0" smtClean="0">
                <a:solidFill>
                  <a:schemeClr val="bg1">
                    <a:lumMod val="50000"/>
                  </a:schemeClr>
                </a:solidFill>
              </a:rPr>
              <a:t>经费支付</a:t>
            </a:r>
            <a:endParaRPr lang="zh-CN" altLang="en-US" sz="900" dirty="0">
              <a:solidFill>
                <a:schemeClr val="bg1">
                  <a:lumMod val="50000"/>
                </a:schemeClr>
              </a:solidFill>
            </a:endParaRPr>
          </a:p>
        </p:txBody>
      </p:sp>
      <p:sp>
        <p:nvSpPr>
          <p:cNvPr id="45" name="矩形 44"/>
          <p:cNvSpPr/>
          <p:nvPr/>
        </p:nvSpPr>
        <p:spPr>
          <a:xfrm>
            <a:off x="921946" y="2423139"/>
            <a:ext cx="404402" cy="230832"/>
          </a:xfrm>
          <a:prstGeom prst="rect">
            <a:avLst/>
          </a:prstGeom>
        </p:spPr>
        <p:txBody>
          <a:bodyPr wrap="square">
            <a:spAutoFit/>
          </a:bodyPr>
          <a:lstStyle/>
          <a:p>
            <a:r>
              <a:rPr lang="en-US" altLang="zh-CN" sz="900" dirty="0" smtClean="0">
                <a:solidFill>
                  <a:schemeClr val="bg1">
                    <a:lumMod val="50000"/>
                  </a:schemeClr>
                </a:solidFill>
              </a:rPr>
              <a:t>03</a:t>
            </a:r>
            <a:endParaRPr lang="zh-CN" altLang="en-US" sz="900" dirty="0">
              <a:solidFill>
                <a:schemeClr val="bg1">
                  <a:lumMod val="50000"/>
                </a:schemeClr>
              </a:solidFill>
            </a:endParaRPr>
          </a:p>
        </p:txBody>
      </p:sp>
      <p:sp>
        <p:nvSpPr>
          <p:cNvPr id="46" name="矩形 45"/>
          <p:cNvSpPr/>
          <p:nvPr/>
        </p:nvSpPr>
        <p:spPr>
          <a:xfrm>
            <a:off x="758954" y="3328059"/>
            <a:ext cx="682396" cy="230832"/>
          </a:xfrm>
          <a:prstGeom prst="rect">
            <a:avLst/>
          </a:prstGeom>
        </p:spPr>
        <p:txBody>
          <a:bodyPr wrap="square">
            <a:spAutoFit/>
          </a:bodyPr>
          <a:lstStyle/>
          <a:p>
            <a:r>
              <a:rPr lang="zh-CN" altLang="en-US" sz="900" dirty="0" smtClean="0">
                <a:solidFill>
                  <a:schemeClr val="bg1">
                    <a:lumMod val="50000"/>
                  </a:schemeClr>
                </a:solidFill>
              </a:rPr>
              <a:t>监督检查</a:t>
            </a:r>
            <a:endParaRPr lang="zh-CN" altLang="en-US" sz="900" dirty="0">
              <a:solidFill>
                <a:schemeClr val="bg1">
                  <a:lumMod val="50000"/>
                </a:schemeClr>
              </a:solidFill>
            </a:endParaRPr>
          </a:p>
        </p:txBody>
      </p:sp>
      <p:sp>
        <p:nvSpPr>
          <p:cNvPr id="47" name="矩形 46"/>
          <p:cNvSpPr/>
          <p:nvPr/>
        </p:nvSpPr>
        <p:spPr>
          <a:xfrm>
            <a:off x="934137" y="3112657"/>
            <a:ext cx="401736" cy="230832"/>
          </a:xfrm>
          <a:prstGeom prst="rect">
            <a:avLst/>
          </a:prstGeom>
        </p:spPr>
        <p:txBody>
          <a:bodyPr wrap="square">
            <a:spAutoFit/>
          </a:bodyPr>
          <a:lstStyle/>
          <a:p>
            <a:r>
              <a:rPr lang="en-US" altLang="zh-CN" sz="900" dirty="0" smtClean="0">
                <a:solidFill>
                  <a:schemeClr val="bg1">
                    <a:lumMod val="50000"/>
                  </a:schemeClr>
                </a:solidFill>
              </a:rPr>
              <a:t>05</a:t>
            </a:r>
            <a:endParaRPr lang="zh-CN" altLang="en-US" sz="900" dirty="0">
              <a:solidFill>
                <a:schemeClr val="bg1">
                  <a:lumMod val="50000"/>
                </a:schemeClr>
              </a:solidFill>
            </a:endParaRPr>
          </a:p>
        </p:txBody>
      </p:sp>
      <p:sp>
        <p:nvSpPr>
          <p:cNvPr id="50" name="矩形 49"/>
          <p:cNvSpPr/>
          <p:nvPr/>
        </p:nvSpPr>
        <p:spPr>
          <a:xfrm>
            <a:off x="1250850" y="3355058"/>
            <a:ext cx="1035150" cy="338554"/>
          </a:xfrm>
          <a:prstGeom prst="rect">
            <a:avLst/>
          </a:prstGeom>
        </p:spPr>
        <p:txBody>
          <a:bodyPr wrap="square">
            <a:spAutoFit/>
          </a:bodyPr>
          <a:lstStyle/>
          <a:p>
            <a:r>
              <a:rPr lang="zh-CN" altLang="en-US" sz="1600" b="1" dirty="0" smtClean="0"/>
              <a:t>特殊事项</a:t>
            </a:r>
            <a:endParaRPr lang="zh-CN" altLang="en-US" sz="1600" b="1" dirty="0"/>
          </a:p>
        </p:txBody>
      </p:sp>
      <p:sp>
        <p:nvSpPr>
          <p:cNvPr id="51" name="矩形 50"/>
          <p:cNvSpPr/>
          <p:nvPr/>
        </p:nvSpPr>
        <p:spPr>
          <a:xfrm>
            <a:off x="1575706" y="3093448"/>
            <a:ext cx="429963" cy="338554"/>
          </a:xfrm>
          <a:prstGeom prst="rect">
            <a:avLst/>
          </a:prstGeom>
        </p:spPr>
        <p:txBody>
          <a:bodyPr wrap="square">
            <a:spAutoFit/>
          </a:bodyPr>
          <a:lstStyle/>
          <a:p>
            <a:r>
              <a:rPr lang="en-US" altLang="zh-CN" sz="1600" b="1" dirty="0" smtClean="0"/>
              <a:t>06</a:t>
            </a:r>
            <a:endParaRPr lang="zh-CN" altLang="en-US" sz="1600" b="1" dirty="0"/>
          </a:p>
        </p:txBody>
      </p:sp>
    </p:spTree>
    <p:extLst>
      <p:ext uri="{BB962C8B-B14F-4D97-AF65-F5344CB8AC3E}">
        <p14:creationId xmlns:p14="http://schemas.microsoft.com/office/powerpoint/2010/main" val="350564659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0" presetClass="path" presetSubtype="0" accel="50000" decel="50000" fill="hold" grpId="0" nodeType="afterEffect">
                                  <p:stCondLst>
                                    <p:cond delay="0"/>
                                  </p:stCondLst>
                                  <p:childTnLst>
                                    <p:animMotion origin="layout" path="M -0.01145 -0.05 C -0.01007 -0.07994 -0.00955 -0.14506 -0.00312 -0.17377 C -0.00191 -0.19167 -0.00156 -0.22161 0.00313 -0.23858 C 0.00434 -0.25401 0.00573 -0.27315 0.01042 -0.28673 C 0.01233 -0.29228 0.01511 -0.29568 0.01667 -0.30154 C 0.01806 -0.30679 0.0191 -0.31358 0.02084 -0.31821 C 0.02448 -0.32778 0.02535 -0.32006 0.02813 -0.33488 C 0.03039 -0.34661 0.03768 -0.35062 0.04063 -0.3608 C 0.04323 -0.37006 0.0415 -0.36667 0.04584 -0.37191 C 0.04861 -0.37932 0.05139 -0.37901 0.05521 -0.38488 C 0.06042 -0.39259 0.06528 -0.39846 0.07188 -0.40154 C 0.07622 -0.40679 0.08125 -0.41049 0.08646 -0.41266 C 0.09792 -0.41204 0.11545 -0.41852 0.125 -0.40154 " pathEditMode="relative" rAng="0" ptsTypes="ffffffffffffA">
                                      <p:cBhvr>
                                        <p:cTn id="11" dur="2000" fill="hold"/>
                                        <p:tgtEl>
                                          <p:spTgt spid="51"/>
                                        </p:tgtEl>
                                        <p:attrNameLst>
                                          <p:attrName>ppt_x</p:attrName>
                                          <p:attrName>ppt_y</p:attrName>
                                        </p:attrNameLst>
                                      </p:cBhvr>
                                      <p:rCtr x="6823" y="-18426"/>
                                    </p:animMotion>
                                  </p:childTnLst>
                                </p:cTn>
                              </p:par>
                              <p:par>
                                <p:cTn id="12" presetID="0" presetClass="path" presetSubtype="0" accel="50000" decel="50000" fill="hold" grpId="0" nodeType="withEffect">
                                  <p:stCondLst>
                                    <p:cond delay="0"/>
                                  </p:stCondLst>
                                  <p:childTnLst>
                                    <p:animMotion origin="layout" path="M -0.01146 -0.05 C -0.01007 -0.07994 -0.00955 -0.14507 -0.00312 -0.17377 C -0.00191 -0.19167 -0.00156 -0.22161 0.00313 -0.23859 C 0.00434 -0.25402 0.00573 -0.27315 0.01042 -0.28673 C 0.01233 -0.29229 0.01511 -0.29568 0.01667 -0.30155 C 0.01806 -0.30679 0.0191 -0.31359 0.02084 -0.31821 C 0.02448 -0.32778 0.02535 -0.32007 0.02813 -0.33488 C 0.03038 -0.34661 0.03768 -0.35062 0.04063 -0.36081 C 0.04323 -0.37007 0.0415 -0.36667 0.04584 -0.37192 C 0.04861 -0.37933 0.05139 -0.37902 0.05521 -0.38488 C 0.06042 -0.3926 0.06528 -0.39846 0.07188 -0.40155 C 0.07622 -0.40679 0.08125 -0.4105 0.08646 -0.41266 C 0.09792 -0.41204 0.11545 -0.41852 0.125 -0.40155 " pathEditMode="relative" rAng="0" ptsTypes="ffffffffffffA">
                                      <p:cBhvr>
                                        <p:cTn id="13" dur="2000" fill="hold"/>
                                        <p:tgtEl>
                                          <p:spTgt spid="50"/>
                                        </p:tgtEl>
                                        <p:attrNameLst>
                                          <p:attrName>ppt_x</p:attrName>
                                          <p:attrName>ppt_y</p:attrName>
                                        </p:attrNameLst>
                                      </p:cBhvr>
                                      <p:rCtr x="6823" y="-18426"/>
                                    </p:animMotion>
                                  </p:childTnLst>
                                </p:cTn>
                              </p:par>
                              <p:par>
                                <p:cTn id="14" presetID="0" presetClass="path" presetSubtype="0" accel="50000" decel="50000" fill="hold" nodeType="withEffect">
                                  <p:stCondLst>
                                    <p:cond delay="0"/>
                                  </p:stCondLst>
                                  <p:childTnLst>
                                    <p:animMotion origin="layout" path="M -0.01146 -0.05 C -0.01007 -0.07994 -0.00955 -0.14506 -0.00313 -0.17376 C -0.00191 -0.19167 -0.00156 -0.2216 0.00312 -0.23858 C 0.00434 -0.25401 0.00573 -0.27315 0.01042 -0.28673 C 0.01232 -0.29228 0.0151 -0.29568 0.01667 -0.30154 C 0.01805 -0.30679 0.0191 -0.31358 0.02083 -0.31821 C 0.02448 -0.32778 0.02535 -0.32006 0.02812 -0.33488 C 0.03038 -0.3466 0.03767 -0.35062 0.04062 -0.3608 C 0.04323 -0.37006 0.04149 -0.36667 0.04583 -0.37191 C 0.04861 -0.37932 0.05139 -0.37901 0.05521 -0.38488 C 0.06042 -0.39259 0.06528 -0.39846 0.07187 -0.40154 C 0.07621 -0.40679 0.08125 -0.41049 0.08646 -0.41265 C 0.09792 -0.41204 0.11545 -0.41852 0.125 -0.40154 " pathEditMode="relative" rAng="0" ptsTypes="ffffffffffffA">
                                      <p:cBhvr>
                                        <p:cTn id="15" dur="2000" fill="hold"/>
                                        <p:tgtEl>
                                          <p:spTgt spid="33"/>
                                        </p:tgtEl>
                                        <p:attrNameLst>
                                          <p:attrName>ppt_x</p:attrName>
                                          <p:attrName>ppt_y</p:attrName>
                                        </p:attrNameLst>
                                      </p:cBhvr>
                                      <p:rCtr x="6823" y="-18426"/>
                                    </p:animMotion>
                                  </p:childTnLst>
                                </p:cTn>
                              </p:par>
                            </p:childTnLst>
                          </p:cTn>
                        </p:par>
                        <p:par>
                          <p:cTn id="16" fill="hold">
                            <p:stCondLst>
                              <p:cond delay="2500"/>
                            </p:stCondLst>
                            <p:childTnLst>
                              <p:par>
                                <p:cTn id="17" presetID="6" presetClass="emph" presetSubtype="0" fill="hold" grpId="1" nodeType="afterEffect">
                                  <p:stCondLst>
                                    <p:cond delay="0"/>
                                  </p:stCondLst>
                                  <p:childTnLst>
                                    <p:animScale>
                                      <p:cBhvr>
                                        <p:cTn id="18" dur="2000" fill="hold"/>
                                        <p:tgtEl>
                                          <p:spTgt spid="51"/>
                                        </p:tgtEl>
                                      </p:cBhvr>
                                      <p:by x="150000" y="150000"/>
                                    </p:animScale>
                                  </p:childTnLst>
                                </p:cTn>
                              </p:par>
                              <p:par>
                                <p:cTn id="19" presetID="6" presetClass="emph" presetSubtype="0" fill="hold" grpId="1" nodeType="withEffect">
                                  <p:stCondLst>
                                    <p:cond delay="0"/>
                                  </p:stCondLst>
                                  <p:childTnLst>
                                    <p:animScale>
                                      <p:cBhvr>
                                        <p:cTn id="20" dur="2000" fill="hold"/>
                                        <p:tgtEl>
                                          <p:spTgt spid="50"/>
                                        </p:tgtEl>
                                      </p:cBhvr>
                                      <p:by x="150000" y="150000"/>
                                    </p:animScale>
                                  </p:childTnLst>
                                </p:cTn>
                              </p:par>
                            </p:childTnLst>
                          </p:cTn>
                        </p:par>
                        <p:par>
                          <p:cTn id="21" fill="hold">
                            <p:stCondLst>
                              <p:cond delay="4500"/>
                            </p:stCondLst>
                            <p:childTnLst>
                              <p:par>
                                <p:cTn id="22" presetID="12" presetClass="entr" presetSubtype="4"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500"/>
                                        <p:tgtEl>
                                          <p:spTgt spid="20"/>
                                        </p:tgtEl>
                                        <p:attrNameLst>
                                          <p:attrName>ppt_y</p:attrName>
                                        </p:attrNameLst>
                                      </p:cBhvr>
                                      <p:tavLst>
                                        <p:tav tm="0">
                                          <p:val>
                                            <p:strVal val="#ppt_y+#ppt_h*1.125000"/>
                                          </p:val>
                                        </p:tav>
                                        <p:tav tm="100000">
                                          <p:val>
                                            <p:strVal val="#ppt_y"/>
                                          </p:val>
                                        </p:tav>
                                      </p:tavLst>
                                    </p:anim>
                                    <p:animEffect transition="in" filter="wipe(up)">
                                      <p:cBhvr>
                                        <p:cTn id="2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p:bldP spid="50" grpId="0"/>
      <p:bldP spid="50" grpId="1"/>
      <p:bldP spid="51" grpId="0"/>
      <p:bldP spid="51" grpId="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框 3"/>
          <p:cNvSpPr txBox="1"/>
          <p:nvPr/>
        </p:nvSpPr>
        <p:spPr>
          <a:xfrm>
            <a:off x="1331797" y="193759"/>
            <a:ext cx="3427977"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特殊业务审批</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0" name="Rectangle 306"/>
          <p:cNvSpPr>
            <a:spLocks noChangeArrowheads="1"/>
          </p:cNvSpPr>
          <p:nvPr/>
        </p:nvSpPr>
        <p:spPr bwMode="auto">
          <a:xfrm>
            <a:off x="0" y="4572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zh-CN" altLang="zh-CN"/>
          </a:p>
        </p:txBody>
      </p:sp>
      <p:pic>
        <p:nvPicPr>
          <p:cNvPr id="300" name="图片 29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3922" y="856615"/>
            <a:ext cx="6951705" cy="4286885"/>
          </a:xfrm>
          <a:prstGeom prst="rect">
            <a:avLst/>
          </a:prstGeom>
        </p:spPr>
      </p:pic>
      <p:grpSp>
        <p:nvGrpSpPr>
          <p:cNvPr id="301" name="组合 300"/>
          <p:cNvGrpSpPr/>
          <p:nvPr/>
        </p:nvGrpSpPr>
        <p:grpSpPr>
          <a:xfrm>
            <a:off x="2331672" y="816555"/>
            <a:ext cx="6183687" cy="540060"/>
            <a:chOff x="1558702" y="1628800"/>
            <a:chExt cx="8244916" cy="720080"/>
          </a:xfrm>
          <a:solidFill>
            <a:srgbClr val="00A1DA"/>
          </a:solidFill>
        </p:grpSpPr>
        <p:cxnSp>
          <p:nvCxnSpPr>
            <p:cNvPr id="302" name="直接连接符 6"/>
            <p:cNvCxnSpPr/>
            <p:nvPr/>
          </p:nvCxnSpPr>
          <p:spPr>
            <a:xfrm>
              <a:off x="1558702" y="1628800"/>
              <a:ext cx="8172908" cy="648072"/>
            </a:xfrm>
            <a:prstGeom prst="bentConnector3">
              <a:avLst>
                <a:gd name="adj1" fmla="val 99935"/>
              </a:avLst>
            </a:prstGeom>
            <a:grpFill/>
            <a:ln>
              <a:solidFill>
                <a:srgbClr val="00A1DA"/>
              </a:solidFill>
              <a:prstDash val="sysDash"/>
            </a:ln>
          </p:spPr>
          <p:style>
            <a:lnRef idx="1">
              <a:schemeClr val="accent1"/>
            </a:lnRef>
            <a:fillRef idx="0">
              <a:schemeClr val="accent1"/>
            </a:fillRef>
            <a:effectRef idx="0">
              <a:schemeClr val="accent1"/>
            </a:effectRef>
            <a:fontRef idx="minor">
              <a:schemeClr val="tx1"/>
            </a:fontRef>
          </p:style>
        </p:cxnSp>
        <p:sp>
          <p:nvSpPr>
            <p:cNvPr id="303" name="椭圆 302"/>
            <p:cNvSpPr/>
            <p:nvPr/>
          </p:nvSpPr>
          <p:spPr>
            <a:xfrm>
              <a:off x="9659602" y="2204864"/>
              <a:ext cx="144016" cy="144016"/>
            </a:xfrm>
            <a:prstGeom prst="ellipse">
              <a:avLst/>
            </a:prstGeom>
            <a:grpFill/>
            <a:ln>
              <a:solidFill>
                <a:srgbClr val="00A1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304" name="组合 303"/>
          <p:cNvGrpSpPr/>
          <p:nvPr/>
        </p:nvGrpSpPr>
        <p:grpSpPr>
          <a:xfrm flipV="1">
            <a:off x="2277666" y="4565340"/>
            <a:ext cx="6183687" cy="540060"/>
            <a:chOff x="1558702" y="5301208"/>
            <a:chExt cx="8244915" cy="720080"/>
          </a:xfrm>
          <a:solidFill>
            <a:srgbClr val="00C88A"/>
          </a:solidFill>
        </p:grpSpPr>
        <p:cxnSp>
          <p:nvCxnSpPr>
            <p:cNvPr id="305" name="直接连接符 6"/>
            <p:cNvCxnSpPr/>
            <p:nvPr/>
          </p:nvCxnSpPr>
          <p:spPr>
            <a:xfrm>
              <a:off x="1558702" y="5301208"/>
              <a:ext cx="8172908" cy="648072"/>
            </a:xfrm>
            <a:prstGeom prst="bentConnector3">
              <a:avLst>
                <a:gd name="adj1" fmla="val 99935"/>
              </a:avLst>
            </a:prstGeom>
            <a:grpFill/>
            <a:ln>
              <a:solidFill>
                <a:srgbClr val="00C88A"/>
              </a:solidFill>
              <a:prstDash val="sysDash"/>
            </a:ln>
          </p:spPr>
          <p:style>
            <a:lnRef idx="1">
              <a:schemeClr val="accent1"/>
            </a:lnRef>
            <a:fillRef idx="0">
              <a:schemeClr val="accent1"/>
            </a:fillRef>
            <a:effectRef idx="0">
              <a:schemeClr val="accent1"/>
            </a:effectRef>
            <a:fontRef idx="minor">
              <a:schemeClr val="tx1"/>
            </a:fontRef>
          </p:style>
        </p:cxnSp>
        <p:sp>
          <p:nvSpPr>
            <p:cNvPr id="306" name="椭圆 305"/>
            <p:cNvSpPr/>
            <p:nvPr/>
          </p:nvSpPr>
          <p:spPr>
            <a:xfrm>
              <a:off x="9659601" y="5877272"/>
              <a:ext cx="144016" cy="144016"/>
            </a:xfrm>
            <a:prstGeom prst="ellipse">
              <a:avLst/>
            </a:prstGeom>
            <a:grpFill/>
            <a:ln>
              <a:solidFill>
                <a:srgbClr val="00C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pic>
        <p:nvPicPr>
          <p:cNvPr id="14" name="图片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15" name="TextBox 14"/>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17636888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500"/>
                                  </p:stCondLst>
                                  <p:childTnLst>
                                    <p:set>
                                      <p:cBhvr>
                                        <p:cTn id="6" dur="1" fill="hold">
                                          <p:stCondLst>
                                            <p:cond delay="0"/>
                                          </p:stCondLst>
                                        </p:cTn>
                                        <p:tgtEl>
                                          <p:spTgt spid="301"/>
                                        </p:tgtEl>
                                        <p:attrNameLst>
                                          <p:attrName>style.visibility</p:attrName>
                                        </p:attrNameLst>
                                      </p:cBhvr>
                                      <p:to>
                                        <p:strVal val="visible"/>
                                      </p:to>
                                    </p:set>
                                    <p:animEffect transition="in" filter="wipe(right)">
                                      <p:cBhvr>
                                        <p:cTn id="7" dur="500"/>
                                        <p:tgtEl>
                                          <p:spTgt spid="301"/>
                                        </p:tgtEl>
                                      </p:cBhvr>
                                    </p:animEffect>
                                  </p:childTnLst>
                                </p:cTn>
                              </p:par>
                              <p:par>
                                <p:cTn id="8" presetID="22" presetClass="entr" presetSubtype="2" fill="hold" nodeType="withEffect">
                                  <p:stCondLst>
                                    <p:cond delay="500"/>
                                  </p:stCondLst>
                                  <p:childTnLst>
                                    <p:set>
                                      <p:cBhvr>
                                        <p:cTn id="9" dur="1" fill="hold">
                                          <p:stCondLst>
                                            <p:cond delay="0"/>
                                          </p:stCondLst>
                                        </p:cTn>
                                        <p:tgtEl>
                                          <p:spTgt spid="304"/>
                                        </p:tgtEl>
                                        <p:attrNameLst>
                                          <p:attrName>style.visibility</p:attrName>
                                        </p:attrNameLst>
                                      </p:cBhvr>
                                      <p:to>
                                        <p:strVal val="visible"/>
                                      </p:to>
                                    </p:set>
                                    <p:animEffect transition="in" filter="wipe(right)">
                                      <p:cBhvr>
                                        <p:cTn id="10" dur="500"/>
                                        <p:tgtEl>
                                          <p:spTgt spid="3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框 3"/>
          <p:cNvSpPr txBox="1"/>
          <p:nvPr/>
        </p:nvSpPr>
        <p:spPr>
          <a:xfrm>
            <a:off x="1664922" y="321247"/>
            <a:ext cx="4964478" cy="507831"/>
          </a:xfrm>
          <a:prstGeom prst="rect">
            <a:avLst/>
          </a:prstGeom>
          <a:noFill/>
          <a:effectLst/>
        </p:spPr>
        <p:txBody>
          <a:bodyPr wrap="square" rtlCol="0">
            <a:spAutoFit/>
          </a:bodyPr>
          <a:lstStyle/>
          <a:p>
            <a:pPr algn="ctr"/>
            <a:r>
              <a:rPr lang="zh-CN" altLang="en-US" sz="27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乘坐交通工具等级表</a:t>
            </a:r>
            <a:endParaRPr lang="zh-CN" altLang="en-US" sz="27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
        <p:nvSpPr>
          <p:cNvPr id="160" name="Rectangle 306"/>
          <p:cNvSpPr>
            <a:spLocks noChangeArrowheads="1"/>
          </p:cNvSpPr>
          <p:nvPr/>
        </p:nvSpPr>
        <p:spPr bwMode="auto">
          <a:xfrm>
            <a:off x="0" y="4572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zh-CN" altLang="zh-CN"/>
          </a:p>
        </p:txBody>
      </p:sp>
      <p:sp>
        <p:nvSpPr>
          <p:cNvPr id="11" name="矩形 10"/>
          <p:cNvSpPr>
            <a:spLocks noChangeArrowheads="1"/>
          </p:cNvSpPr>
          <p:nvPr/>
        </p:nvSpPr>
        <p:spPr bwMode="auto">
          <a:xfrm>
            <a:off x="251520" y="811479"/>
            <a:ext cx="8197155" cy="400110"/>
          </a:xfrm>
          <a:prstGeom prst="rect">
            <a:avLst/>
          </a:prstGeom>
          <a:noFill/>
          <a:ln w="9525">
            <a:noFill/>
            <a:miter lim="800000"/>
            <a:headEnd/>
            <a:tailEnd/>
          </a:ln>
        </p:spPr>
        <p:txBody>
          <a:bodyPr wrap="square">
            <a:spAutoFit/>
          </a:bodyPr>
          <a:lstStyle/>
          <a:p>
            <a:pPr algn="ctr">
              <a:defRPr/>
            </a:pPr>
            <a:r>
              <a:rPr lang="zh-CN" altLang="zh-CN" sz="2000" b="1" dirty="0" smtClean="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乘坐</a:t>
            </a:r>
            <a:r>
              <a:rPr lang="zh-CN" altLang="zh-CN" sz="2000" b="1" dirty="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交通工具的等级见下表</a:t>
            </a:r>
            <a:r>
              <a:rPr lang="zh-CN" altLang="en-US" sz="2000" b="1" dirty="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见下表：</a:t>
            </a:r>
            <a:endParaRPr lang="zh-CN" altLang="zh-CN" sz="2000" b="1" dirty="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endParaRPr>
          </a:p>
        </p:txBody>
      </p:sp>
      <p:graphicFrame>
        <p:nvGraphicFramePr>
          <p:cNvPr id="12" name="表格 11"/>
          <p:cNvGraphicFramePr>
            <a:graphicFrameLocks noGrp="1"/>
          </p:cNvGraphicFramePr>
          <p:nvPr>
            <p:extLst>
              <p:ext uri="{D42A27DB-BD31-4B8C-83A1-F6EECF244321}">
                <p14:modId xmlns:p14="http://schemas.microsoft.com/office/powerpoint/2010/main" val="526228902"/>
              </p:ext>
            </p:extLst>
          </p:nvPr>
        </p:nvGraphicFramePr>
        <p:xfrm>
          <a:off x="698624" y="1211589"/>
          <a:ext cx="7302946" cy="3691020"/>
        </p:xfrm>
        <a:graphic>
          <a:graphicData uri="http://schemas.openxmlformats.org/drawingml/2006/table">
            <a:tbl>
              <a:tblPr>
                <a:tableStyleId>{5C22544A-7EE6-4342-B048-85BDC9FD1C3A}</a:tableStyleId>
              </a:tblPr>
              <a:tblGrid>
                <a:gridCol w="1956951"/>
                <a:gridCol w="1920183"/>
                <a:gridCol w="1077288"/>
                <a:gridCol w="787743"/>
                <a:gridCol w="1560781"/>
              </a:tblGrid>
              <a:tr h="657666">
                <a:tc>
                  <a:txBody>
                    <a:bodyPr/>
                    <a:lstStyle/>
                    <a:p>
                      <a:pPr algn="ctr">
                        <a:spcAft>
                          <a:spcPts val="0"/>
                        </a:spcAft>
                      </a:pPr>
                      <a:r>
                        <a:rPr lang="zh-CN" sz="1600" b="1" kern="0" dirty="0">
                          <a:effectLst/>
                        </a:rPr>
                        <a:t>交通工具</a:t>
                      </a:r>
                      <a:endParaRPr lang="zh-CN" sz="1600" b="1" kern="100" dirty="0">
                        <a:effectLst/>
                      </a:endParaRPr>
                    </a:p>
                    <a:p>
                      <a:pPr algn="ctr">
                        <a:spcAft>
                          <a:spcPts val="0"/>
                        </a:spcAft>
                      </a:pPr>
                      <a:r>
                        <a:rPr lang="zh-CN" sz="1600" b="1" kern="0" dirty="0">
                          <a:effectLst/>
                        </a:rPr>
                        <a:t>级　别</a:t>
                      </a:r>
                      <a:endParaRPr lang="zh-CN" sz="1600" b="1" kern="100" dirty="0">
                        <a:effectLst/>
                        <a:latin typeface="Times New Roman"/>
                        <a:ea typeface="宋体"/>
                      </a:endParaRPr>
                    </a:p>
                  </a:txBody>
                  <a:tcPr marL="0" marR="0" marT="0" marB="0" anchor="ctr"/>
                </a:tc>
                <a:tc>
                  <a:txBody>
                    <a:bodyPr/>
                    <a:lstStyle/>
                    <a:p>
                      <a:pPr algn="ctr">
                        <a:spcAft>
                          <a:spcPts val="0"/>
                        </a:spcAft>
                      </a:pPr>
                      <a:r>
                        <a:rPr lang="zh-CN" sz="1600" b="1" kern="0" dirty="0">
                          <a:effectLst/>
                        </a:rPr>
                        <a:t>火车（含高铁、动车、全列软席列车）</a:t>
                      </a:r>
                      <a:endParaRPr lang="zh-CN" sz="1600" b="1" kern="100" dirty="0">
                        <a:effectLst/>
                        <a:latin typeface="Times New Roman"/>
                        <a:ea typeface="宋体"/>
                      </a:endParaRPr>
                    </a:p>
                  </a:txBody>
                  <a:tcPr marL="0" marR="0" marT="0" marB="0" anchor="ctr"/>
                </a:tc>
                <a:tc>
                  <a:txBody>
                    <a:bodyPr/>
                    <a:lstStyle/>
                    <a:p>
                      <a:pPr algn="ctr">
                        <a:spcAft>
                          <a:spcPts val="0"/>
                        </a:spcAft>
                      </a:pPr>
                      <a:r>
                        <a:rPr lang="zh-CN" sz="1600" b="1" kern="0" dirty="0">
                          <a:effectLst/>
                        </a:rPr>
                        <a:t>轮船（不包括旅游船）</a:t>
                      </a:r>
                      <a:endParaRPr lang="zh-CN" sz="1600" b="1" kern="100" dirty="0">
                        <a:effectLst/>
                        <a:latin typeface="Times New Roman"/>
                        <a:ea typeface="宋体"/>
                      </a:endParaRPr>
                    </a:p>
                  </a:txBody>
                  <a:tcPr marL="0" marR="0" marT="0" marB="0" anchor="ctr"/>
                </a:tc>
                <a:tc>
                  <a:txBody>
                    <a:bodyPr/>
                    <a:lstStyle/>
                    <a:p>
                      <a:pPr algn="ctr">
                        <a:spcAft>
                          <a:spcPts val="0"/>
                        </a:spcAft>
                      </a:pPr>
                      <a:r>
                        <a:rPr lang="zh-CN" sz="1600" b="1" kern="0" dirty="0">
                          <a:effectLst/>
                        </a:rPr>
                        <a:t>飞机</a:t>
                      </a:r>
                      <a:endParaRPr lang="zh-CN" sz="1600" b="1" kern="100" dirty="0">
                        <a:effectLst/>
                        <a:latin typeface="Times New Roman"/>
                        <a:ea typeface="宋体"/>
                      </a:endParaRPr>
                    </a:p>
                  </a:txBody>
                  <a:tcPr marL="0" marR="0" marT="0" marB="0" anchor="ctr"/>
                </a:tc>
                <a:tc>
                  <a:txBody>
                    <a:bodyPr/>
                    <a:lstStyle/>
                    <a:p>
                      <a:pPr algn="ctr">
                        <a:spcAft>
                          <a:spcPts val="0"/>
                        </a:spcAft>
                      </a:pPr>
                      <a:r>
                        <a:rPr lang="zh-CN" sz="1600" b="1" kern="0" dirty="0">
                          <a:effectLst/>
                        </a:rPr>
                        <a:t>其他交通工具（不包括出租小汽车）</a:t>
                      </a:r>
                      <a:endParaRPr lang="zh-CN" sz="1600" b="1" kern="100" dirty="0">
                        <a:effectLst/>
                        <a:latin typeface="Times New Roman"/>
                        <a:ea typeface="宋体"/>
                      </a:endParaRPr>
                    </a:p>
                  </a:txBody>
                  <a:tcPr marL="0" marR="0" marT="0" marB="0" anchor="ctr"/>
                </a:tc>
              </a:tr>
              <a:tr h="986500">
                <a:tc>
                  <a:txBody>
                    <a:bodyPr/>
                    <a:lstStyle/>
                    <a:p>
                      <a:pPr algn="ctr">
                        <a:spcAft>
                          <a:spcPts val="0"/>
                        </a:spcAft>
                      </a:pPr>
                      <a:r>
                        <a:rPr lang="zh-CN" sz="1400" kern="0" dirty="0" smtClean="0">
                          <a:effectLst/>
                        </a:rPr>
                        <a:t>部级</a:t>
                      </a:r>
                      <a:endParaRPr lang="en-US" altLang="zh-CN" sz="1400" kern="0" dirty="0" smtClean="0">
                        <a:effectLst/>
                      </a:endParaRPr>
                    </a:p>
                    <a:p>
                      <a:pPr algn="ctr">
                        <a:spcAft>
                          <a:spcPts val="0"/>
                        </a:spcAft>
                      </a:pPr>
                      <a:r>
                        <a:rPr lang="zh-CN" sz="1400" kern="0" dirty="0" smtClean="0">
                          <a:effectLst/>
                        </a:rPr>
                        <a:t>一级</a:t>
                      </a:r>
                      <a:r>
                        <a:rPr lang="zh-CN" sz="1400" kern="0" dirty="0">
                          <a:effectLst/>
                        </a:rPr>
                        <a:t>研究员（正高级工程师</a:t>
                      </a:r>
                      <a:r>
                        <a:rPr lang="zh-CN" sz="1400" kern="0" dirty="0" smtClean="0">
                          <a:effectLst/>
                        </a:rPr>
                        <a:t>）</a:t>
                      </a:r>
                      <a:endParaRPr lang="en-US" altLang="zh-CN" sz="1400" kern="0" dirty="0" smtClean="0">
                        <a:effectLst/>
                      </a:endParaRPr>
                    </a:p>
                    <a:p>
                      <a:pPr algn="ctr">
                        <a:spcAft>
                          <a:spcPts val="0"/>
                        </a:spcAft>
                      </a:pPr>
                      <a:r>
                        <a:rPr lang="zh-CN" sz="1400" kern="0" dirty="0" smtClean="0">
                          <a:effectLst/>
                        </a:rPr>
                        <a:t>一至二</a:t>
                      </a:r>
                      <a:r>
                        <a:rPr lang="zh-CN" sz="1400" kern="0" dirty="0">
                          <a:effectLst/>
                        </a:rPr>
                        <a:t>级职员人员</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dirty="0">
                          <a:effectLst/>
                        </a:rPr>
                        <a:t>火车软席（软座、软卧），高铁</a:t>
                      </a:r>
                      <a:r>
                        <a:rPr lang="en-US" sz="1400" kern="0" dirty="0">
                          <a:effectLst/>
                        </a:rPr>
                        <a:t>/</a:t>
                      </a:r>
                      <a:r>
                        <a:rPr lang="zh-CN" sz="1400" kern="0" dirty="0">
                          <a:effectLst/>
                        </a:rPr>
                        <a:t>动车商务座，全列软席列车一等软座</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dirty="0">
                          <a:effectLst/>
                        </a:rPr>
                        <a:t>一等舱</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dirty="0">
                          <a:effectLst/>
                        </a:rPr>
                        <a:t>头等舱</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dirty="0">
                          <a:effectLst/>
                        </a:rPr>
                        <a:t>凭据报销</a:t>
                      </a:r>
                      <a:endParaRPr lang="zh-CN" sz="1400" kern="100" dirty="0">
                        <a:effectLst/>
                        <a:latin typeface="Times New Roman"/>
                        <a:ea typeface="宋体"/>
                      </a:endParaRPr>
                    </a:p>
                  </a:txBody>
                  <a:tcPr marL="0" marR="0" marT="0" marB="0" anchor="ctr"/>
                </a:tc>
              </a:tr>
              <a:tr h="986500">
                <a:tc>
                  <a:txBody>
                    <a:bodyPr/>
                    <a:lstStyle/>
                    <a:p>
                      <a:pPr algn="ctr">
                        <a:spcAft>
                          <a:spcPts val="0"/>
                        </a:spcAft>
                      </a:pPr>
                      <a:r>
                        <a:rPr lang="zh-CN" sz="1400" kern="0" dirty="0">
                          <a:effectLst/>
                        </a:rPr>
                        <a:t>司</a:t>
                      </a:r>
                      <a:r>
                        <a:rPr lang="zh-CN" sz="1400" kern="0" dirty="0" smtClean="0">
                          <a:effectLst/>
                        </a:rPr>
                        <a:t>局级</a:t>
                      </a:r>
                      <a:endParaRPr lang="en-US" altLang="zh-CN" sz="1400" kern="0" dirty="0" smtClean="0">
                        <a:effectLst/>
                      </a:endParaRPr>
                    </a:p>
                    <a:p>
                      <a:pPr algn="ctr">
                        <a:spcAft>
                          <a:spcPts val="0"/>
                        </a:spcAft>
                      </a:pPr>
                      <a:r>
                        <a:rPr lang="zh-CN" sz="1400" kern="0" dirty="0" smtClean="0">
                          <a:effectLst/>
                        </a:rPr>
                        <a:t>二至四</a:t>
                      </a:r>
                      <a:r>
                        <a:rPr lang="zh-CN" sz="1400" kern="0" dirty="0">
                          <a:effectLst/>
                        </a:rPr>
                        <a:t>级研究员（正高级工程师</a:t>
                      </a:r>
                      <a:r>
                        <a:rPr lang="zh-CN" sz="1400" kern="0" dirty="0" smtClean="0">
                          <a:effectLst/>
                        </a:rPr>
                        <a:t>）</a:t>
                      </a:r>
                      <a:endParaRPr lang="en-US" altLang="zh-CN" sz="1400" kern="0" dirty="0" smtClean="0">
                        <a:effectLst/>
                      </a:endParaRPr>
                    </a:p>
                    <a:p>
                      <a:pPr algn="ctr">
                        <a:spcAft>
                          <a:spcPts val="0"/>
                        </a:spcAft>
                      </a:pPr>
                      <a:r>
                        <a:rPr lang="zh-CN" sz="1400" kern="0" dirty="0" smtClean="0">
                          <a:effectLst/>
                        </a:rPr>
                        <a:t>三至四</a:t>
                      </a:r>
                      <a:r>
                        <a:rPr lang="zh-CN" sz="1400" kern="0" dirty="0">
                          <a:effectLst/>
                        </a:rPr>
                        <a:t>级职员人员</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dirty="0">
                          <a:effectLst/>
                        </a:rPr>
                        <a:t>火车软席（软座、软卧），高铁</a:t>
                      </a:r>
                      <a:r>
                        <a:rPr lang="en-US" sz="1400" kern="0" dirty="0">
                          <a:effectLst/>
                        </a:rPr>
                        <a:t>/</a:t>
                      </a:r>
                      <a:r>
                        <a:rPr lang="zh-CN" sz="1400" kern="0" dirty="0">
                          <a:effectLst/>
                        </a:rPr>
                        <a:t>动车一等座，全列软席列车一等软座</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dirty="0">
                          <a:effectLst/>
                        </a:rPr>
                        <a:t>二等舱</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dirty="0">
                          <a:effectLst/>
                        </a:rPr>
                        <a:t>经济舱</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dirty="0">
                          <a:effectLst/>
                        </a:rPr>
                        <a:t>凭据报销</a:t>
                      </a:r>
                      <a:endParaRPr lang="zh-CN" sz="1400" kern="100" dirty="0">
                        <a:effectLst/>
                        <a:latin typeface="Times New Roman"/>
                        <a:ea typeface="宋体"/>
                      </a:endParaRPr>
                    </a:p>
                  </a:txBody>
                  <a:tcPr marL="0" marR="0" marT="0" marB="0" anchor="ctr"/>
                </a:tc>
              </a:tr>
              <a:tr h="986500">
                <a:tc>
                  <a:txBody>
                    <a:bodyPr/>
                    <a:lstStyle/>
                    <a:p>
                      <a:pPr algn="ctr">
                        <a:spcAft>
                          <a:spcPts val="0"/>
                        </a:spcAft>
                      </a:pPr>
                      <a:r>
                        <a:rPr lang="zh-CN" sz="1400" kern="0">
                          <a:effectLst/>
                        </a:rPr>
                        <a:t>其余人员</a:t>
                      </a:r>
                      <a:endParaRPr lang="zh-CN" sz="1400" kern="100">
                        <a:effectLst/>
                        <a:latin typeface="Times New Roman"/>
                        <a:ea typeface="宋体"/>
                      </a:endParaRPr>
                    </a:p>
                  </a:txBody>
                  <a:tcPr marL="0" marR="0" marT="0" marB="0" anchor="ctr"/>
                </a:tc>
                <a:tc>
                  <a:txBody>
                    <a:bodyPr/>
                    <a:lstStyle/>
                    <a:p>
                      <a:pPr algn="ctr">
                        <a:spcAft>
                          <a:spcPts val="0"/>
                        </a:spcAft>
                      </a:pPr>
                      <a:r>
                        <a:rPr lang="zh-CN" sz="1400" kern="0" dirty="0">
                          <a:effectLst/>
                        </a:rPr>
                        <a:t>火车硬席（硬座、硬卧），高铁</a:t>
                      </a:r>
                      <a:r>
                        <a:rPr lang="en-US" sz="1400" kern="0" dirty="0">
                          <a:effectLst/>
                        </a:rPr>
                        <a:t>/</a:t>
                      </a:r>
                      <a:r>
                        <a:rPr lang="zh-CN" sz="1400" kern="0" dirty="0">
                          <a:effectLst/>
                        </a:rPr>
                        <a:t>动车二等座、全列软席列车二等软座</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a:effectLst/>
                        </a:rPr>
                        <a:t>三等舱</a:t>
                      </a:r>
                      <a:endParaRPr lang="zh-CN" sz="1400" kern="100">
                        <a:effectLst/>
                        <a:latin typeface="Times New Roman"/>
                        <a:ea typeface="宋体"/>
                      </a:endParaRPr>
                    </a:p>
                  </a:txBody>
                  <a:tcPr marL="0" marR="0" marT="0" marB="0" anchor="ctr"/>
                </a:tc>
                <a:tc>
                  <a:txBody>
                    <a:bodyPr/>
                    <a:lstStyle/>
                    <a:p>
                      <a:pPr algn="ctr">
                        <a:spcAft>
                          <a:spcPts val="0"/>
                        </a:spcAft>
                      </a:pPr>
                      <a:r>
                        <a:rPr lang="zh-CN" sz="1400" kern="0" dirty="0">
                          <a:effectLst/>
                        </a:rPr>
                        <a:t>经济舱</a:t>
                      </a:r>
                      <a:endParaRPr lang="zh-CN" sz="1400" kern="100" dirty="0">
                        <a:effectLst/>
                        <a:latin typeface="Times New Roman"/>
                        <a:ea typeface="宋体"/>
                      </a:endParaRPr>
                    </a:p>
                  </a:txBody>
                  <a:tcPr marL="0" marR="0" marT="0" marB="0" anchor="ctr"/>
                </a:tc>
                <a:tc>
                  <a:txBody>
                    <a:bodyPr/>
                    <a:lstStyle/>
                    <a:p>
                      <a:pPr algn="ctr">
                        <a:spcAft>
                          <a:spcPts val="0"/>
                        </a:spcAft>
                      </a:pPr>
                      <a:r>
                        <a:rPr lang="zh-CN" sz="1400" kern="0" dirty="0">
                          <a:effectLst/>
                        </a:rPr>
                        <a:t>凭据报销</a:t>
                      </a:r>
                      <a:endParaRPr lang="zh-CN" sz="1400" kern="100" dirty="0">
                        <a:effectLst/>
                        <a:latin typeface="Times New Roman"/>
                        <a:ea typeface="宋体"/>
                      </a:endParaRPr>
                    </a:p>
                  </a:txBody>
                  <a:tcPr marL="0" marR="0" marT="0" marB="0" anchor="ctr"/>
                </a:tc>
              </a:tr>
            </a:tbl>
          </a:graphicData>
        </a:graphic>
      </p:graphicFrame>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7" name="TextBox 6"/>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84707807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randombar(horizont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18358" y="-19067"/>
            <a:ext cx="4215034" cy="369332"/>
          </a:xfrm>
          <a:prstGeom prst="rect">
            <a:avLst/>
          </a:prstGeom>
          <a:solidFill>
            <a:schemeClr val="bg1">
              <a:lumMod val="95000"/>
            </a:schemeClr>
          </a:solidFill>
        </p:spPr>
        <p:txBody>
          <a:bodyPr wrap="square">
            <a:spAutoFit/>
          </a:bodyPr>
          <a:lstStyle/>
          <a:p>
            <a:pPr algn="ctr" fontAlgn="auto">
              <a:spcBef>
                <a:spcPts val="0"/>
              </a:spcBef>
              <a:spcAft>
                <a:spcPts val="0"/>
              </a:spcAft>
              <a:defRPr/>
            </a:pPr>
            <a:r>
              <a:rPr lang="zh-CN" altLang="zh-CN" b="1" dirty="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上海有机所科研业务性会议预算</a:t>
            </a:r>
            <a:r>
              <a:rPr lang="zh-CN" altLang="zh-CN" b="1" dirty="0" smtClean="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审批</a:t>
            </a:r>
            <a:r>
              <a:rPr lang="zh-CN" altLang="en-US" b="1" dirty="0" smtClean="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表</a:t>
            </a:r>
            <a:endParaRPr lang="zh-CN" altLang="en-US" b="1" dirty="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endParaRPr>
          </a:p>
        </p:txBody>
      </p:sp>
      <p:sp>
        <p:nvSpPr>
          <p:cNvPr id="5" name="矩形 4"/>
          <p:cNvSpPr/>
          <p:nvPr/>
        </p:nvSpPr>
        <p:spPr>
          <a:xfrm>
            <a:off x="4926707" y="-19067"/>
            <a:ext cx="4110421" cy="369332"/>
          </a:xfrm>
          <a:prstGeom prst="rect">
            <a:avLst/>
          </a:prstGeom>
        </p:spPr>
        <p:txBody>
          <a:bodyPr wrap="none">
            <a:spAutoFit/>
          </a:bodyPr>
          <a:lstStyle/>
          <a:p>
            <a:pPr>
              <a:defRPr/>
            </a:pPr>
            <a:r>
              <a:rPr lang="zh-CN" altLang="zh-CN" b="1" dirty="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上海有机所科研业务性会议经费决算</a:t>
            </a:r>
            <a:r>
              <a:rPr lang="zh-CN" altLang="en-US" b="1" dirty="0">
                <a:ln>
                  <a:solidFill>
                    <a:srgbClr val="BAB284"/>
                  </a:solidFill>
                </a:ln>
                <a:solidFill>
                  <a:srgbClr val="996600"/>
                </a:solidFill>
                <a:effectLst>
                  <a:outerShdw blurRad="38100" dist="38100" dir="2700000" algn="tl">
                    <a:srgbClr val="000000">
                      <a:alpha val="43137"/>
                    </a:srgbClr>
                  </a:outerShdw>
                </a:effectLst>
                <a:latin typeface="方正粗宋简体" pitchFamily="65" charset="-122"/>
                <a:ea typeface="方正粗宋简体" pitchFamily="65" charset="-122"/>
              </a:rPr>
              <a:t>表</a:t>
            </a:r>
          </a:p>
        </p:txBody>
      </p:sp>
      <p:graphicFrame>
        <p:nvGraphicFramePr>
          <p:cNvPr id="6" name="表格 5"/>
          <p:cNvGraphicFramePr>
            <a:graphicFrameLocks noGrp="1"/>
          </p:cNvGraphicFramePr>
          <p:nvPr>
            <p:extLst>
              <p:ext uri="{D42A27DB-BD31-4B8C-83A1-F6EECF244321}">
                <p14:modId xmlns:p14="http://schemas.microsoft.com/office/powerpoint/2010/main" val="2886917037"/>
              </p:ext>
            </p:extLst>
          </p:nvPr>
        </p:nvGraphicFramePr>
        <p:xfrm>
          <a:off x="1498156" y="254864"/>
          <a:ext cx="2988120" cy="4877029"/>
        </p:xfrm>
        <a:graphic>
          <a:graphicData uri="http://schemas.openxmlformats.org/drawingml/2006/table">
            <a:tbl>
              <a:tblPr>
                <a:tableStyleId>{5C22544A-7EE6-4342-B048-85BDC9FD1C3A}</a:tableStyleId>
              </a:tblPr>
              <a:tblGrid>
                <a:gridCol w="347644"/>
                <a:gridCol w="79769"/>
                <a:gridCol w="601282"/>
                <a:gridCol w="391885"/>
                <a:gridCol w="244927"/>
                <a:gridCol w="340586"/>
                <a:gridCol w="159539"/>
                <a:gridCol w="159539"/>
                <a:gridCol w="271063"/>
                <a:gridCol w="97971"/>
                <a:gridCol w="293915"/>
              </a:tblGrid>
              <a:tr h="260592">
                <a:tc gridSpan="2">
                  <a:txBody>
                    <a:bodyPr/>
                    <a:lstStyle/>
                    <a:p>
                      <a:pPr algn="ctr">
                        <a:spcAft>
                          <a:spcPts val="0"/>
                        </a:spcAft>
                      </a:pPr>
                      <a:r>
                        <a:rPr lang="zh-CN" sz="900" kern="100" dirty="0">
                          <a:effectLst/>
                        </a:rPr>
                        <a:t>会议名称</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3">
                  <a:txBody>
                    <a:bodyPr/>
                    <a:lstStyle/>
                    <a:p>
                      <a:pPr indent="133350" algn="just">
                        <a:spcAft>
                          <a:spcPts val="0"/>
                        </a:spcAft>
                      </a:pPr>
                      <a:r>
                        <a:rPr lang="zh-CN" sz="900" kern="100" dirty="0">
                          <a:effectLst/>
                        </a:rPr>
                        <a:t>是否涉密</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c gridSpan="2">
                  <a:txBody>
                    <a:bodyPr/>
                    <a:lstStyle/>
                    <a:p>
                      <a:pPr algn="just">
                        <a:spcAft>
                          <a:spcPts val="0"/>
                        </a:spcAft>
                      </a:pPr>
                      <a:r>
                        <a:rPr lang="en-US" sz="800" kern="100" dirty="0">
                          <a:effectLst/>
                        </a:rPr>
                        <a:t> </a:t>
                      </a:r>
                      <a:endParaRPr lang="zh-CN" sz="800" kern="100" dirty="0">
                        <a:effectLst/>
                        <a:latin typeface="Times New Roman"/>
                        <a:ea typeface="宋体"/>
                      </a:endParaRPr>
                    </a:p>
                  </a:txBody>
                  <a:tcPr marL="51291" marR="51291" marT="0" marB="0" anchor="ctr"/>
                </a:tc>
                <a:tc hMerge="1">
                  <a:txBody>
                    <a:bodyPr/>
                    <a:lstStyle/>
                    <a:p>
                      <a:endParaRPr lang="zh-CN" altLang="en-US"/>
                    </a:p>
                  </a:txBody>
                  <a:tcPr/>
                </a:tc>
              </a:tr>
              <a:tr h="260592">
                <a:tc gridSpan="2">
                  <a:txBody>
                    <a:bodyPr/>
                    <a:lstStyle/>
                    <a:p>
                      <a:pPr algn="ctr">
                        <a:spcAft>
                          <a:spcPts val="0"/>
                        </a:spcAft>
                      </a:pPr>
                      <a:r>
                        <a:rPr lang="zh-CN" sz="900" kern="100">
                          <a:effectLst/>
                        </a:rPr>
                        <a:t>主要内容</a:t>
                      </a:r>
                      <a:endParaRPr lang="zh-CN" sz="900" kern="100">
                        <a:effectLst/>
                        <a:latin typeface="Times New Roman"/>
                        <a:ea typeface="宋体"/>
                      </a:endParaRPr>
                    </a:p>
                  </a:txBody>
                  <a:tcPr marL="51291" marR="51291" marT="0" marB="0" anchor="ctr"/>
                </a:tc>
                <a:tc hMerge="1">
                  <a:txBody>
                    <a:bodyPr/>
                    <a:lstStyle/>
                    <a:p>
                      <a:endParaRPr lang="zh-CN" altLang="en-US"/>
                    </a:p>
                  </a:txBody>
                  <a:tcPr/>
                </a:tc>
                <a:tc gridSpan="9">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521183">
                <a:tc gridSpan="2">
                  <a:txBody>
                    <a:bodyPr/>
                    <a:lstStyle/>
                    <a:p>
                      <a:pPr algn="ctr">
                        <a:spcAft>
                          <a:spcPts val="0"/>
                        </a:spcAft>
                      </a:pPr>
                      <a:r>
                        <a:rPr lang="zh-CN" sz="900" kern="100">
                          <a:effectLst/>
                        </a:rPr>
                        <a:t>经费来源／账号</a:t>
                      </a:r>
                      <a:endParaRPr lang="zh-CN" sz="900" kern="100">
                        <a:effectLst/>
                        <a:latin typeface="Times New Roman"/>
                        <a:ea typeface="宋体"/>
                      </a:endParaRPr>
                    </a:p>
                  </a:txBody>
                  <a:tcPr marL="51291" marR="51291" marT="0" marB="0" anchor="ctr"/>
                </a:tc>
                <a:tc hMerge="1">
                  <a:txBody>
                    <a:bodyPr/>
                    <a:lstStyle/>
                    <a:p>
                      <a:endParaRPr lang="zh-CN" altLang="en-US"/>
                    </a:p>
                  </a:txBody>
                  <a:tcPr/>
                </a:tc>
                <a:tc gridSpan="9">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260592">
                <a:tc gridSpan="2">
                  <a:txBody>
                    <a:bodyPr/>
                    <a:lstStyle/>
                    <a:p>
                      <a:pPr algn="ctr">
                        <a:spcAft>
                          <a:spcPts val="0"/>
                        </a:spcAft>
                      </a:pPr>
                      <a:r>
                        <a:rPr lang="zh-CN" sz="900" kern="100">
                          <a:effectLst/>
                        </a:rPr>
                        <a:t>会议时间</a:t>
                      </a:r>
                      <a:endParaRPr lang="zh-CN" sz="900" kern="100">
                        <a:effectLst/>
                        <a:latin typeface="Times New Roman"/>
                        <a:ea typeface="宋体"/>
                      </a:endParaRPr>
                    </a:p>
                  </a:txBody>
                  <a:tcPr marL="51291" marR="51291" marT="0" marB="0" anchor="ctr"/>
                </a:tc>
                <a:tc hMerge="1">
                  <a:txBody>
                    <a:bodyPr/>
                    <a:lstStyle/>
                    <a:p>
                      <a:endParaRPr lang="zh-CN" altLang="en-US"/>
                    </a:p>
                  </a:txBody>
                  <a:tcPr/>
                </a:tc>
                <a:tc>
                  <a:txBody>
                    <a:bodyPr/>
                    <a:lstStyle/>
                    <a:p>
                      <a:pPr indent="200025" algn="just">
                        <a:spcAft>
                          <a:spcPts val="0"/>
                        </a:spcAft>
                      </a:pPr>
                      <a:r>
                        <a:rPr lang="en-US" sz="900" kern="100">
                          <a:effectLst/>
                        </a:rPr>
                        <a:t> </a:t>
                      </a:r>
                      <a:endParaRPr lang="zh-CN" sz="900" kern="100">
                        <a:effectLst/>
                        <a:latin typeface="Times New Roman"/>
                        <a:ea typeface="宋体"/>
                      </a:endParaRPr>
                    </a:p>
                  </a:txBody>
                  <a:tcPr marL="51291" marR="51291" marT="0" marB="0" anchor="ctr"/>
                </a:tc>
                <a:tc>
                  <a:txBody>
                    <a:bodyPr/>
                    <a:lstStyle/>
                    <a:p>
                      <a:pPr algn="just">
                        <a:spcAft>
                          <a:spcPts val="0"/>
                        </a:spcAft>
                      </a:pPr>
                      <a:r>
                        <a:rPr lang="zh-CN" sz="900" kern="100">
                          <a:effectLst/>
                        </a:rPr>
                        <a:t>会议地点</a:t>
                      </a:r>
                      <a:endParaRPr lang="zh-CN" sz="900" kern="100">
                        <a:effectLst/>
                        <a:latin typeface="Times New Roman"/>
                        <a:ea typeface="宋体"/>
                      </a:endParaRPr>
                    </a:p>
                  </a:txBody>
                  <a:tcPr marL="51291" marR="51291" marT="0" marB="0" anchor="ctr"/>
                </a:tc>
                <a:tc gridSpan="3">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c gridSpan="3">
                  <a:txBody>
                    <a:bodyPr/>
                    <a:lstStyle/>
                    <a:p>
                      <a:pPr algn="just">
                        <a:spcAft>
                          <a:spcPts val="0"/>
                        </a:spcAft>
                      </a:pPr>
                      <a:r>
                        <a:rPr lang="zh-CN" sz="900" kern="100" dirty="0">
                          <a:effectLst/>
                        </a:rPr>
                        <a:t>工作人员数</a:t>
                      </a:r>
                      <a:endParaRPr lang="zh-CN" sz="900" kern="100" dirty="0">
                        <a:effectLst/>
                        <a:latin typeface="Times New Roman"/>
                        <a:ea typeface="宋体"/>
                      </a:endParaRPr>
                    </a:p>
                  </a:txBody>
                  <a:tcPr marL="51291" marR="51291" marT="0" marB="0" anchor="ctr">
                    <a:solidFill>
                      <a:srgbClr val="FFFF00"/>
                    </a:solidFill>
                  </a:tcPr>
                </a:tc>
                <a:tc hMerge="1">
                  <a:txBody>
                    <a:bodyPr/>
                    <a:lstStyle/>
                    <a:p>
                      <a:endParaRPr lang="zh-CN" altLang="en-US"/>
                    </a:p>
                  </a:txBody>
                  <a:tcPr/>
                </a:tc>
                <a:tc hMerge="1">
                  <a:txBody>
                    <a:bodyPr/>
                    <a:lstStyle/>
                    <a:p>
                      <a:endParaRPr lang="zh-CN" altLang="en-US"/>
                    </a:p>
                  </a:txBody>
                  <a:tcPr/>
                </a:tc>
                <a:tc>
                  <a:txBody>
                    <a:bodyPr/>
                    <a:lstStyle/>
                    <a:p>
                      <a:pPr algn="just">
                        <a:spcAft>
                          <a:spcPts val="0"/>
                        </a:spcAft>
                      </a:pPr>
                      <a:r>
                        <a:rPr lang="en-US" sz="800" kern="100" dirty="0">
                          <a:effectLst/>
                        </a:rPr>
                        <a:t> </a:t>
                      </a:r>
                      <a:endParaRPr lang="zh-CN" sz="800" kern="100" dirty="0">
                        <a:effectLst/>
                        <a:latin typeface="Times New Roman"/>
                        <a:ea typeface="宋体"/>
                      </a:endParaRPr>
                    </a:p>
                  </a:txBody>
                  <a:tcPr marL="51291" marR="51291" marT="0" marB="0" anchor="ctr"/>
                </a:tc>
              </a:tr>
              <a:tr h="390888">
                <a:tc gridSpan="2">
                  <a:txBody>
                    <a:bodyPr/>
                    <a:lstStyle/>
                    <a:p>
                      <a:pPr algn="ctr">
                        <a:spcAft>
                          <a:spcPts val="0"/>
                        </a:spcAft>
                      </a:pPr>
                      <a:r>
                        <a:rPr lang="zh-CN" sz="900" kern="100">
                          <a:effectLst/>
                        </a:rPr>
                        <a:t>会议代表</a:t>
                      </a:r>
                    </a:p>
                    <a:p>
                      <a:pPr algn="ctr">
                        <a:spcAft>
                          <a:spcPts val="0"/>
                        </a:spcAft>
                      </a:pPr>
                      <a:r>
                        <a:rPr lang="zh-CN" sz="900" kern="100">
                          <a:effectLst/>
                        </a:rPr>
                        <a:t>人数</a:t>
                      </a:r>
                      <a:endParaRPr lang="zh-CN" sz="900" kern="100">
                        <a:effectLst/>
                        <a:latin typeface="Times New Roman"/>
                        <a:ea typeface="宋体"/>
                      </a:endParaRPr>
                    </a:p>
                  </a:txBody>
                  <a:tcPr marL="51291" marR="51291" marT="0" marB="0" anchor="ctr"/>
                </a:tc>
                <a:tc hMerge="1">
                  <a:txBody>
                    <a:bodyPr/>
                    <a:lstStyle/>
                    <a:p>
                      <a:endParaRPr lang="zh-CN" altLang="en-US"/>
                    </a:p>
                  </a:txBody>
                  <a:tcPr/>
                </a:tc>
                <a:tc>
                  <a:txBody>
                    <a:bodyPr/>
                    <a:lstStyle/>
                    <a:p>
                      <a:pPr algn="ctr">
                        <a:spcAft>
                          <a:spcPts val="0"/>
                        </a:spcAft>
                      </a:pPr>
                      <a:r>
                        <a:rPr lang="zh-CN" sz="900" kern="100">
                          <a:effectLst/>
                        </a:rPr>
                        <a:t>国 外</a:t>
                      </a:r>
                      <a:endParaRPr lang="zh-CN" sz="900" kern="100">
                        <a:effectLst/>
                        <a:latin typeface="Times New Roman"/>
                        <a:ea typeface="宋体"/>
                      </a:endParaRPr>
                    </a:p>
                  </a:txBody>
                  <a:tcPr marL="51291" marR="51291" marT="0" marB="0" anchor="ctr"/>
                </a:tc>
                <a:tc gridSpan="2">
                  <a:txBody>
                    <a:bodyPr/>
                    <a:lstStyle/>
                    <a:p>
                      <a:pPr algn="ctr">
                        <a:spcAft>
                          <a:spcPts val="0"/>
                        </a:spcAft>
                      </a:pPr>
                      <a:r>
                        <a:rPr lang="zh-CN" sz="900" kern="100" dirty="0">
                          <a:effectLst/>
                        </a:rPr>
                        <a:t>外省市</a:t>
                      </a:r>
                    </a:p>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3">
                  <a:txBody>
                    <a:bodyPr/>
                    <a:lstStyle/>
                    <a:p>
                      <a:pPr algn="ctr">
                        <a:spcAft>
                          <a:spcPts val="0"/>
                        </a:spcAft>
                      </a:pPr>
                      <a:r>
                        <a:rPr lang="zh-CN" sz="900" kern="100" dirty="0">
                          <a:effectLst/>
                        </a:rPr>
                        <a:t>本 市</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c gridSpan="3">
                  <a:txBody>
                    <a:bodyPr/>
                    <a:lstStyle/>
                    <a:p>
                      <a:pPr algn="ctr">
                        <a:spcAft>
                          <a:spcPts val="0"/>
                        </a:spcAft>
                      </a:pPr>
                      <a:r>
                        <a:rPr lang="zh-CN" sz="800" kern="100" dirty="0">
                          <a:effectLst/>
                        </a:rPr>
                        <a:t>本 所</a:t>
                      </a:r>
                      <a:endParaRPr lang="zh-CN" sz="800" kern="100" dirty="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r>
              <a:tr h="130296">
                <a:tc gridSpan="2">
                  <a:txBody>
                    <a:bodyPr/>
                    <a:lstStyle/>
                    <a:p>
                      <a:pPr algn="ctr">
                        <a:spcAft>
                          <a:spcPts val="0"/>
                        </a:spcAft>
                      </a:pPr>
                      <a:r>
                        <a:rPr lang="en-US" sz="900" kern="100">
                          <a:effectLst/>
                        </a:rPr>
                        <a:t> </a:t>
                      </a:r>
                      <a:endParaRPr lang="zh-CN" sz="900" kern="100">
                        <a:effectLst/>
                        <a:latin typeface="Times New Roman"/>
                        <a:ea typeface="宋体"/>
                      </a:endParaRPr>
                    </a:p>
                  </a:txBody>
                  <a:tcPr marL="51291" marR="51291" marT="0" marB="0" anchor="ctr"/>
                </a:tc>
                <a:tc hMerge="1">
                  <a:txBody>
                    <a:bodyPr/>
                    <a:lstStyle/>
                    <a:p>
                      <a:endParaRPr lang="zh-CN" altLang="en-US"/>
                    </a:p>
                  </a:txBody>
                  <a:tcPr/>
                </a:tc>
                <a:tc>
                  <a:txBody>
                    <a:bodyPr/>
                    <a:lstStyle/>
                    <a:p>
                      <a:pPr algn="ctr">
                        <a:spcAft>
                          <a:spcPts val="0"/>
                        </a:spcAft>
                      </a:pPr>
                      <a:r>
                        <a:rPr lang="en-US" sz="900" kern="100">
                          <a:effectLst/>
                        </a:rPr>
                        <a:t> </a:t>
                      </a:r>
                      <a:endParaRPr lang="zh-CN" sz="900" kern="100">
                        <a:effectLst/>
                        <a:latin typeface="Times New Roman"/>
                        <a:ea typeface="宋体"/>
                      </a:endParaRPr>
                    </a:p>
                  </a:txBody>
                  <a:tcPr marL="51291" marR="51291" marT="0" marB="0" anchor="ctr"/>
                </a:tc>
                <a:tc gridSpan="2">
                  <a:txBody>
                    <a:bodyPr/>
                    <a:lstStyle/>
                    <a:p>
                      <a:pPr algn="ctr">
                        <a:spcAft>
                          <a:spcPts val="0"/>
                        </a:spcAft>
                      </a:pPr>
                      <a:r>
                        <a:rPr lang="en-US" sz="900" kern="100">
                          <a:effectLst/>
                        </a:rPr>
                        <a:t> </a:t>
                      </a:r>
                      <a:endParaRPr lang="zh-CN" sz="900" kern="100">
                        <a:effectLst/>
                        <a:latin typeface="Times New Roman"/>
                        <a:ea typeface="宋体"/>
                      </a:endParaRPr>
                    </a:p>
                  </a:txBody>
                  <a:tcPr marL="51291" marR="51291" marT="0" marB="0" anchor="ctr"/>
                </a:tc>
                <a:tc hMerge="1">
                  <a:txBody>
                    <a:bodyPr/>
                    <a:lstStyle/>
                    <a:p>
                      <a:endParaRPr lang="zh-CN" altLang="en-US"/>
                    </a:p>
                  </a:txBody>
                  <a:tcPr/>
                </a:tc>
                <a:tc gridSpan="3">
                  <a:txBody>
                    <a:bodyPr/>
                    <a:lstStyle/>
                    <a:p>
                      <a:pPr algn="ctr">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c gridSpan="3">
                  <a:txBody>
                    <a:bodyPr/>
                    <a:lstStyle/>
                    <a:p>
                      <a:pPr algn="just">
                        <a:spcAft>
                          <a:spcPts val="0"/>
                        </a:spcAft>
                      </a:pPr>
                      <a:r>
                        <a:rPr lang="en-US" sz="800" kern="100">
                          <a:effectLst/>
                        </a:rPr>
                        <a:t> </a:t>
                      </a:r>
                      <a:endParaRPr lang="zh-CN" sz="800" kern="10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r>
              <a:tr h="130296">
                <a:tc rowSpan="12">
                  <a:txBody>
                    <a:bodyPr/>
                    <a:lstStyle/>
                    <a:p>
                      <a:pPr marL="71755" marR="71755" algn="ctr">
                        <a:spcAft>
                          <a:spcPts val="0"/>
                        </a:spcAft>
                      </a:pPr>
                      <a:r>
                        <a:rPr lang="zh-CN" sz="900" kern="100">
                          <a:effectLst/>
                        </a:rPr>
                        <a:t>会议支出预算︵元︶</a:t>
                      </a:r>
                      <a:endParaRPr lang="zh-CN" sz="900" kern="100">
                        <a:effectLst/>
                        <a:latin typeface="Times New Roman"/>
                        <a:ea typeface="宋体"/>
                      </a:endParaRPr>
                    </a:p>
                  </a:txBody>
                  <a:tcPr marL="51291" marR="51291" marT="0" marB="0" vert="eaVert" anchor="ctr"/>
                </a:tc>
                <a:tc gridSpan="2">
                  <a:txBody>
                    <a:bodyPr/>
                    <a:lstStyle/>
                    <a:p>
                      <a:pPr algn="just">
                        <a:spcAft>
                          <a:spcPts val="0"/>
                        </a:spcAft>
                      </a:pPr>
                      <a:r>
                        <a:rPr lang="zh-CN" sz="900" kern="100">
                          <a:effectLst/>
                        </a:rPr>
                        <a:t>住宿费</a:t>
                      </a:r>
                      <a:endParaRPr lang="zh-CN" sz="900" kern="100">
                        <a:effectLst/>
                        <a:latin typeface="Times New Roman"/>
                        <a:ea typeface="宋体"/>
                      </a:endParaRPr>
                    </a:p>
                  </a:txBody>
                  <a:tcPr marL="51291" marR="51291" marT="0" marB="0" anchor="ctr"/>
                </a:tc>
                <a:tc hMerge="1">
                  <a:txBody>
                    <a:bodyPr/>
                    <a:lstStyle/>
                    <a:p>
                      <a:endParaRPr lang="zh-CN" altLang="en-US"/>
                    </a:p>
                  </a:txBody>
                  <a:tcPr/>
                </a:tc>
                <a:tc gridSpan="2">
                  <a:txBody>
                    <a:bodyPr/>
                    <a:lstStyle/>
                    <a:p>
                      <a:pPr algn="just">
                        <a:spcAft>
                          <a:spcPts val="0"/>
                        </a:spcAft>
                      </a:pPr>
                      <a:r>
                        <a:rPr lang="en-US" sz="900" kern="100">
                          <a:effectLst/>
                        </a:rPr>
                        <a:t> </a:t>
                      </a:r>
                      <a:endParaRPr lang="zh-CN" sz="900" kern="100">
                        <a:effectLst/>
                        <a:latin typeface="Times New Roman"/>
                        <a:ea typeface="宋体"/>
                      </a:endParaRPr>
                    </a:p>
                  </a:txBody>
                  <a:tcPr marL="51291" marR="51291" marT="0" marB="0" anchor="ctr"/>
                </a:tc>
                <a:tc hMerge="1">
                  <a:txBody>
                    <a:bodyPr/>
                    <a:lstStyle/>
                    <a:p>
                      <a:endParaRPr lang="zh-CN" altLang="en-US"/>
                    </a:p>
                  </a:txBody>
                  <a:tcPr/>
                </a:tc>
                <a:tc rowSpan="7" gridSpan="6">
                  <a:txBody>
                    <a:bodyPr/>
                    <a:lstStyle/>
                    <a:p>
                      <a:pPr algn="l">
                        <a:spcAft>
                          <a:spcPts val="0"/>
                        </a:spcAft>
                      </a:pPr>
                      <a:r>
                        <a:rPr lang="zh-CN" sz="900" kern="100" dirty="0">
                          <a:effectLst/>
                        </a:rPr>
                        <a:t>备注：</a:t>
                      </a: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endParaRPr>
                    </a:p>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c rowSpan="7" hMerge="1">
                  <a:txBody>
                    <a:bodyPr/>
                    <a:lstStyle/>
                    <a:p>
                      <a:endParaRPr lang="zh-CN" altLang="en-US"/>
                    </a:p>
                  </a:txBody>
                  <a:tcPr/>
                </a:tc>
              </a:tr>
              <a:tr h="130296">
                <a:tc vMerge="1">
                  <a:txBody>
                    <a:bodyPr/>
                    <a:lstStyle/>
                    <a:p>
                      <a:endParaRPr lang="zh-CN" altLang="en-US"/>
                    </a:p>
                  </a:txBody>
                  <a:tcPr/>
                </a:tc>
                <a:tc gridSpan="2">
                  <a:txBody>
                    <a:bodyPr/>
                    <a:lstStyle/>
                    <a:p>
                      <a:pPr algn="just">
                        <a:spcAft>
                          <a:spcPts val="0"/>
                        </a:spcAft>
                      </a:pPr>
                      <a:r>
                        <a:rPr lang="zh-CN" sz="900" kern="100" dirty="0">
                          <a:effectLst/>
                        </a:rPr>
                        <a:t>伙食费</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2">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r>
              <a:tr h="130296">
                <a:tc vMerge="1">
                  <a:txBody>
                    <a:bodyPr/>
                    <a:lstStyle/>
                    <a:p>
                      <a:endParaRPr lang="zh-CN" altLang="en-US"/>
                    </a:p>
                  </a:txBody>
                  <a:tcPr/>
                </a:tc>
                <a:tc gridSpan="2">
                  <a:txBody>
                    <a:bodyPr/>
                    <a:lstStyle/>
                    <a:p>
                      <a:pPr algn="just">
                        <a:spcAft>
                          <a:spcPts val="0"/>
                        </a:spcAft>
                      </a:pPr>
                      <a:r>
                        <a:rPr lang="zh-CN" sz="900" kern="100">
                          <a:effectLst/>
                        </a:rPr>
                        <a:t>会议室租金</a:t>
                      </a:r>
                      <a:endParaRPr lang="zh-CN" sz="900" kern="100">
                        <a:effectLst/>
                        <a:latin typeface="Times New Roman"/>
                        <a:ea typeface="宋体"/>
                      </a:endParaRPr>
                    </a:p>
                  </a:txBody>
                  <a:tcPr marL="51291" marR="51291" marT="0" marB="0" anchor="ctr"/>
                </a:tc>
                <a:tc hMerge="1">
                  <a:txBody>
                    <a:bodyPr/>
                    <a:lstStyle/>
                    <a:p>
                      <a:endParaRPr lang="zh-CN" altLang="en-US"/>
                    </a:p>
                  </a:txBody>
                  <a:tcPr/>
                </a:tc>
                <a:tc gridSpan="2">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r>
              <a:tr h="130296">
                <a:tc vMerge="1">
                  <a:txBody>
                    <a:bodyPr/>
                    <a:lstStyle/>
                    <a:p>
                      <a:endParaRPr lang="zh-CN" altLang="en-US"/>
                    </a:p>
                  </a:txBody>
                  <a:tcPr/>
                </a:tc>
                <a:tc gridSpan="2">
                  <a:txBody>
                    <a:bodyPr/>
                    <a:lstStyle/>
                    <a:p>
                      <a:pPr algn="just">
                        <a:spcAft>
                          <a:spcPts val="0"/>
                        </a:spcAft>
                      </a:pPr>
                      <a:r>
                        <a:rPr lang="zh-CN" sz="900" kern="100" dirty="0">
                          <a:effectLst/>
                        </a:rPr>
                        <a:t>接送交通费</a:t>
                      </a:r>
                      <a:endParaRPr lang="zh-CN" sz="900" kern="100" dirty="0">
                        <a:effectLst/>
                        <a:latin typeface="Times New Roman"/>
                        <a:ea typeface="宋体"/>
                      </a:endParaRPr>
                    </a:p>
                  </a:txBody>
                  <a:tcPr marL="51291" marR="51291" marT="0" marB="0" anchor="ctr">
                    <a:solidFill>
                      <a:srgbClr val="FFFF00"/>
                    </a:solidFill>
                  </a:tcPr>
                </a:tc>
                <a:tc hMerge="1">
                  <a:txBody>
                    <a:bodyPr/>
                    <a:lstStyle/>
                    <a:p>
                      <a:endParaRPr lang="zh-CN" altLang="en-US"/>
                    </a:p>
                  </a:txBody>
                  <a:tcPr/>
                </a:tc>
                <a:tc gridSpan="2">
                  <a:txBody>
                    <a:bodyPr/>
                    <a:lstStyle/>
                    <a:p>
                      <a:pPr algn="just">
                        <a:spcAft>
                          <a:spcPts val="0"/>
                        </a:spcAft>
                      </a:pPr>
                      <a:r>
                        <a:rPr lang="en-US" sz="900" kern="100">
                          <a:effectLst/>
                        </a:rPr>
                        <a:t> </a:t>
                      </a:r>
                      <a:endParaRPr lang="zh-CN" sz="900" kern="100">
                        <a:effectLst/>
                        <a:latin typeface="Times New Roman"/>
                        <a:ea typeface="宋体"/>
                      </a:endParaRPr>
                    </a:p>
                  </a:txBody>
                  <a:tcPr marL="51291" marR="51291" marT="0" marB="0" anchor="ctr"/>
                </a:tc>
                <a:tc hMerge="1">
                  <a:txBody>
                    <a:bodyPr/>
                    <a:lstStyle/>
                    <a:p>
                      <a:endParaRPr lang="zh-CN" altLang="en-US"/>
                    </a:p>
                  </a:txBody>
                  <a:tcPr/>
                </a:tc>
                <a:tc gridSpan="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r>
              <a:tr h="130296">
                <a:tc vMerge="1">
                  <a:txBody>
                    <a:bodyPr/>
                    <a:lstStyle/>
                    <a:p>
                      <a:endParaRPr lang="zh-CN" altLang="en-US"/>
                    </a:p>
                  </a:txBody>
                  <a:tcPr/>
                </a:tc>
                <a:tc gridSpan="2">
                  <a:txBody>
                    <a:bodyPr/>
                    <a:lstStyle/>
                    <a:p>
                      <a:pPr algn="just">
                        <a:spcAft>
                          <a:spcPts val="0"/>
                        </a:spcAft>
                      </a:pPr>
                      <a:r>
                        <a:rPr lang="zh-CN" sz="900" kern="100" dirty="0">
                          <a:effectLst/>
                        </a:rPr>
                        <a:t>文件印刷费</a:t>
                      </a:r>
                      <a:endParaRPr lang="zh-CN" sz="900" kern="100" dirty="0">
                        <a:effectLst/>
                        <a:latin typeface="Times New Roman"/>
                        <a:ea typeface="宋体"/>
                      </a:endParaRPr>
                    </a:p>
                  </a:txBody>
                  <a:tcPr marL="51291" marR="51291" marT="0" marB="0" anchor="ctr">
                    <a:solidFill>
                      <a:srgbClr val="FFFF00"/>
                    </a:solidFill>
                  </a:tcPr>
                </a:tc>
                <a:tc hMerge="1">
                  <a:txBody>
                    <a:bodyPr/>
                    <a:lstStyle/>
                    <a:p>
                      <a:endParaRPr lang="zh-CN" altLang="en-US"/>
                    </a:p>
                  </a:txBody>
                  <a:tcPr/>
                </a:tc>
                <a:tc gridSpan="2">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r>
              <a:tr h="130296">
                <a:tc vMerge="1">
                  <a:txBody>
                    <a:bodyPr/>
                    <a:lstStyle/>
                    <a:p>
                      <a:endParaRPr lang="zh-CN" altLang="en-US"/>
                    </a:p>
                  </a:txBody>
                  <a:tcPr/>
                </a:tc>
                <a:tc gridSpan="2">
                  <a:txBody>
                    <a:bodyPr/>
                    <a:lstStyle/>
                    <a:p>
                      <a:pPr algn="just">
                        <a:spcAft>
                          <a:spcPts val="0"/>
                        </a:spcAft>
                      </a:pPr>
                      <a:r>
                        <a:rPr lang="zh-CN" sz="900" kern="100" dirty="0">
                          <a:effectLst/>
                        </a:rPr>
                        <a:t>会议服务费</a:t>
                      </a:r>
                      <a:endParaRPr lang="zh-CN" sz="900" kern="100" dirty="0">
                        <a:effectLst/>
                        <a:latin typeface="Times New Roman"/>
                        <a:ea typeface="宋体"/>
                      </a:endParaRPr>
                    </a:p>
                  </a:txBody>
                  <a:tcPr marL="51291" marR="51291" marT="0" marB="0" anchor="ctr">
                    <a:solidFill>
                      <a:srgbClr val="FFFF00"/>
                    </a:solidFill>
                  </a:tcPr>
                </a:tc>
                <a:tc hMerge="1">
                  <a:txBody>
                    <a:bodyPr/>
                    <a:lstStyle/>
                    <a:p>
                      <a:endParaRPr lang="zh-CN" altLang="en-US"/>
                    </a:p>
                  </a:txBody>
                  <a:tcPr/>
                </a:tc>
                <a:tc gridSpan="2">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r>
              <a:tr h="912071">
                <a:tc vMerge="1">
                  <a:txBody>
                    <a:bodyPr/>
                    <a:lstStyle/>
                    <a:p>
                      <a:endParaRPr lang="zh-CN" altLang="en-US"/>
                    </a:p>
                  </a:txBody>
                  <a:tcPr/>
                </a:tc>
                <a:tc gridSpan="2">
                  <a:txBody>
                    <a:bodyPr/>
                    <a:lstStyle/>
                    <a:p>
                      <a:pPr algn="just">
                        <a:spcAft>
                          <a:spcPts val="0"/>
                        </a:spcAft>
                      </a:pP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2">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r>
              <a:tr h="130296">
                <a:tc vMerge="1">
                  <a:txBody>
                    <a:bodyPr/>
                    <a:lstStyle/>
                    <a:p>
                      <a:endParaRPr lang="zh-CN" altLang="en-US"/>
                    </a:p>
                  </a:txBody>
                  <a:tcPr/>
                </a:tc>
                <a:tc rowSpan="2" gridSpan="2">
                  <a:txBody>
                    <a:bodyPr/>
                    <a:lstStyle/>
                    <a:p>
                      <a:pPr algn="just">
                        <a:spcAft>
                          <a:spcPts val="0"/>
                        </a:spcAft>
                      </a:pPr>
                      <a:r>
                        <a:rPr lang="zh-CN" sz="900" kern="100" dirty="0">
                          <a:effectLst/>
                        </a:rPr>
                        <a:t>会议费用小计</a:t>
                      </a:r>
                      <a:endParaRPr lang="zh-CN" sz="900" kern="100" dirty="0">
                        <a:effectLst/>
                        <a:latin typeface="Times New Roman"/>
                        <a:ea typeface="宋体"/>
                      </a:endParaRPr>
                    </a:p>
                  </a:txBody>
                  <a:tcPr marL="51291" marR="51291" marT="0" marB="0" anchor="ctr">
                    <a:solidFill>
                      <a:srgbClr val="FFFF00"/>
                    </a:solidFill>
                  </a:tcPr>
                </a:tc>
                <a:tc rowSpan="2" hMerge="1">
                  <a:txBody>
                    <a:bodyPr/>
                    <a:lstStyle/>
                    <a:p>
                      <a:endParaRPr lang="zh-CN" altLang="en-US"/>
                    </a:p>
                  </a:txBody>
                  <a:tcPr/>
                </a:tc>
                <a:tc rowSpan="2" gridSpan="2">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solidFill>
                      <a:srgbClr val="FFFF00"/>
                    </a:solidFill>
                  </a:tcPr>
                </a:tc>
                <a:tc rowSpan="2" hMerge="1">
                  <a:txBody>
                    <a:bodyPr/>
                    <a:lstStyle/>
                    <a:p>
                      <a:endParaRPr lang="zh-CN" altLang="en-US"/>
                    </a:p>
                  </a:txBody>
                  <a:tcPr/>
                </a:tc>
                <a:tc gridSpan="6">
                  <a:txBody>
                    <a:bodyPr/>
                    <a:lstStyle/>
                    <a:p>
                      <a:pPr algn="just">
                        <a:spcAft>
                          <a:spcPts val="0"/>
                        </a:spcAft>
                      </a:pPr>
                      <a:r>
                        <a:rPr lang="zh-CN" sz="900" kern="100" dirty="0">
                          <a:effectLst/>
                        </a:rPr>
                        <a:t>有住宿费人员人均标准：</a:t>
                      </a:r>
                      <a:endParaRPr lang="zh-CN" sz="900" kern="100" dirty="0">
                        <a:effectLst/>
                        <a:latin typeface="Times New Roman"/>
                        <a:ea typeface="宋体"/>
                      </a:endParaRPr>
                    </a:p>
                  </a:txBody>
                  <a:tcPr marL="51291" marR="51291" marT="0" marB="0">
                    <a:solidFill>
                      <a:srgbClr val="FFFF00"/>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130296">
                <a:tc vMerge="1">
                  <a:txBody>
                    <a:bodyPr/>
                    <a:lstStyle/>
                    <a:p>
                      <a:endParaRPr lang="zh-CN" altLang="en-US"/>
                    </a:p>
                  </a:txBody>
                  <a:tcPr/>
                </a:tc>
                <a:tc gridSpan="2" vMerge="1">
                  <a:txBody>
                    <a:bodyPr/>
                    <a:lstStyle/>
                    <a:p>
                      <a:endParaRPr lang="zh-CN" altLang="en-US"/>
                    </a:p>
                  </a:txBody>
                  <a:tcPr/>
                </a:tc>
                <a:tc hMerge="1" vMerge="1">
                  <a:txBody>
                    <a:bodyPr/>
                    <a:lstStyle/>
                    <a:p>
                      <a:endParaRPr lang="zh-CN" altLang="en-US"/>
                    </a:p>
                  </a:txBody>
                  <a:tcPr/>
                </a:tc>
                <a:tc gridSpan="2" vMerge="1">
                  <a:txBody>
                    <a:bodyPr/>
                    <a:lstStyle/>
                    <a:p>
                      <a:endParaRPr lang="zh-CN" altLang="en-US"/>
                    </a:p>
                  </a:txBody>
                  <a:tcPr/>
                </a:tc>
                <a:tc hMerge="1" vMerge="1">
                  <a:txBody>
                    <a:bodyPr/>
                    <a:lstStyle/>
                    <a:p>
                      <a:endParaRPr lang="zh-CN" altLang="en-US"/>
                    </a:p>
                  </a:txBody>
                  <a:tcPr/>
                </a:tc>
                <a:tc gridSpan="6">
                  <a:txBody>
                    <a:bodyPr/>
                    <a:lstStyle/>
                    <a:p>
                      <a:pPr algn="just">
                        <a:spcAft>
                          <a:spcPts val="0"/>
                        </a:spcAft>
                      </a:pPr>
                      <a:r>
                        <a:rPr lang="zh-CN" sz="900" kern="100" dirty="0">
                          <a:effectLst/>
                        </a:rPr>
                        <a:t>无住宿费人员人均标准：</a:t>
                      </a:r>
                      <a:endParaRPr lang="zh-CN" sz="900" kern="100" dirty="0">
                        <a:effectLst/>
                        <a:latin typeface="Times New Roman"/>
                        <a:ea typeface="宋体"/>
                      </a:endParaRPr>
                    </a:p>
                  </a:txBody>
                  <a:tcPr marL="51291" marR="51291" marT="0" marB="0">
                    <a:solidFill>
                      <a:srgbClr val="FFFF00"/>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260592">
                <a:tc vMerge="1">
                  <a:txBody>
                    <a:bodyPr/>
                    <a:lstStyle/>
                    <a:p>
                      <a:endParaRPr lang="zh-CN" altLang="en-US"/>
                    </a:p>
                  </a:txBody>
                  <a:tcPr/>
                </a:tc>
                <a:tc gridSpan="2">
                  <a:txBody>
                    <a:bodyPr/>
                    <a:lstStyle/>
                    <a:p>
                      <a:pPr algn="just">
                        <a:spcAft>
                          <a:spcPts val="0"/>
                        </a:spcAft>
                      </a:pPr>
                      <a:r>
                        <a:rPr lang="zh-CN" sz="900" kern="100" dirty="0">
                          <a:effectLst/>
                        </a:rPr>
                        <a:t>专家评审</a:t>
                      </a:r>
                      <a:r>
                        <a:rPr lang="en-US" sz="900" kern="100" dirty="0">
                          <a:effectLst/>
                        </a:rPr>
                        <a:t>/</a:t>
                      </a:r>
                      <a:r>
                        <a:rPr lang="zh-CN" sz="900" kern="100" dirty="0">
                          <a:effectLst/>
                        </a:rPr>
                        <a:t>咨询费</a:t>
                      </a:r>
                      <a:endParaRPr lang="zh-CN" sz="900" kern="100" dirty="0">
                        <a:effectLst/>
                        <a:latin typeface="Times New Roman"/>
                        <a:ea typeface="宋体"/>
                      </a:endParaRPr>
                    </a:p>
                  </a:txBody>
                  <a:tcPr marL="51291" marR="51291" marT="0" marB="0" anchor="ctr">
                    <a:solidFill>
                      <a:srgbClr val="FFFF00"/>
                    </a:solidFill>
                  </a:tcPr>
                </a:tc>
                <a:tc hMerge="1">
                  <a:txBody>
                    <a:bodyPr/>
                    <a:lstStyle/>
                    <a:p>
                      <a:endParaRPr lang="zh-CN" altLang="en-US"/>
                    </a:p>
                  </a:txBody>
                  <a:tcPr/>
                </a:tc>
                <a:tc gridSpan="2">
                  <a:txBody>
                    <a:bodyPr/>
                    <a:lstStyle/>
                    <a:p>
                      <a:pPr algn="just">
                        <a:spcAft>
                          <a:spcPts val="0"/>
                        </a:spcAft>
                      </a:pPr>
                      <a:r>
                        <a:rPr lang="en-US" sz="900" kern="100">
                          <a:effectLst/>
                        </a:rPr>
                        <a:t> </a:t>
                      </a:r>
                      <a:endParaRPr lang="zh-CN" sz="900" kern="100">
                        <a:effectLst/>
                        <a:latin typeface="Times New Roman"/>
                        <a:ea typeface="宋体"/>
                      </a:endParaRPr>
                    </a:p>
                  </a:txBody>
                  <a:tcPr marL="51291" marR="51291" marT="0" marB="0" anchor="ctr"/>
                </a:tc>
                <a:tc hMerge="1">
                  <a:txBody>
                    <a:bodyPr/>
                    <a:lstStyle/>
                    <a:p>
                      <a:endParaRPr lang="zh-CN" altLang="en-US"/>
                    </a:p>
                  </a:txBody>
                  <a:tcPr/>
                </a:tc>
                <a:tc rowSpan="3" gridSpan="6">
                  <a:txBody>
                    <a:bodyPr/>
                    <a:lstStyle/>
                    <a:p>
                      <a:pPr algn="just">
                        <a:spcAft>
                          <a:spcPts val="0"/>
                        </a:spcAft>
                      </a:pPr>
                      <a:r>
                        <a:rPr lang="zh-CN" sz="900" kern="100" dirty="0">
                          <a:effectLst/>
                        </a:rPr>
                        <a:t>备注：</a:t>
                      </a:r>
                      <a:endParaRPr lang="zh-CN" sz="900" kern="100" dirty="0">
                        <a:effectLst/>
                        <a:latin typeface="Times New Roman"/>
                        <a:ea typeface="宋体"/>
                      </a:endParaRPr>
                    </a:p>
                  </a:txBody>
                  <a:tcPr marL="51291" marR="51291" marT="0" marB="0"/>
                </a:tc>
                <a:tc rowSpan="3" hMerge="1">
                  <a:txBody>
                    <a:bodyPr/>
                    <a:lstStyle/>
                    <a:p>
                      <a:endParaRPr lang="zh-CN" altLang="en-US"/>
                    </a:p>
                  </a:txBody>
                  <a:tcPr/>
                </a:tc>
                <a:tc rowSpan="3" hMerge="1">
                  <a:txBody>
                    <a:bodyPr/>
                    <a:lstStyle/>
                    <a:p>
                      <a:endParaRPr lang="zh-CN" altLang="en-US"/>
                    </a:p>
                  </a:txBody>
                  <a:tcPr/>
                </a:tc>
                <a:tc rowSpan="3" hMerge="1">
                  <a:txBody>
                    <a:bodyPr/>
                    <a:lstStyle/>
                    <a:p>
                      <a:endParaRPr lang="zh-CN" altLang="en-US"/>
                    </a:p>
                  </a:txBody>
                  <a:tcPr/>
                </a:tc>
                <a:tc rowSpan="3" hMerge="1">
                  <a:txBody>
                    <a:bodyPr/>
                    <a:lstStyle/>
                    <a:p>
                      <a:endParaRPr lang="zh-CN" altLang="en-US"/>
                    </a:p>
                  </a:txBody>
                  <a:tcPr/>
                </a:tc>
                <a:tc rowSpan="3" hMerge="1">
                  <a:txBody>
                    <a:bodyPr/>
                    <a:lstStyle/>
                    <a:p>
                      <a:endParaRPr lang="zh-CN" altLang="en-US"/>
                    </a:p>
                  </a:txBody>
                  <a:tcPr/>
                </a:tc>
              </a:tr>
              <a:tr h="130296">
                <a:tc vMerge="1">
                  <a:txBody>
                    <a:bodyPr/>
                    <a:lstStyle/>
                    <a:p>
                      <a:endParaRPr lang="zh-CN" altLang="en-US"/>
                    </a:p>
                  </a:txBody>
                  <a:tcPr/>
                </a:tc>
                <a:tc gridSpan="2">
                  <a:txBody>
                    <a:bodyPr/>
                    <a:lstStyle/>
                    <a:p>
                      <a:pPr algn="just">
                        <a:spcAft>
                          <a:spcPts val="0"/>
                        </a:spcAft>
                      </a:pPr>
                      <a:r>
                        <a:rPr lang="zh-CN" sz="900" kern="100">
                          <a:effectLst/>
                        </a:rPr>
                        <a:t>专家差旅费</a:t>
                      </a:r>
                      <a:endParaRPr lang="zh-CN" sz="900" kern="100">
                        <a:effectLst/>
                        <a:latin typeface="Times New Roman"/>
                        <a:ea typeface="宋体"/>
                      </a:endParaRPr>
                    </a:p>
                  </a:txBody>
                  <a:tcPr marL="51291" marR="51291" marT="0" marB="0" anchor="ctr"/>
                </a:tc>
                <a:tc hMerge="1">
                  <a:txBody>
                    <a:bodyPr/>
                    <a:lstStyle/>
                    <a:p>
                      <a:endParaRPr lang="zh-CN" altLang="en-US"/>
                    </a:p>
                  </a:txBody>
                  <a:tcPr/>
                </a:tc>
                <a:tc gridSpan="2">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r>
              <a:tr h="130296">
                <a:tc vMerge="1">
                  <a:txBody>
                    <a:bodyPr/>
                    <a:lstStyle/>
                    <a:p>
                      <a:endParaRPr lang="zh-CN" altLang="en-US"/>
                    </a:p>
                  </a:txBody>
                  <a:tcPr/>
                </a:tc>
                <a:tc gridSpan="2">
                  <a:txBody>
                    <a:bodyPr/>
                    <a:lstStyle/>
                    <a:p>
                      <a:pPr algn="ctr">
                        <a:spcAft>
                          <a:spcPts val="0"/>
                        </a:spcAft>
                      </a:pPr>
                      <a:r>
                        <a:rPr lang="zh-CN" sz="900" kern="100">
                          <a:effectLst/>
                        </a:rPr>
                        <a:t>总</a:t>
                      </a:r>
                      <a:r>
                        <a:rPr lang="en-US" sz="900" kern="100">
                          <a:effectLst/>
                        </a:rPr>
                        <a:t>  </a:t>
                      </a:r>
                      <a:r>
                        <a:rPr lang="zh-CN" sz="900" kern="100">
                          <a:effectLst/>
                        </a:rPr>
                        <a:t>计</a:t>
                      </a:r>
                      <a:endParaRPr lang="zh-CN" sz="900" kern="100">
                        <a:effectLst/>
                        <a:latin typeface="Times New Roman"/>
                        <a:ea typeface="宋体"/>
                      </a:endParaRPr>
                    </a:p>
                  </a:txBody>
                  <a:tcPr marL="51291" marR="51291" marT="0" marB="0" anchor="ctr"/>
                </a:tc>
                <a:tc hMerge="1">
                  <a:txBody>
                    <a:bodyPr/>
                    <a:lstStyle/>
                    <a:p>
                      <a:endParaRPr lang="zh-CN" altLang="en-US"/>
                    </a:p>
                  </a:txBody>
                  <a:tcPr/>
                </a:tc>
                <a:tc gridSpan="2">
                  <a:txBody>
                    <a:bodyPr/>
                    <a:lstStyle/>
                    <a:p>
                      <a:pPr algn="just">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gridSpan="6"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c hMerge="1" vMerge="1">
                  <a:txBody>
                    <a:bodyPr/>
                    <a:lstStyle/>
                    <a:p>
                      <a:endParaRPr lang="zh-CN" altLang="en-US"/>
                    </a:p>
                  </a:txBody>
                  <a:tcPr/>
                </a:tc>
              </a:tr>
              <a:tr h="350749">
                <a:tc gridSpan="3">
                  <a:txBody>
                    <a:bodyPr/>
                    <a:lstStyle/>
                    <a:p>
                      <a:pPr algn="ctr">
                        <a:spcAft>
                          <a:spcPts val="0"/>
                        </a:spcAft>
                      </a:pPr>
                      <a:r>
                        <a:rPr lang="zh-CN" sz="900" kern="100" dirty="0">
                          <a:effectLst/>
                        </a:rPr>
                        <a:t>部门负责人签字</a:t>
                      </a:r>
                      <a:endParaRPr lang="zh-CN" sz="900" kern="100" dirty="0">
                        <a:effectLst/>
                        <a:latin typeface="Times New Roman"/>
                        <a:ea typeface="宋体"/>
                      </a:endParaRPr>
                    </a:p>
                  </a:txBody>
                  <a:tcPr marL="51291" marR="51291" marT="0" marB="0" anchor="ctr">
                    <a:solidFill>
                      <a:srgbClr val="FFFF00"/>
                    </a:solidFill>
                  </a:tcPr>
                </a:tc>
                <a:tc hMerge="1">
                  <a:txBody>
                    <a:bodyPr/>
                    <a:lstStyle/>
                    <a:p>
                      <a:endParaRPr lang="zh-CN" altLang="en-US"/>
                    </a:p>
                  </a:txBody>
                  <a:tcPr/>
                </a:tc>
                <a:tc hMerge="1">
                  <a:txBody>
                    <a:bodyPr/>
                    <a:lstStyle/>
                    <a:p>
                      <a:endParaRPr lang="zh-CN" altLang="en-US"/>
                    </a:p>
                  </a:txBody>
                  <a:tcPr/>
                </a:tc>
                <a:tc gridSpan="8">
                  <a:txBody>
                    <a:bodyPr/>
                    <a:lstStyle/>
                    <a:p>
                      <a:pPr algn="ctr">
                        <a:spcAft>
                          <a:spcPts val="0"/>
                        </a:spcAft>
                      </a:pPr>
                      <a:r>
                        <a:rPr lang="en-US" sz="900" kern="100" dirty="0">
                          <a:effectLst/>
                        </a:rPr>
                        <a:t> </a:t>
                      </a:r>
                      <a:endParaRPr lang="zh-CN" sz="900" kern="100" dirty="0">
                        <a:effectLst/>
                        <a:latin typeface="Times New Roman"/>
                        <a:ea typeface="宋体"/>
                      </a:endParaRPr>
                    </a:p>
                  </a:txBody>
                  <a:tcPr marL="51291" marR="51291"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bl>
          </a:graphicData>
        </a:graphic>
      </p:graphicFrame>
      <p:sp>
        <p:nvSpPr>
          <p:cNvPr id="7" name="矩形 6"/>
          <p:cNvSpPr/>
          <p:nvPr/>
        </p:nvSpPr>
        <p:spPr>
          <a:xfrm>
            <a:off x="492696" y="3310344"/>
            <a:ext cx="4307904" cy="338554"/>
          </a:xfrm>
          <a:prstGeom prst="rect">
            <a:avLst/>
          </a:prstGeom>
        </p:spPr>
        <p:txBody>
          <a:bodyPr wrap="square">
            <a:spAutoFit/>
          </a:bodyPr>
          <a:lstStyle/>
          <a:p>
            <a:r>
              <a:rPr lang="zh-CN" altLang="zh-CN" sz="1600" b="1" dirty="0">
                <a:solidFill>
                  <a:srgbClr val="FF0000"/>
                </a:solidFill>
              </a:rPr>
              <a:t>注：发放专家咨询费报销时还需提供咨询报告</a:t>
            </a:r>
            <a:endParaRPr lang="zh-CN" altLang="en-US" sz="1600" b="1" dirty="0">
              <a:solidFill>
                <a:srgbClr val="FF0000"/>
              </a:solidFill>
            </a:endParaRPr>
          </a:p>
        </p:txBody>
      </p:sp>
      <p:graphicFrame>
        <p:nvGraphicFramePr>
          <p:cNvPr id="8" name="表格 7"/>
          <p:cNvGraphicFramePr>
            <a:graphicFrameLocks noGrp="1"/>
          </p:cNvGraphicFramePr>
          <p:nvPr>
            <p:extLst>
              <p:ext uri="{D42A27DB-BD31-4B8C-83A1-F6EECF244321}">
                <p14:modId xmlns:p14="http://schemas.microsoft.com/office/powerpoint/2010/main" val="851301388"/>
              </p:ext>
            </p:extLst>
          </p:nvPr>
        </p:nvGraphicFramePr>
        <p:xfrm>
          <a:off x="4895853" y="361949"/>
          <a:ext cx="3467097" cy="4670959"/>
        </p:xfrm>
        <a:graphic>
          <a:graphicData uri="http://schemas.openxmlformats.org/drawingml/2006/table">
            <a:tbl>
              <a:tblPr firstRow="1" firstCol="1" bandRow="1">
                <a:tableStyleId>{5C22544A-7EE6-4342-B048-85BDC9FD1C3A}</a:tableStyleId>
              </a:tblPr>
              <a:tblGrid>
                <a:gridCol w="197689"/>
                <a:gridCol w="529282"/>
                <a:gridCol w="223684"/>
                <a:gridCol w="615130"/>
                <a:gridCol w="194100"/>
                <a:gridCol w="476951"/>
                <a:gridCol w="150819"/>
                <a:gridCol w="1079442"/>
              </a:tblGrid>
              <a:tr h="203674">
                <a:tc gridSpan="2">
                  <a:txBody>
                    <a:bodyPr/>
                    <a:lstStyle/>
                    <a:p>
                      <a:pPr algn="ctr">
                        <a:spcAft>
                          <a:spcPts val="0"/>
                        </a:spcAft>
                      </a:pPr>
                      <a:r>
                        <a:rPr lang="zh-CN" sz="900" kern="100" dirty="0">
                          <a:effectLst/>
                        </a:rPr>
                        <a:t>会议名称</a:t>
                      </a:r>
                      <a:endParaRPr lang="zh-CN" sz="900" kern="100" dirty="0">
                        <a:effectLst/>
                        <a:latin typeface="Times New Roman"/>
                        <a:ea typeface="宋体"/>
                      </a:endParaRPr>
                    </a:p>
                  </a:txBody>
                  <a:tcPr marL="40764" marR="40764" marT="0" marB="0" anchor="ctr"/>
                </a:tc>
                <a:tc hMerge="1">
                  <a:txBody>
                    <a:bodyPr/>
                    <a:lstStyle/>
                    <a:p>
                      <a:endParaRPr lang="zh-CN" altLang="en-US"/>
                    </a:p>
                  </a:txBody>
                  <a:tcPr/>
                </a:tc>
                <a:tc gridSpan="6">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191570">
                <a:tc gridSpan="2">
                  <a:txBody>
                    <a:bodyPr/>
                    <a:lstStyle/>
                    <a:p>
                      <a:pPr algn="ctr">
                        <a:spcAft>
                          <a:spcPts val="0"/>
                        </a:spcAft>
                      </a:pPr>
                      <a:r>
                        <a:rPr lang="zh-CN" sz="900" kern="100">
                          <a:effectLst/>
                        </a:rPr>
                        <a:t>主要内容</a:t>
                      </a:r>
                      <a:endParaRPr lang="zh-CN" sz="900" kern="100">
                        <a:effectLst/>
                        <a:latin typeface="Times New Roman"/>
                        <a:ea typeface="宋体"/>
                      </a:endParaRPr>
                    </a:p>
                  </a:txBody>
                  <a:tcPr marL="40764" marR="40764" marT="0" marB="0" anchor="ctr"/>
                </a:tc>
                <a:tc hMerge="1">
                  <a:txBody>
                    <a:bodyPr/>
                    <a:lstStyle/>
                    <a:p>
                      <a:endParaRPr lang="zh-CN" altLang="en-US"/>
                    </a:p>
                  </a:txBody>
                  <a:tcPr/>
                </a:tc>
                <a:tc gridSpan="6">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191570">
                <a:tc gridSpan="2">
                  <a:txBody>
                    <a:bodyPr/>
                    <a:lstStyle/>
                    <a:p>
                      <a:pPr algn="ctr">
                        <a:spcAft>
                          <a:spcPts val="0"/>
                        </a:spcAft>
                      </a:pPr>
                      <a:r>
                        <a:rPr lang="zh-CN" sz="900" kern="100" dirty="0">
                          <a:effectLst/>
                        </a:rPr>
                        <a:t>会议时间</a:t>
                      </a:r>
                      <a:endParaRPr lang="zh-CN" sz="900" kern="100" dirty="0">
                        <a:effectLst/>
                        <a:latin typeface="Times New Roman"/>
                        <a:ea typeface="宋体"/>
                      </a:endParaRPr>
                    </a:p>
                  </a:txBody>
                  <a:tcPr marL="40764" marR="40764" marT="0" marB="0" anchor="ctr"/>
                </a:tc>
                <a:tc hMerge="1">
                  <a:txBody>
                    <a:bodyPr/>
                    <a:lstStyle/>
                    <a:p>
                      <a:endParaRPr lang="zh-CN" altLang="en-US"/>
                    </a:p>
                  </a:txBody>
                  <a:tcPr/>
                </a:tc>
                <a:tc gridSpan="3">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endParaRPr lang="zh-CN" altLang="en-US"/>
                    </a:p>
                  </a:txBody>
                  <a:tcPr/>
                </a:tc>
                <a:tc gridSpan="2">
                  <a:txBody>
                    <a:bodyPr/>
                    <a:lstStyle/>
                    <a:p>
                      <a:pPr algn="ctr">
                        <a:spcAft>
                          <a:spcPts val="0"/>
                        </a:spcAft>
                      </a:pPr>
                      <a:r>
                        <a:rPr lang="zh-CN" sz="900" kern="100" dirty="0">
                          <a:effectLst/>
                        </a:rPr>
                        <a:t>会议地点</a:t>
                      </a:r>
                      <a:endParaRPr lang="zh-CN" sz="900" kern="100" dirty="0">
                        <a:effectLst/>
                        <a:latin typeface="Times New Roman"/>
                        <a:ea typeface="宋体"/>
                      </a:endParaRPr>
                    </a:p>
                  </a:txBody>
                  <a:tcPr marL="40764" marR="40764" marT="0" marB="0" anchor="ctr"/>
                </a:tc>
                <a:tc hMerge="1">
                  <a:txBody>
                    <a:bodyPr/>
                    <a:lstStyle/>
                    <a:p>
                      <a:endParaRPr lang="zh-CN" altLang="en-US"/>
                    </a:p>
                  </a:txBody>
                  <a:tcPr/>
                </a:tc>
                <a:tc>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r>
              <a:tr h="257475">
                <a:tc gridSpan="2">
                  <a:txBody>
                    <a:bodyPr/>
                    <a:lstStyle/>
                    <a:p>
                      <a:pPr algn="ctr">
                        <a:spcAft>
                          <a:spcPts val="0"/>
                        </a:spcAft>
                      </a:pPr>
                      <a:r>
                        <a:rPr lang="zh-CN" sz="900" kern="100" dirty="0">
                          <a:effectLst/>
                        </a:rPr>
                        <a:t>会议代表人数</a:t>
                      </a:r>
                      <a:endParaRPr lang="zh-CN" sz="900" kern="100" dirty="0">
                        <a:effectLst/>
                        <a:latin typeface="Times New Roman"/>
                        <a:ea typeface="宋体"/>
                      </a:endParaRPr>
                    </a:p>
                  </a:txBody>
                  <a:tcPr marL="40764" marR="40764" marT="0" marB="0" anchor="ctr"/>
                </a:tc>
                <a:tc hMerge="1">
                  <a:txBody>
                    <a:bodyPr/>
                    <a:lstStyle/>
                    <a:p>
                      <a:endParaRPr lang="zh-CN" altLang="en-US"/>
                    </a:p>
                  </a:txBody>
                  <a:tcPr/>
                </a:tc>
                <a:tc gridSpan="3">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hMerge="1">
                  <a:txBody>
                    <a:bodyPr/>
                    <a:lstStyle/>
                    <a:p>
                      <a:endParaRPr lang="zh-CN" altLang="en-US"/>
                    </a:p>
                  </a:txBody>
                  <a:tcPr/>
                </a:tc>
                <a:tc hMerge="1">
                  <a:txBody>
                    <a:bodyPr/>
                    <a:lstStyle/>
                    <a:p>
                      <a:endParaRPr lang="zh-CN" altLang="en-US"/>
                    </a:p>
                  </a:txBody>
                  <a:tcPr/>
                </a:tc>
                <a:tc gridSpan="2">
                  <a:txBody>
                    <a:bodyPr/>
                    <a:lstStyle/>
                    <a:p>
                      <a:pPr algn="ctr">
                        <a:spcAft>
                          <a:spcPts val="0"/>
                        </a:spcAft>
                      </a:pPr>
                      <a:r>
                        <a:rPr lang="zh-CN" sz="900" kern="100" dirty="0">
                          <a:effectLst/>
                        </a:rPr>
                        <a:t>工作人员人数</a:t>
                      </a:r>
                      <a:endParaRPr lang="zh-CN" sz="900" kern="100" dirty="0">
                        <a:effectLst/>
                        <a:latin typeface="Times New Roman"/>
                        <a:ea typeface="宋体"/>
                      </a:endParaRPr>
                    </a:p>
                  </a:txBody>
                  <a:tcPr marL="40764" marR="40764" marT="0" marB="0" anchor="ctr"/>
                </a:tc>
                <a:tc hMerge="1">
                  <a:txBody>
                    <a:bodyPr/>
                    <a:lstStyle/>
                    <a:p>
                      <a:endParaRPr lang="zh-CN" altLang="en-US"/>
                    </a:p>
                  </a:txBody>
                  <a:tcPr/>
                </a:tc>
                <a:tc>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r>
              <a:tr h="257475">
                <a:tc gridSpan="2">
                  <a:txBody>
                    <a:bodyPr/>
                    <a:lstStyle/>
                    <a:p>
                      <a:pPr algn="ctr">
                        <a:spcAft>
                          <a:spcPts val="0"/>
                        </a:spcAft>
                      </a:pPr>
                      <a:r>
                        <a:rPr lang="zh-CN" sz="900" kern="100">
                          <a:effectLst/>
                        </a:rPr>
                        <a:t>经费来源／账号</a:t>
                      </a:r>
                      <a:endParaRPr lang="zh-CN" sz="900" kern="100">
                        <a:effectLst/>
                        <a:latin typeface="Times New Roman"/>
                        <a:ea typeface="宋体"/>
                      </a:endParaRPr>
                    </a:p>
                  </a:txBody>
                  <a:tcPr marL="40764" marR="40764" marT="0" marB="0" anchor="ctr"/>
                </a:tc>
                <a:tc hMerge="1">
                  <a:txBody>
                    <a:bodyPr/>
                    <a:lstStyle/>
                    <a:p>
                      <a:endParaRPr lang="zh-CN" altLang="en-US"/>
                    </a:p>
                  </a:txBody>
                  <a:tcPr/>
                </a:tc>
                <a:tc gridSpan="6">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238599">
                <a:tc gridSpan="8">
                  <a:txBody>
                    <a:bodyPr/>
                    <a:lstStyle/>
                    <a:p>
                      <a:pPr algn="ctr">
                        <a:spcAft>
                          <a:spcPts val="0"/>
                        </a:spcAft>
                      </a:pPr>
                      <a:r>
                        <a:rPr lang="zh-CN" sz="900" kern="100" dirty="0">
                          <a:effectLst/>
                        </a:rPr>
                        <a:t>会议经费明细</a:t>
                      </a:r>
                      <a:endParaRPr lang="zh-CN" sz="900" kern="100" dirty="0">
                        <a:effectLst/>
                        <a:latin typeface="Times New Roman"/>
                        <a:ea typeface="宋体"/>
                      </a:endParaRPr>
                    </a:p>
                  </a:txBody>
                  <a:tcPr marL="40764" marR="40764"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257475">
                <a:tc>
                  <a:txBody>
                    <a:bodyPr/>
                    <a:lstStyle/>
                    <a:p>
                      <a:pPr algn="ctr">
                        <a:spcAft>
                          <a:spcPts val="0"/>
                        </a:spcAft>
                      </a:pPr>
                      <a:r>
                        <a:rPr lang="zh-CN" sz="600" kern="100">
                          <a:effectLst/>
                        </a:rPr>
                        <a:t>序号</a:t>
                      </a:r>
                      <a:endParaRPr lang="zh-CN" sz="600" kern="100">
                        <a:effectLst/>
                        <a:latin typeface="Times New Roman"/>
                        <a:ea typeface="宋体"/>
                      </a:endParaRPr>
                    </a:p>
                  </a:txBody>
                  <a:tcPr marL="40764" marR="40764" marT="0" marB="0" anchor="ctr"/>
                </a:tc>
                <a:tc gridSpan="2">
                  <a:txBody>
                    <a:bodyPr/>
                    <a:lstStyle/>
                    <a:p>
                      <a:pPr algn="ctr">
                        <a:spcAft>
                          <a:spcPts val="0"/>
                        </a:spcAft>
                      </a:pPr>
                      <a:r>
                        <a:rPr lang="zh-CN" sz="900" kern="100">
                          <a:effectLst/>
                        </a:rPr>
                        <a:t>预算内容</a:t>
                      </a:r>
                      <a:endParaRPr lang="zh-CN" sz="900" kern="100">
                        <a:effectLst/>
                        <a:latin typeface="Times New Roman"/>
                        <a:ea typeface="宋体"/>
                      </a:endParaRPr>
                    </a:p>
                  </a:txBody>
                  <a:tcPr marL="40764" marR="40764" marT="0" marB="0" anchor="ctr"/>
                </a:tc>
                <a:tc hMerge="1">
                  <a:txBody>
                    <a:bodyPr/>
                    <a:lstStyle/>
                    <a:p>
                      <a:pPr algn="ctr">
                        <a:spcAft>
                          <a:spcPts val="0"/>
                        </a:spcAft>
                      </a:pPr>
                      <a:endParaRPr lang="zh-CN" sz="900" kern="100" dirty="0">
                        <a:effectLst/>
                        <a:latin typeface="Times New Roman"/>
                        <a:ea typeface="宋体"/>
                      </a:endParaRPr>
                    </a:p>
                  </a:txBody>
                  <a:tcPr marL="40764" marR="40764" marT="0" marB="0" anchor="ctr"/>
                </a:tc>
                <a:tc>
                  <a:txBody>
                    <a:bodyPr/>
                    <a:lstStyle/>
                    <a:p>
                      <a:pPr algn="ctr">
                        <a:spcAft>
                          <a:spcPts val="0"/>
                        </a:spcAft>
                      </a:pPr>
                      <a:r>
                        <a:rPr lang="zh-CN" sz="900" kern="100" dirty="0">
                          <a:effectLst/>
                        </a:rPr>
                        <a:t>预算金额（元）</a:t>
                      </a:r>
                      <a:endParaRPr lang="zh-CN" sz="900" kern="100" dirty="0">
                        <a:effectLst/>
                        <a:latin typeface="Times New Roman"/>
                        <a:ea typeface="宋体"/>
                      </a:endParaRPr>
                    </a:p>
                  </a:txBody>
                  <a:tcPr marL="40764" marR="40764" marT="0" marB="0" anchor="ctr"/>
                </a:tc>
                <a:tc gridSpan="4">
                  <a:txBody>
                    <a:bodyPr/>
                    <a:lstStyle/>
                    <a:p>
                      <a:pPr algn="ctr">
                        <a:spcAft>
                          <a:spcPts val="0"/>
                        </a:spcAft>
                      </a:pPr>
                      <a:r>
                        <a:rPr lang="zh-CN" sz="900" kern="100" dirty="0">
                          <a:effectLst/>
                        </a:rPr>
                        <a:t>决算金额（元）</a:t>
                      </a:r>
                      <a:endParaRPr lang="zh-CN" sz="900" kern="100" dirty="0">
                        <a:effectLst/>
                        <a:latin typeface="Times New Roman"/>
                        <a:ea typeface="宋体"/>
                      </a:endParaRPr>
                    </a:p>
                  </a:txBody>
                  <a:tcPr marL="40764" marR="40764" marT="0" marB="0" anchor="ctr"/>
                </a:tc>
                <a:tc hMerge="1">
                  <a:txBody>
                    <a:bodyPr/>
                    <a:lstStyle/>
                    <a:p>
                      <a:pPr algn="ctr">
                        <a:spcAft>
                          <a:spcPts val="0"/>
                        </a:spcAft>
                      </a:pPr>
                      <a:endParaRPr lang="zh-CN" sz="900" kern="100" dirty="0">
                        <a:effectLst/>
                        <a:latin typeface="Times New Roman"/>
                        <a:ea typeface="宋体"/>
                      </a:endParaRPr>
                    </a:p>
                  </a:txBody>
                  <a:tcPr marL="40764" marR="40764" marT="0" marB="0" anchor="ctr"/>
                </a:tc>
                <a:tc hMerge="1">
                  <a:txBody>
                    <a:bodyPr/>
                    <a:lstStyle/>
                    <a:p>
                      <a:endParaRPr lang="zh-CN" altLang="en-US"/>
                    </a:p>
                  </a:txBody>
                  <a:tcPr/>
                </a:tc>
                <a:tc hMerge="1">
                  <a:txBody>
                    <a:bodyPr/>
                    <a:lstStyle/>
                    <a:p>
                      <a:pPr algn="ctr">
                        <a:spcAft>
                          <a:spcPts val="0"/>
                        </a:spcAft>
                      </a:pPr>
                      <a:endParaRPr lang="zh-CN" sz="900" kern="100">
                        <a:effectLst/>
                        <a:latin typeface="Times New Roman"/>
                        <a:ea typeface="宋体"/>
                      </a:endParaRPr>
                    </a:p>
                  </a:txBody>
                  <a:tcPr marL="40764" marR="40764" marT="0" marB="0" anchor="ctr"/>
                </a:tc>
              </a:tr>
              <a:tr h="176010">
                <a:tc>
                  <a:txBody>
                    <a:bodyPr/>
                    <a:lstStyle/>
                    <a:p>
                      <a:pPr algn="just">
                        <a:spcAft>
                          <a:spcPts val="0"/>
                        </a:spcAft>
                      </a:pPr>
                      <a:r>
                        <a:rPr lang="zh-CN" sz="600" kern="100">
                          <a:effectLst/>
                        </a:rPr>
                        <a:t>１</a:t>
                      </a:r>
                      <a:endParaRPr lang="zh-CN" sz="600" kern="100">
                        <a:effectLst/>
                        <a:latin typeface="Times New Roman"/>
                        <a:ea typeface="宋体"/>
                      </a:endParaRPr>
                    </a:p>
                  </a:txBody>
                  <a:tcPr marL="40764" marR="40764" marT="0" marB="0"/>
                </a:tc>
                <a:tc gridSpan="2">
                  <a:txBody>
                    <a:bodyPr/>
                    <a:lstStyle/>
                    <a:p>
                      <a:pPr algn="l">
                        <a:spcAft>
                          <a:spcPts val="0"/>
                        </a:spcAft>
                      </a:pPr>
                      <a:r>
                        <a:rPr lang="zh-CN" sz="900" kern="100">
                          <a:effectLst/>
                        </a:rPr>
                        <a:t>住宿费</a:t>
                      </a:r>
                      <a:endParaRPr lang="zh-CN" sz="900" kern="100">
                        <a:effectLst/>
                        <a:latin typeface="Times New Roman"/>
                        <a:ea typeface="宋体"/>
                      </a:endParaRPr>
                    </a:p>
                  </a:txBody>
                  <a:tcPr marL="40764" marR="40764" marT="0" marB="0" anchor="ctr"/>
                </a:tc>
                <a:tc hMerge="1">
                  <a:txBody>
                    <a:bodyPr/>
                    <a:lstStyle/>
                    <a:p>
                      <a:pPr algn="just">
                        <a:spcAft>
                          <a:spcPts val="0"/>
                        </a:spcAft>
                      </a:pPr>
                      <a:endParaRPr lang="zh-CN" sz="900" kern="100" dirty="0">
                        <a:effectLst/>
                        <a:latin typeface="Times New Roman"/>
                        <a:ea typeface="宋体"/>
                      </a:endParaRPr>
                    </a:p>
                  </a:txBody>
                  <a:tcPr marL="40764" marR="40764" marT="0" marB="0"/>
                </a:tc>
                <a:tc>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gridSpan="4">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hMerge="1">
                  <a:txBody>
                    <a:bodyPr/>
                    <a:lstStyle/>
                    <a:p>
                      <a:pPr algn="just">
                        <a:spcAft>
                          <a:spcPts val="0"/>
                        </a:spcAft>
                      </a:pPr>
                      <a:endParaRPr lang="zh-CN" sz="900" kern="10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a:effectLst/>
                        <a:latin typeface="Times New Roman"/>
                        <a:ea typeface="宋体"/>
                      </a:endParaRPr>
                    </a:p>
                  </a:txBody>
                  <a:tcPr marL="40764" marR="40764" marT="0" marB="0"/>
                </a:tc>
              </a:tr>
              <a:tr h="176010">
                <a:tc>
                  <a:txBody>
                    <a:bodyPr/>
                    <a:lstStyle/>
                    <a:p>
                      <a:pPr algn="just">
                        <a:spcAft>
                          <a:spcPts val="0"/>
                        </a:spcAft>
                      </a:pPr>
                      <a:r>
                        <a:rPr lang="zh-CN" sz="600" kern="100">
                          <a:effectLst/>
                        </a:rPr>
                        <a:t>２</a:t>
                      </a:r>
                      <a:endParaRPr lang="zh-CN" sz="600" kern="100">
                        <a:effectLst/>
                        <a:latin typeface="Times New Roman"/>
                        <a:ea typeface="宋体"/>
                      </a:endParaRPr>
                    </a:p>
                  </a:txBody>
                  <a:tcPr marL="40764" marR="40764" marT="0" marB="0"/>
                </a:tc>
                <a:tc gridSpan="2">
                  <a:txBody>
                    <a:bodyPr/>
                    <a:lstStyle/>
                    <a:p>
                      <a:pPr algn="l">
                        <a:spcAft>
                          <a:spcPts val="0"/>
                        </a:spcAft>
                      </a:pPr>
                      <a:r>
                        <a:rPr lang="zh-CN" sz="900" kern="100" dirty="0">
                          <a:effectLst/>
                        </a:rPr>
                        <a:t>伙食费</a:t>
                      </a:r>
                      <a:endParaRPr lang="zh-CN" sz="900" kern="100" dirty="0">
                        <a:effectLst/>
                        <a:latin typeface="Times New Roman"/>
                        <a:ea typeface="宋体"/>
                      </a:endParaRPr>
                    </a:p>
                  </a:txBody>
                  <a:tcPr marL="40764" marR="40764" marT="0" marB="0" anchor="ctr"/>
                </a:tc>
                <a:tc hMerge="1">
                  <a:txBody>
                    <a:bodyPr/>
                    <a:lstStyle/>
                    <a:p>
                      <a:pPr algn="just">
                        <a:spcAft>
                          <a:spcPts val="0"/>
                        </a:spcAft>
                      </a:pPr>
                      <a:endParaRPr lang="zh-CN" sz="900" kern="100" dirty="0">
                        <a:effectLst/>
                        <a:latin typeface="Times New Roman"/>
                        <a:ea typeface="宋体"/>
                      </a:endParaRPr>
                    </a:p>
                  </a:txBody>
                  <a:tcPr marL="40764" marR="40764" marT="0" marB="0"/>
                </a:tc>
                <a:tc>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pPr algn="just">
                        <a:spcAft>
                          <a:spcPts val="0"/>
                        </a:spcAft>
                      </a:pP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tc>
              </a:tr>
              <a:tr h="176010">
                <a:tc>
                  <a:txBody>
                    <a:bodyPr/>
                    <a:lstStyle/>
                    <a:p>
                      <a:pPr algn="just">
                        <a:spcAft>
                          <a:spcPts val="0"/>
                        </a:spcAft>
                      </a:pPr>
                      <a:r>
                        <a:rPr lang="zh-CN" sz="600" kern="100">
                          <a:effectLst/>
                        </a:rPr>
                        <a:t>３</a:t>
                      </a:r>
                      <a:endParaRPr lang="zh-CN" sz="600" kern="100">
                        <a:effectLst/>
                        <a:latin typeface="Times New Roman"/>
                        <a:ea typeface="宋体"/>
                      </a:endParaRPr>
                    </a:p>
                  </a:txBody>
                  <a:tcPr marL="40764" marR="40764" marT="0" marB="0"/>
                </a:tc>
                <a:tc gridSpan="2">
                  <a:txBody>
                    <a:bodyPr/>
                    <a:lstStyle/>
                    <a:p>
                      <a:pPr algn="l">
                        <a:spcAft>
                          <a:spcPts val="0"/>
                        </a:spcAft>
                      </a:pPr>
                      <a:r>
                        <a:rPr lang="zh-CN" sz="900" kern="100">
                          <a:effectLst/>
                        </a:rPr>
                        <a:t>会议室租金</a:t>
                      </a:r>
                      <a:endParaRPr lang="zh-CN" sz="900" kern="100">
                        <a:effectLst/>
                        <a:latin typeface="Times New Roman"/>
                        <a:ea typeface="宋体"/>
                      </a:endParaRPr>
                    </a:p>
                  </a:txBody>
                  <a:tcPr marL="40764" marR="40764" marT="0" marB="0" anchor="ctr"/>
                </a:tc>
                <a:tc hMerge="1">
                  <a:txBody>
                    <a:bodyPr/>
                    <a:lstStyle/>
                    <a:p>
                      <a:pPr algn="just">
                        <a:spcAft>
                          <a:spcPts val="0"/>
                        </a:spcAft>
                      </a:pPr>
                      <a:endParaRPr lang="zh-CN" sz="900" kern="100">
                        <a:effectLst/>
                        <a:latin typeface="Times New Roman"/>
                        <a:ea typeface="宋体"/>
                      </a:endParaRPr>
                    </a:p>
                  </a:txBody>
                  <a:tcPr marL="40764" marR="40764" marT="0" marB="0"/>
                </a:tc>
                <a:tc>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pPr algn="just">
                        <a:spcAft>
                          <a:spcPts val="0"/>
                        </a:spcAft>
                      </a:pP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tc>
              </a:tr>
              <a:tr h="176010">
                <a:tc>
                  <a:txBody>
                    <a:bodyPr/>
                    <a:lstStyle/>
                    <a:p>
                      <a:pPr algn="just">
                        <a:spcAft>
                          <a:spcPts val="0"/>
                        </a:spcAft>
                      </a:pPr>
                      <a:r>
                        <a:rPr lang="zh-CN" sz="600" kern="100">
                          <a:effectLst/>
                        </a:rPr>
                        <a:t>４</a:t>
                      </a:r>
                      <a:endParaRPr lang="zh-CN" sz="600" kern="100">
                        <a:effectLst/>
                        <a:latin typeface="Times New Roman"/>
                        <a:ea typeface="宋体"/>
                      </a:endParaRPr>
                    </a:p>
                  </a:txBody>
                  <a:tcPr marL="40764" marR="40764" marT="0" marB="0"/>
                </a:tc>
                <a:tc gridSpan="2">
                  <a:txBody>
                    <a:bodyPr/>
                    <a:lstStyle/>
                    <a:p>
                      <a:pPr algn="l">
                        <a:spcAft>
                          <a:spcPts val="0"/>
                        </a:spcAft>
                      </a:pPr>
                      <a:r>
                        <a:rPr lang="zh-CN" sz="900" kern="100">
                          <a:effectLst/>
                        </a:rPr>
                        <a:t>接送交通费</a:t>
                      </a:r>
                      <a:endParaRPr lang="zh-CN" sz="900" kern="100">
                        <a:effectLst/>
                        <a:latin typeface="Times New Roman"/>
                        <a:ea typeface="宋体"/>
                      </a:endParaRPr>
                    </a:p>
                  </a:txBody>
                  <a:tcPr marL="40764" marR="40764" marT="0" marB="0" anchor="ctr"/>
                </a:tc>
                <a:tc hMerge="1">
                  <a:txBody>
                    <a:bodyPr/>
                    <a:lstStyle/>
                    <a:p>
                      <a:pPr algn="just">
                        <a:spcAft>
                          <a:spcPts val="0"/>
                        </a:spcAft>
                      </a:pPr>
                      <a:endParaRPr lang="zh-CN" sz="900" kern="100" dirty="0">
                        <a:effectLst/>
                        <a:latin typeface="Times New Roman"/>
                        <a:ea typeface="宋体"/>
                      </a:endParaRPr>
                    </a:p>
                  </a:txBody>
                  <a:tcPr marL="40764" marR="40764" marT="0" marB="0"/>
                </a:tc>
                <a:tc>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pPr algn="just">
                        <a:spcAft>
                          <a:spcPts val="0"/>
                        </a:spcAft>
                      </a:pP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tc>
              </a:tr>
              <a:tr h="176010">
                <a:tc>
                  <a:txBody>
                    <a:bodyPr/>
                    <a:lstStyle/>
                    <a:p>
                      <a:pPr algn="just">
                        <a:spcAft>
                          <a:spcPts val="0"/>
                        </a:spcAft>
                      </a:pPr>
                      <a:r>
                        <a:rPr lang="zh-CN" sz="600" kern="100">
                          <a:effectLst/>
                        </a:rPr>
                        <a:t>５</a:t>
                      </a:r>
                      <a:endParaRPr lang="zh-CN" sz="600" kern="100">
                        <a:effectLst/>
                        <a:latin typeface="Times New Roman"/>
                        <a:ea typeface="宋体"/>
                      </a:endParaRPr>
                    </a:p>
                  </a:txBody>
                  <a:tcPr marL="40764" marR="40764" marT="0" marB="0"/>
                </a:tc>
                <a:tc gridSpan="2">
                  <a:txBody>
                    <a:bodyPr/>
                    <a:lstStyle/>
                    <a:p>
                      <a:pPr algn="l">
                        <a:spcAft>
                          <a:spcPts val="0"/>
                        </a:spcAft>
                      </a:pPr>
                      <a:r>
                        <a:rPr lang="zh-CN" sz="900" kern="100" dirty="0">
                          <a:effectLst/>
                        </a:rPr>
                        <a:t>文件印刷费</a:t>
                      </a:r>
                      <a:endParaRPr lang="zh-CN" sz="900" kern="100" dirty="0">
                        <a:effectLst/>
                        <a:latin typeface="Times New Roman"/>
                        <a:ea typeface="宋体"/>
                      </a:endParaRPr>
                    </a:p>
                  </a:txBody>
                  <a:tcPr marL="40764" marR="40764" marT="0" marB="0" anchor="ctr"/>
                </a:tc>
                <a:tc hMerge="1">
                  <a:txBody>
                    <a:bodyPr/>
                    <a:lstStyle/>
                    <a:p>
                      <a:pPr algn="just">
                        <a:spcAft>
                          <a:spcPts val="0"/>
                        </a:spcAft>
                      </a:pPr>
                      <a:endParaRPr lang="zh-CN" sz="900" kern="100">
                        <a:effectLst/>
                        <a:latin typeface="Times New Roman"/>
                        <a:ea typeface="宋体"/>
                      </a:endParaRPr>
                    </a:p>
                  </a:txBody>
                  <a:tcPr marL="40764" marR="40764" marT="0" marB="0"/>
                </a:tc>
                <a:tc>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pPr algn="just">
                        <a:spcAft>
                          <a:spcPts val="0"/>
                        </a:spcAft>
                      </a:pP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tc>
              </a:tr>
              <a:tr h="176010">
                <a:tc>
                  <a:txBody>
                    <a:bodyPr/>
                    <a:lstStyle/>
                    <a:p>
                      <a:pPr algn="just">
                        <a:spcAft>
                          <a:spcPts val="0"/>
                        </a:spcAft>
                      </a:pPr>
                      <a:r>
                        <a:rPr lang="en-US" sz="600" kern="100">
                          <a:effectLst/>
                        </a:rPr>
                        <a:t>6</a:t>
                      </a:r>
                      <a:endParaRPr lang="zh-CN" sz="600" kern="100">
                        <a:effectLst/>
                        <a:latin typeface="Times New Roman"/>
                        <a:ea typeface="宋体"/>
                      </a:endParaRPr>
                    </a:p>
                  </a:txBody>
                  <a:tcPr marL="40764" marR="40764" marT="0" marB="0"/>
                </a:tc>
                <a:tc gridSpan="2">
                  <a:txBody>
                    <a:bodyPr/>
                    <a:lstStyle/>
                    <a:p>
                      <a:pPr algn="just">
                        <a:spcAft>
                          <a:spcPts val="0"/>
                        </a:spcAft>
                      </a:pPr>
                      <a:r>
                        <a:rPr lang="zh-CN" sz="900" kern="100">
                          <a:effectLst/>
                        </a:rPr>
                        <a:t>会议服务费</a:t>
                      </a:r>
                      <a:endParaRPr lang="zh-CN" sz="900" kern="100">
                        <a:effectLst/>
                        <a:latin typeface="Times New Roman"/>
                        <a:ea typeface="宋体"/>
                      </a:endParaRPr>
                    </a:p>
                  </a:txBody>
                  <a:tcPr marL="40764" marR="40764" marT="0" marB="0" anchor="ctr"/>
                </a:tc>
                <a:tc hMerge="1">
                  <a:txBody>
                    <a:bodyPr/>
                    <a:lstStyle/>
                    <a:p>
                      <a:pPr algn="just">
                        <a:spcAft>
                          <a:spcPts val="0"/>
                        </a:spcAft>
                      </a:pPr>
                      <a:endParaRPr lang="zh-CN" sz="900" kern="100">
                        <a:effectLst/>
                        <a:latin typeface="Times New Roman"/>
                        <a:ea typeface="宋体"/>
                      </a:endParaRPr>
                    </a:p>
                  </a:txBody>
                  <a:tcPr marL="40764" marR="40764" marT="0" marB="0"/>
                </a:tc>
                <a:tc>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pPr algn="just">
                        <a:spcAft>
                          <a:spcPts val="0"/>
                        </a:spcAft>
                      </a:pP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tc>
              </a:tr>
              <a:tr h="176010">
                <a:tc>
                  <a:txBody>
                    <a:bodyPr/>
                    <a:lstStyle/>
                    <a:p>
                      <a:pPr algn="just">
                        <a:spcAft>
                          <a:spcPts val="0"/>
                        </a:spcAft>
                      </a:pPr>
                      <a:r>
                        <a:rPr lang="en-US" sz="600" kern="100">
                          <a:effectLst/>
                        </a:rPr>
                        <a:t> </a:t>
                      </a:r>
                      <a:endParaRPr lang="zh-CN" sz="600" kern="100">
                        <a:effectLst/>
                        <a:latin typeface="Times New Roman"/>
                        <a:ea typeface="宋体"/>
                      </a:endParaRPr>
                    </a:p>
                  </a:txBody>
                  <a:tcPr marL="40764" marR="40764" marT="0" marB="0"/>
                </a:tc>
                <a:tc gridSpan="2">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nchor="ctr"/>
                </a:tc>
                <a:tc hMerge="1">
                  <a:txBody>
                    <a:bodyPr/>
                    <a:lstStyle/>
                    <a:p>
                      <a:pPr algn="just">
                        <a:spcAft>
                          <a:spcPts val="0"/>
                        </a:spcAft>
                      </a:pPr>
                      <a:endParaRPr lang="zh-CN" sz="900" kern="100">
                        <a:effectLst/>
                        <a:latin typeface="Times New Roman"/>
                        <a:ea typeface="宋体"/>
                      </a:endParaRPr>
                    </a:p>
                  </a:txBody>
                  <a:tcPr marL="40764" marR="40764" marT="0" marB="0"/>
                </a:tc>
                <a:tc>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pPr algn="just">
                        <a:spcAft>
                          <a:spcPts val="0"/>
                        </a:spcAft>
                      </a:pP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tc>
              </a:tr>
              <a:tr h="149165">
                <a:tc rowSpan="2">
                  <a:txBody>
                    <a:bodyPr/>
                    <a:lstStyle/>
                    <a:p>
                      <a:pPr algn="just">
                        <a:spcAft>
                          <a:spcPts val="0"/>
                        </a:spcAft>
                      </a:pPr>
                      <a:r>
                        <a:rPr lang="en-US" sz="600" kern="100">
                          <a:effectLst/>
                        </a:rPr>
                        <a:t> </a:t>
                      </a:r>
                      <a:endParaRPr lang="zh-CN" sz="600" kern="100">
                        <a:effectLst/>
                        <a:latin typeface="Times New Roman"/>
                        <a:ea typeface="宋体"/>
                      </a:endParaRPr>
                    </a:p>
                  </a:txBody>
                  <a:tcPr marL="40764" marR="40764" marT="0" marB="0"/>
                </a:tc>
                <a:tc rowSpan="2" gridSpan="2">
                  <a:txBody>
                    <a:bodyPr/>
                    <a:lstStyle/>
                    <a:p>
                      <a:pPr algn="just">
                        <a:spcAft>
                          <a:spcPts val="0"/>
                        </a:spcAft>
                      </a:pPr>
                      <a:r>
                        <a:rPr lang="zh-CN" sz="900" kern="100">
                          <a:effectLst/>
                        </a:rPr>
                        <a:t>会议费用小计</a:t>
                      </a:r>
                      <a:endParaRPr lang="zh-CN" sz="900" kern="100">
                        <a:effectLst/>
                        <a:latin typeface="Times New Roman"/>
                        <a:ea typeface="宋体"/>
                      </a:endParaRPr>
                    </a:p>
                  </a:txBody>
                  <a:tcPr marL="40764" marR="40764" marT="0" marB="0" anchor="ctr"/>
                </a:tc>
                <a:tc rowSpan="2" hMerge="1">
                  <a:txBody>
                    <a:bodyPr/>
                    <a:lstStyle/>
                    <a:p>
                      <a:pPr algn="just">
                        <a:spcAft>
                          <a:spcPts val="0"/>
                        </a:spcAft>
                      </a:pPr>
                      <a:endParaRPr lang="zh-CN" sz="900" kern="100">
                        <a:effectLst/>
                        <a:latin typeface="Times New Roman"/>
                        <a:ea typeface="宋体"/>
                      </a:endParaRPr>
                    </a:p>
                  </a:txBody>
                  <a:tcPr marL="40764" marR="40764" marT="0" marB="0"/>
                </a:tc>
                <a:tc rowSpan="2">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rowSpan="2"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900" kern="100" dirty="0">
                        <a:solidFill>
                          <a:schemeClr val="dk1"/>
                        </a:solidFill>
                        <a:effectLst/>
                        <a:latin typeface="+mn-lt"/>
                        <a:ea typeface="+mn-ea"/>
                        <a:cs typeface="+mn-cs"/>
                      </a:endParaRPr>
                    </a:p>
                  </a:txBody>
                  <a:tcPr marL="40764" marR="40764" marT="0" marB="0">
                    <a:solidFill>
                      <a:srgbClr val="FFFF00"/>
                    </a:solidFill>
                  </a:tcPr>
                </a:tc>
                <a:tc rowSpan="2" hMerge="1">
                  <a:txBody>
                    <a:bodyPr/>
                    <a:lstStyle/>
                    <a:p>
                      <a:pPr algn="just">
                        <a:spcAft>
                          <a:spcPts val="0"/>
                        </a:spcAft>
                      </a:pPr>
                      <a:endParaRPr lang="zh-CN" sz="900" kern="100" dirty="0">
                        <a:effectLst/>
                        <a:latin typeface="Times New Roman"/>
                        <a:ea typeface="宋体"/>
                      </a:endParaRPr>
                    </a:p>
                  </a:txBody>
                  <a:tcPr marL="40764" marR="40764" marT="0" marB="0">
                    <a:solidFill>
                      <a:srgbClr val="FFFF00"/>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zh-CN" sz="900" kern="100" dirty="0" smtClean="0">
                          <a:solidFill>
                            <a:schemeClr val="dk1"/>
                          </a:solidFill>
                          <a:effectLst/>
                          <a:latin typeface="+mn-lt"/>
                          <a:ea typeface="+mn-ea"/>
                          <a:cs typeface="+mn-cs"/>
                        </a:rPr>
                        <a:t>有住宿费人员人均标准：</a:t>
                      </a:r>
                    </a:p>
                  </a:txBody>
                  <a:tcPr marL="40764" marR="40764" marT="0" marB="0">
                    <a:solidFill>
                      <a:srgbClr val="FFFF00"/>
                    </a:solidFill>
                  </a:tcPr>
                </a:tc>
                <a:tc hMerge="1">
                  <a:txBody>
                    <a:bodyPr/>
                    <a:lstStyle/>
                    <a:p>
                      <a:pPr algn="just">
                        <a:spcAft>
                          <a:spcPts val="0"/>
                        </a:spcAft>
                      </a:pPr>
                      <a:endParaRPr lang="zh-CN" sz="900" kern="100">
                        <a:effectLst/>
                        <a:latin typeface="Times New Roman"/>
                        <a:ea typeface="宋体"/>
                      </a:endParaRPr>
                    </a:p>
                  </a:txBody>
                  <a:tcPr marL="40764" marR="40764" marT="0" marB="0"/>
                </a:tc>
              </a:tr>
              <a:tr h="149165">
                <a:tc vMerge="1">
                  <a:txBody>
                    <a:bodyPr/>
                    <a:lstStyle/>
                    <a:p>
                      <a:endParaRPr lang="zh-CN" altLang="en-US"/>
                    </a:p>
                  </a:txBody>
                  <a:tcPr/>
                </a:tc>
                <a:tc gridSpan="2" vMerge="1">
                  <a:txBody>
                    <a:bodyPr/>
                    <a:lstStyle/>
                    <a:p>
                      <a:endParaRPr lang="zh-CN" altLang="en-US"/>
                    </a:p>
                  </a:txBody>
                  <a:tcPr/>
                </a:tc>
                <a:tc hMerge="1" vMerge="1">
                  <a:txBody>
                    <a:bodyPr/>
                    <a:lstStyle/>
                    <a:p>
                      <a:endParaRPr lang="zh-CN" altLang="en-US"/>
                    </a:p>
                  </a:txBody>
                  <a:tcPr/>
                </a:tc>
                <a:tc vMerge="1">
                  <a:txBody>
                    <a:bodyPr/>
                    <a:lstStyle/>
                    <a:p>
                      <a:endParaRPr lang="zh-CN" altLang="en-US"/>
                    </a:p>
                  </a:txBody>
                  <a:tcPr/>
                </a:tc>
                <a:tc gridSpan="2" vMerge="1">
                  <a:txBody>
                    <a:bodyPr/>
                    <a:lstStyle/>
                    <a:p>
                      <a:endParaRPr lang="zh-CN" altLang="en-US"/>
                    </a:p>
                  </a:txBody>
                  <a:tcPr/>
                </a:tc>
                <a:tc hMerge="1" vMerge="1">
                  <a:txBody>
                    <a:bodyPr/>
                    <a:lstStyle/>
                    <a:p>
                      <a:endParaRPr lang="zh-CN" altLang="en-US"/>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900" kern="100" dirty="0" smtClean="0">
                          <a:solidFill>
                            <a:schemeClr val="dk1"/>
                          </a:solidFill>
                          <a:effectLst/>
                          <a:latin typeface="+mn-lt"/>
                          <a:ea typeface="+mn-ea"/>
                          <a:cs typeface="+mn-cs"/>
                        </a:rPr>
                        <a:t>无</a:t>
                      </a:r>
                      <a:r>
                        <a:rPr lang="zh-CN" altLang="zh-CN" sz="900" kern="100" dirty="0" smtClean="0">
                          <a:solidFill>
                            <a:schemeClr val="dk1"/>
                          </a:solidFill>
                          <a:effectLst/>
                          <a:latin typeface="+mn-lt"/>
                          <a:ea typeface="+mn-ea"/>
                          <a:cs typeface="+mn-cs"/>
                        </a:rPr>
                        <a:t>住宿费人员人均标准：</a:t>
                      </a:r>
                    </a:p>
                  </a:txBody>
                  <a:tcPr marL="40764" marR="40764" marT="0" marB="0">
                    <a:solidFill>
                      <a:srgbClr val="FFFF00"/>
                    </a:solidFill>
                  </a:tcPr>
                </a:tc>
                <a:tc hMerge="1">
                  <a:txBody>
                    <a:bodyPr/>
                    <a:lstStyle/>
                    <a:p>
                      <a:endParaRPr lang="zh-CN" altLang="en-US"/>
                    </a:p>
                  </a:txBody>
                  <a:tcPr/>
                </a:tc>
              </a:tr>
              <a:tr h="257475">
                <a:tc>
                  <a:txBody>
                    <a:bodyPr/>
                    <a:lstStyle/>
                    <a:p>
                      <a:pPr algn="just">
                        <a:spcAft>
                          <a:spcPts val="0"/>
                        </a:spcAft>
                      </a:pPr>
                      <a:r>
                        <a:rPr lang="en-US" sz="600" kern="100">
                          <a:effectLst/>
                        </a:rPr>
                        <a:t>7</a:t>
                      </a:r>
                      <a:endParaRPr lang="zh-CN" sz="600" kern="100">
                        <a:effectLst/>
                        <a:latin typeface="Times New Roman"/>
                        <a:ea typeface="宋体"/>
                      </a:endParaRPr>
                    </a:p>
                  </a:txBody>
                  <a:tcPr marL="40764" marR="40764" marT="0" marB="0"/>
                </a:tc>
                <a:tc gridSpan="2">
                  <a:txBody>
                    <a:bodyPr/>
                    <a:lstStyle/>
                    <a:p>
                      <a:pPr algn="just">
                        <a:spcAft>
                          <a:spcPts val="0"/>
                        </a:spcAft>
                      </a:pPr>
                      <a:r>
                        <a:rPr lang="zh-CN" sz="900" kern="100">
                          <a:effectLst/>
                        </a:rPr>
                        <a:t>专家评审</a:t>
                      </a:r>
                      <a:r>
                        <a:rPr lang="en-US" sz="900" kern="100">
                          <a:effectLst/>
                        </a:rPr>
                        <a:t>/</a:t>
                      </a:r>
                      <a:r>
                        <a:rPr lang="zh-CN" sz="900" kern="100">
                          <a:effectLst/>
                        </a:rPr>
                        <a:t>咨询费</a:t>
                      </a:r>
                      <a:endParaRPr lang="zh-CN" sz="900" kern="100">
                        <a:effectLst/>
                        <a:latin typeface="Times New Roman"/>
                        <a:ea typeface="宋体"/>
                      </a:endParaRPr>
                    </a:p>
                  </a:txBody>
                  <a:tcPr marL="40764" marR="40764" marT="0" marB="0" anchor="ctr"/>
                </a:tc>
                <a:tc hMerge="1">
                  <a:txBody>
                    <a:bodyPr/>
                    <a:lstStyle/>
                    <a:p>
                      <a:pPr algn="just">
                        <a:spcAft>
                          <a:spcPts val="0"/>
                        </a:spcAft>
                      </a:pPr>
                      <a:endParaRPr lang="zh-CN" sz="900" kern="100">
                        <a:effectLst/>
                        <a:latin typeface="Times New Roman"/>
                        <a:ea typeface="宋体"/>
                      </a:endParaRPr>
                    </a:p>
                  </a:txBody>
                  <a:tcPr marL="40764" marR="40764" marT="0" marB="0"/>
                </a:tc>
                <a:tc>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pPr algn="just">
                        <a:spcAft>
                          <a:spcPts val="0"/>
                        </a:spcAft>
                      </a:pP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tc>
              </a:tr>
              <a:tr h="176010">
                <a:tc>
                  <a:txBody>
                    <a:bodyPr/>
                    <a:lstStyle/>
                    <a:p>
                      <a:pPr algn="just">
                        <a:spcAft>
                          <a:spcPts val="0"/>
                        </a:spcAft>
                      </a:pPr>
                      <a:r>
                        <a:rPr lang="en-US" sz="600" kern="100">
                          <a:effectLst/>
                        </a:rPr>
                        <a:t>8</a:t>
                      </a:r>
                      <a:endParaRPr lang="zh-CN" sz="600" kern="100">
                        <a:effectLst/>
                        <a:latin typeface="Times New Roman"/>
                        <a:ea typeface="宋体"/>
                      </a:endParaRPr>
                    </a:p>
                  </a:txBody>
                  <a:tcPr marL="40764" marR="40764" marT="0" marB="0"/>
                </a:tc>
                <a:tc gridSpan="2">
                  <a:txBody>
                    <a:bodyPr/>
                    <a:lstStyle/>
                    <a:p>
                      <a:pPr algn="just">
                        <a:spcAft>
                          <a:spcPts val="0"/>
                        </a:spcAft>
                      </a:pPr>
                      <a:r>
                        <a:rPr lang="zh-CN" sz="900" kern="100">
                          <a:effectLst/>
                        </a:rPr>
                        <a:t>专家差旅费</a:t>
                      </a:r>
                      <a:endParaRPr lang="zh-CN" sz="900" kern="100">
                        <a:effectLst/>
                        <a:latin typeface="Times New Roman"/>
                        <a:ea typeface="宋体"/>
                      </a:endParaRPr>
                    </a:p>
                  </a:txBody>
                  <a:tcPr marL="40764" marR="40764" marT="0" marB="0" anchor="ctr"/>
                </a:tc>
                <a:tc hMerge="1">
                  <a:txBody>
                    <a:bodyPr/>
                    <a:lstStyle/>
                    <a:p>
                      <a:pPr algn="just">
                        <a:spcAft>
                          <a:spcPts val="0"/>
                        </a:spcAft>
                      </a:pPr>
                      <a:endParaRPr lang="zh-CN" sz="900" kern="100">
                        <a:effectLst/>
                        <a:latin typeface="Times New Roman"/>
                        <a:ea typeface="宋体"/>
                      </a:endParaRPr>
                    </a:p>
                  </a:txBody>
                  <a:tcPr marL="40764" marR="40764" marT="0" marB="0"/>
                </a:tc>
                <a:tc>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pPr algn="just">
                        <a:spcAft>
                          <a:spcPts val="0"/>
                        </a:spcAft>
                      </a:pP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tc>
              </a:tr>
              <a:tr h="297006">
                <a:tc>
                  <a:txBody>
                    <a:bodyPr/>
                    <a:lstStyle/>
                    <a:p>
                      <a:pPr algn="just">
                        <a:spcAft>
                          <a:spcPts val="0"/>
                        </a:spcAft>
                      </a:pPr>
                      <a:r>
                        <a:rPr lang="en-US" sz="600" kern="100">
                          <a:effectLst/>
                        </a:rPr>
                        <a:t> </a:t>
                      </a:r>
                      <a:endParaRPr lang="zh-CN" sz="600" kern="100">
                        <a:effectLst/>
                        <a:latin typeface="Times New Roman"/>
                        <a:ea typeface="宋体"/>
                      </a:endParaRPr>
                    </a:p>
                  </a:txBody>
                  <a:tcPr marL="40764" marR="40764" marT="0" marB="0"/>
                </a:tc>
                <a:tc gridSpan="2">
                  <a:txBody>
                    <a:bodyPr/>
                    <a:lstStyle/>
                    <a:p>
                      <a:pPr indent="356870" algn="just">
                        <a:spcAft>
                          <a:spcPts val="0"/>
                        </a:spcAft>
                      </a:pPr>
                      <a:r>
                        <a:rPr lang="zh-CN" sz="900" kern="100">
                          <a:effectLst/>
                        </a:rPr>
                        <a:t>总</a:t>
                      </a:r>
                      <a:r>
                        <a:rPr lang="en-US" sz="900" kern="100">
                          <a:effectLst/>
                        </a:rPr>
                        <a:t>    </a:t>
                      </a:r>
                      <a:r>
                        <a:rPr lang="zh-CN" sz="900" kern="100">
                          <a:effectLst/>
                        </a:rPr>
                        <a:t>计</a:t>
                      </a:r>
                      <a:endParaRPr lang="zh-CN" sz="900" kern="100">
                        <a:effectLst/>
                        <a:latin typeface="Times New Roman"/>
                        <a:ea typeface="宋体"/>
                      </a:endParaRPr>
                    </a:p>
                  </a:txBody>
                  <a:tcPr marL="40764" marR="40764" marT="0" marB="0" anchor="ctr"/>
                </a:tc>
                <a:tc hMerge="1">
                  <a:txBody>
                    <a:bodyPr/>
                    <a:lstStyle/>
                    <a:p>
                      <a:pPr algn="just">
                        <a:spcAft>
                          <a:spcPts val="0"/>
                        </a:spcAft>
                      </a:pPr>
                      <a:endParaRPr lang="zh-CN" sz="900" kern="100">
                        <a:effectLst/>
                        <a:latin typeface="Times New Roman"/>
                        <a:ea typeface="宋体"/>
                      </a:endParaRPr>
                    </a:p>
                  </a:txBody>
                  <a:tcPr marL="40764" marR="40764" marT="0" marB="0"/>
                </a:tc>
                <a:tc>
                  <a:txBody>
                    <a:bodyPr/>
                    <a:lstStyle/>
                    <a:p>
                      <a:pPr algn="just">
                        <a:spcAft>
                          <a:spcPts val="0"/>
                        </a:spcAft>
                      </a:pPr>
                      <a:r>
                        <a:rPr lang="en-US" sz="900" kern="100">
                          <a:effectLst/>
                        </a:rPr>
                        <a:t> </a:t>
                      </a:r>
                      <a:endParaRPr lang="zh-CN" sz="900" kern="100">
                        <a:effectLst/>
                        <a:latin typeface="Times New Roman"/>
                        <a:ea typeface="宋体"/>
                      </a:endParaRPr>
                    </a:p>
                  </a:txBody>
                  <a:tcPr marL="40764" marR="40764" marT="0" marB="0"/>
                </a:tc>
                <a:tc gridSpan="4">
                  <a:txBody>
                    <a:bodyPr/>
                    <a:lstStyle/>
                    <a:p>
                      <a:pPr algn="just">
                        <a:spcAft>
                          <a:spcPts val="0"/>
                        </a:spcAft>
                      </a:pPr>
                      <a:r>
                        <a:rPr lang="en-US" sz="900" kern="100" dirty="0">
                          <a:effectLst/>
                        </a:rPr>
                        <a:t> </a:t>
                      </a:r>
                      <a:endParaRPr lang="zh-CN" sz="900" kern="100" dirty="0">
                        <a:effectLst/>
                        <a:latin typeface="Times New Roman"/>
                        <a:ea typeface="宋体"/>
                      </a:endParaRPr>
                    </a:p>
                  </a:txBody>
                  <a:tcPr marL="40764" marR="40764" marT="0" marB="0"/>
                </a:tc>
                <a:tc hMerge="1">
                  <a:txBody>
                    <a:bodyPr/>
                    <a:lstStyle/>
                    <a:p>
                      <a:pPr algn="just">
                        <a:spcAft>
                          <a:spcPts val="0"/>
                        </a:spcAft>
                      </a:pPr>
                      <a:endParaRPr lang="zh-CN" sz="900" kern="100" dirty="0">
                        <a:effectLst/>
                        <a:latin typeface="Times New Roman"/>
                        <a:ea typeface="宋体"/>
                      </a:endParaRPr>
                    </a:p>
                  </a:txBody>
                  <a:tcPr marL="40764" marR="40764" marT="0" marB="0"/>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tc>
              </a:tr>
              <a:tr h="372425">
                <a:tc gridSpan="3">
                  <a:txBody>
                    <a:bodyPr/>
                    <a:lstStyle/>
                    <a:p>
                      <a:pPr algn="l">
                        <a:spcAft>
                          <a:spcPts val="0"/>
                        </a:spcAft>
                      </a:pPr>
                      <a:r>
                        <a:rPr lang="zh-CN" sz="900" kern="100">
                          <a:effectLst/>
                        </a:rPr>
                        <a:t>经办人签字：</a:t>
                      </a:r>
                      <a:endParaRPr lang="zh-CN" sz="900" kern="100">
                        <a:effectLst/>
                        <a:latin typeface="Times New Roman"/>
                        <a:ea typeface="宋体"/>
                      </a:endParaRPr>
                    </a:p>
                  </a:txBody>
                  <a:tcPr marL="40764" marR="40764" marT="0" marB="0" anchor="ctr"/>
                </a:tc>
                <a:tc hMerge="1">
                  <a:txBody>
                    <a:bodyPr/>
                    <a:lstStyle/>
                    <a:p>
                      <a:endParaRPr lang="zh-CN" altLang="en-US"/>
                    </a:p>
                  </a:txBody>
                  <a:tcPr/>
                </a:tc>
                <a:tc hMerge="1">
                  <a:txBody>
                    <a:bodyPr/>
                    <a:lstStyle/>
                    <a:p>
                      <a:pPr algn="just">
                        <a:spcAft>
                          <a:spcPts val="0"/>
                        </a:spcAft>
                      </a:pPr>
                      <a:endParaRPr lang="zh-CN" sz="900" kern="100" dirty="0">
                        <a:effectLst/>
                        <a:latin typeface="Times New Roman"/>
                        <a:ea typeface="宋体"/>
                      </a:endParaRPr>
                    </a:p>
                  </a:txBody>
                  <a:tcPr marL="40764" marR="40764" marT="0" marB="0" anchor="ctr"/>
                </a:tc>
                <a:tc gridSpan="5">
                  <a:txBody>
                    <a:bodyPr/>
                    <a:lstStyle/>
                    <a:p>
                      <a:pPr algn="just">
                        <a:spcAft>
                          <a:spcPts val="0"/>
                        </a:spcAft>
                      </a:pPr>
                      <a:r>
                        <a:rPr lang="zh-CN" sz="900" kern="100" dirty="0">
                          <a:effectLst/>
                        </a:rPr>
                        <a:t>部门负责人签字：</a:t>
                      </a:r>
                      <a:endParaRPr lang="zh-CN" sz="900" kern="100" dirty="0">
                        <a:effectLst/>
                        <a:latin typeface="Times New Roman"/>
                        <a:ea typeface="宋体"/>
                      </a:endParaRPr>
                    </a:p>
                  </a:txBody>
                  <a:tcPr marL="40764" marR="40764" marT="0" marB="0" anchor="ctr"/>
                </a:tc>
                <a:tc hMerge="1">
                  <a:txBody>
                    <a:bodyPr/>
                    <a:lstStyle/>
                    <a:p>
                      <a:endParaRPr lang="zh-CN" altLang="en-US"/>
                    </a:p>
                  </a:txBody>
                  <a:tcPr/>
                </a:tc>
                <a:tc hMerge="1">
                  <a:txBody>
                    <a:bodyPr/>
                    <a:lstStyle/>
                    <a:p>
                      <a:pPr algn="just">
                        <a:spcAft>
                          <a:spcPts val="0"/>
                        </a:spcAft>
                      </a:pPr>
                      <a:endParaRPr lang="zh-CN" sz="600" kern="100">
                        <a:effectLst/>
                        <a:latin typeface="Times New Roman"/>
                        <a:ea typeface="宋体"/>
                      </a:endParaRPr>
                    </a:p>
                  </a:txBody>
                  <a:tcPr marL="40764" marR="40764" marT="0" marB="0" anchor="ctr"/>
                </a:tc>
                <a:tc hMerge="1">
                  <a:txBody>
                    <a:bodyPr/>
                    <a:lstStyle/>
                    <a:p>
                      <a:endParaRPr lang="zh-CN" altLang="en-US"/>
                    </a:p>
                  </a:txBody>
                  <a:tcPr/>
                </a:tc>
                <a:tc hMerge="1">
                  <a:txBody>
                    <a:bodyPr/>
                    <a:lstStyle/>
                    <a:p>
                      <a:endParaRPr lang="zh-CN" altLang="en-US"/>
                    </a:p>
                  </a:txBody>
                  <a:tcPr/>
                </a:tc>
              </a:tr>
              <a:tr h="372425">
                <a:tc gridSpan="8">
                  <a:txBody>
                    <a:bodyPr/>
                    <a:lstStyle/>
                    <a:p>
                      <a:pPr algn="just">
                        <a:spcAft>
                          <a:spcPts val="0"/>
                        </a:spcAft>
                      </a:pPr>
                      <a:r>
                        <a:rPr lang="zh-CN" sz="900" kern="100" dirty="0">
                          <a:effectLst/>
                        </a:rPr>
                        <a:t>党政办留存签字：</a:t>
                      </a:r>
                      <a:endParaRPr lang="zh-CN" sz="900" kern="100" dirty="0">
                        <a:effectLst/>
                        <a:latin typeface="Times New Roman"/>
                        <a:ea typeface="宋体"/>
                      </a:endParaRPr>
                    </a:p>
                  </a:txBody>
                  <a:tcPr marL="40764" marR="40764"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bl>
          </a:graphicData>
        </a:graphic>
      </p:graphicFrame>
      <p:sp>
        <p:nvSpPr>
          <p:cNvPr id="9" name="矩形 8"/>
          <p:cNvSpPr/>
          <p:nvPr/>
        </p:nvSpPr>
        <p:spPr>
          <a:xfrm>
            <a:off x="4695917" y="2971790"/>
            <a:ext cx="4572000" cy="338554"/>
          </a:xfrm>
          <a:prstGeom prst="rect">
            <a:avLst/>
          </a:prstGeom>
        </p:spPr>
        <p:txBody>
          <a:bodyPr>
            <a:spAutoFit/>
          </a:bodyPr>
          <a:lstStyle/>
          <a:p>
            <a:r>
              <a:rPr lang="zh-CN" altLang="zh-CN" sz="1600" b="1" dirty="0">
                <a:solidFill>
                  <a:srgbClr val="FF0000"/>
                </a:solidFill>
              </a:rPr>
              <a:t>注：发放专家咨询费报销时还需提供咨询报告</a:t>
            </a:r>
            <a:endParaRPr lang="zh-CN" altLang="en-US" sz="1600" b="1" dirty="0">
              <a:solidFill>
                <a:srgbClr val="FF0000"/>
              </a:solidFill>
            </a:endParaRPr>
          </a:p>
        </p:txBody>
      </p:sp>
      <p:sp>
        <p:nvSpPr>
          <p:cNvPr id="2" name="TextBox 1"/>
          <p:cNvSpPr txBox="1"/>
          <p:nvPr/>
        </p:nvSpPr>
        <p:spPr>
          <a:xfrm>
            <a:off x="98109" y="500052"/>
            <a:ext cx="492443" cy="3514725"/>
          </a:xfrm>
          <a:prstGeom prst="rect">
            <a:avLst/>
          </a:prstGeom>
          <a:noFill/>
        </p:spPr>
        <p:txBody>
          <a:bodyPr vert="eaVert" wrap="square" rtlCol="0">
            <a:spAutoFit/>
          </a:bodyPr>
          <a:lstStyle/>
          <a:p>
            <a:pPr algn="ctr"/>
            <a:r>
              <a:rPr lang="zh-CN" altLang="en-US" sz="2000" b="1" dirty="0" smtClean="0">
                <a:gradFill flip="none" rotWithShape="1">
                  <a:gsLst>
                    <a:gs pos="0">
                      <a:srgbClr val="04B5EC"/>
                    </a:gs>
                    <a:gs pos="100000">
                      <a:srgbClr val="00C88A"/>
                    </a:gs>
                  </a:gsLst>
                  <a:lin ang="0" scaled="1"/>
                  <a:tileRect/>
                </a:gradFill>
                <a:latin typeface="微软雅黑" pitchFamily="34" charset="-122"/>
                <a:ea typeface="微软雅黑" pitchFamily="34" charset="-122"/>
              </a:rPr>
              <a:t>会议</a:t>
            </a:r>
            <a:r>
              <a:rPr lang="zh-CN" altLang="en-US" sz="2000" b="1" dirty="0">
                <a:gradFill flip="none" rotWithShape="1">
                  <a:gsLst>
                    <a:gs pos="0">
                      <a:srgbClr val="04B5EC"/>
                    </a:gs>
                    <a:gs pos="100000">
                      <a:srgbClr val="00C88A"/>
                    </a:gs>
                  </a:gsLst>
                  <a:lin ang="0" scaled="1"/>
                  <a:tileRect/>
                </a:gradFill>
                <a:latin typeface="微软雅黑" pitchFamily="34" charset="-122"/>
                <a:ea typeface="微软雅黑" pitchFamily="34" charset="-122"/>
              </a:rPr>
              <a:t>预决算表</a:t>
            </a:r>
          </a:p>
        </p:txBody>
      </p:sp>
      <p:pic>
        <p:nvPicPr>
          <p:cNvPr id="10" name="图片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11" name="TextBox 10"/>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270430495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306"/>
          <p:cNvSpPr>
            <a:spLocks noChangeArrowheads="1"/>
          </p:cNvSpPr>
          <p:nvPr/>
        </p:nvSpPr>
        <p:spPr bwMode="auto">
          <a:xfrm>
            <a:off x="0" y="4572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zh-CN" altLang="zh-CN"/>
          </a:p>
        </p:txBody>
      </p:sp>
      <p:sp>
        <p:nvSpPr>
          <p:cNvPr id="4" name="矩形 3"/>
          <p:cNvSpPr/>
          <p:nvPr/>
        </p:nvSpPr>
        <p:spPr>
          <a:xfrm>
            <a:off x="1155687" y="2517744"/>
            <a:ext cx="5198512" cy="121514"/>
          </a:xfrm>
          <a:prstGeom prst="rect">
            <a:avLst/>
          </a:prstGeom>
          <a:solidFill>
            <a:srgbClr val="00A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 name="矩形 12"/>
          <p:cNvSpPr/>
          <p:nvPr/>
        </p:nvSpPr>
        <p:spPr>
          <a:xfrm>
            <a:off x="1155687" y="2720266"/>
            <a:ext cx="5164201" cy="121514"/>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00C88A"/>
          </a:solidFill>
          <a:ln>
            <a:solidFill>
              <a:srgbClr val="00C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6" name="组合 5"/>
          <p:cNvGrpSpPr/>
          <p:nvPr/>
        </p:nvGrpSpPr>
        <p:grpSpPr>
          <a:xfrm>
            <a:off x="6303601" y="1707654"/>
            <a:ext cx="1991405" cy="1944216"/>
            <a:chOff x="8404007" y="2276872"/>
            <a:chExt cx="2655206" cy="2592288"/>
          </a:xfrm>
        </p:grpSpPr>
        <p:sp>
          <p:nvSpPr>
            <p:cNvPr id="7"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00A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8"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00C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Group 73"/>
            <p:cNvGrpSpPr/>
            <p:nvPr>
              <p:custDataLst>
                <p:tags r:id="rId1"/>
              </p:custDataLst>
            </p:nvPr>
          </p:nvGrpSpPr>
          <p:grpSpPr>
            <a:xfrm>
              <a:off x="9167718" y="2905458"/>
              <a:ext cx="1127785" cy="451534"/>
              <a:chOff x="683122" y="3143325"/>
              <a:chExt cx="1092016" cy="428533"/>
            </a:xfrm>
          </p:grpSpPr>
          <p:pic>
            <p:nvPicPr>
              <p:cNvPr id="13"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14"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10"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15" name="Freeform 91"/>
          <p:cNvSpPr>
            <a:spLocks noEditPoints="1"/>
          </p:cNvSpPr>
          <p:nvPr/>
        </p:nvSpPr>
        <p:spPr bwMode="auto">
          <a:xfrm>
            <a:off x="1169622" y="1383618"/>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0091C4"/>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16" name="Freeform 80"/>
          <p:cNvSpPr>
            <a:spLocks noEditPoints="1"/>
          </p:cNvSpPr>
          <p:nvPr/>
        </p:nvSpPr>
        <p:spPr bwMode="auto">
          <a:xfrm>
            <a:off x="1169622" y="3054148"/>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rgbClr val="74B230"/>
          </a:solidFill>
          <a:ln>
            <a:noFill/>
          </a:ln>
        </p:spPr>
        <p:txBody>
          <a:bodyPr vert="horz" wrap="square" lIns="51428" tIns="25715" rIns="51428" bIns="25715" numCol="1" anchor="t" anchorCtr="0" compatLnSpc="1">
            <a:prstTxWarp prst="textNoShape">
              <a:avLst/>
            </a:prstTxWarp>
          </a:bodyPr>
          <a:lstStyle/>
          <a:p>
            <a:endParaRPr lang="en-US" sz="1013"/>
          </a:p>
        </p:txBody>
      </p:sp>
      <p:grpSp>
        <p:nvGrpSpPr>
          <p:cNvPr id="17" name="组合 16"/>
          <p:cNvGrpSpPr/>
          <p:nvPr/>
        </p:nvGrpSpPr>
        <p:grpSpPr>
          <a:xfrm>
            <a:off x="1169622" y="1113588"/>
            <a:ext cx="6183687" cy="540060"/>
            <a:chOff x="1558702" y="1628800"/>
            <a:chExt cx="8244916" cy="720080"/>
          </a:xfrm>
          <a:solidFill>
            <a:srgbClr val="00A1DA"/>
          </a:solidFill>
        </p:grpSpPr>
        <p:cxnSp>
          <p:nvCxnSpPr>
            <p:cNvPr id="18" name="直接连接符 6"/>
            <p:cNvCxnSpPr/>
            <p:nvPr/>
          </p:nvCxnSpPr>
          <p:spPr>
            <a:xfrm>
              <a:off x="1558702" y="1628800"/>
              <a:ext cx="8172908" cy="648072"/>
            </a:xfrm>
            <a:prstGeom prst="bentConnector3">
              <a:avLst>
                <a:gd name="adj1" fmla="val 99935"/>
              </a:avLst>
            </a:prstGeom>
            <a:grpFill/>
            <a:ln>
              <a:solidFill>
                <a:srgbClr val="00A1DA"/>
              </a:solidFill>
              <a:prstDash val="sysDash"/>
            </a:ln>
          </p:spPr>
          <p:style>
            <a:lnRef idx="1">
              <a:schemeClr val="accent1"/>
            </a:lnRef>
            <a:fillRef idx="0">
              <a:schemeClr val="accent1"/>
            </a:fillRef>
            <a:effectRef idx="0">
              <a:schemeClr val="accent1"/>
            </a:effectRef>
            <a:fontRef idx="minor">
              <a:schemeClr val="tx1"/>
            </a:fontRef>
          </p:style>
        </p:cxnSp>
        <p:sp>
          <p:nvSpPr>
            <p:cNvPr id="19" name="椭圆 18"/>
            <p:cNvSpPr/>
            <p:nvPr/>
          </p:nvSpPr>
          <p:spPr>
            <a:xfrm>
              <a:off x="9659602" y="2204864"/>
              <a:ext cx="144016" cy="144016"/>
            </a:xfrm>
            <a:prstGeom prst="ellipse">
              <a:avLst/>
            </a:prstGeom>
            <a:grpFill/>
            <a:ln>
              <a:solidFill>
                <a:srgbClr val="00A1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20" name="组合 19"/>
          <p:cNvGrpSpPr/>
          <p:nvPr/>
        </p:nvGrpSpPr>
        <p:grpSpPr>
          <a:xfrm flipV="1">
            <a:off x="1169622" y="3705876"/>
            <a:ext cx="6183687" cy="540060"/>
            <a:chOff x="1558702" y="5301208"/>
            <a:chExt cx="8244916" cy="720080"/>
          </a:xfrm>
          <a:solidFill>
            <a:srgbClr val="00C88A"/>
          </a:solidFill>
        </p:grpSpPr>
        <p:cxnSp>
          <p:nvCxnSpPr>
            <p:cNvPr id="22" name="直接连接符 6"/>
            <p:cNvCxnSpPr/>
            <p:nvPr/>
          </p:nvCxnSpPr>
          <p:spPr>
            <a:xfrm>
              <a:off x="1558702" y="5301208"/>
              <a:ext cx="8172908" cy="648072"/>
            </a:xfrm>
            <a:prstGeom prst="bentConnector3">
              <a:avLst>
                <a:gd name="adj1" fmla="val 99935"/>
              </a:avLst>
            </a:prstGeom>
            <a:grpFill/>
            <a:ln>
              <a:solidFill>
                <a:srgbClr val="00C88A"/>
              </a:solidFill>
              <a:prstDash val="sysDash"/>
            </a:ln>
          </p:spPr>
          <p:style>
            <a:lnRef idx="1">
              <a:schemeClr val="accent1"/>
            </a:lnRef>
            <a:fillRef idx="0">
              <a:schemeClr val="accent1"/>
            </a:fillRef>
            <a:effectRef idx="0">
              <a:schemeClr val="accent1"/>
            </a:effectRef>
            <a:fontRef idx="minor">
              <a:schemeClr val="tx1"/>
            </a:fontRef>
          </p:style>
        </p:cxnSp>
        <p:sp>
          <p:nvSpPr>
            <p:cNvPr id="23" name="椭圆 22"/>
            <p:cNvSpPr/>
            <p:nvPr/>
          </p:nvSpPr>
          <p:spPr>
            <a:xfrm>
              <a:off x="9659602" y="5877272"/>
              <a:ext cx="144016" cy="144016"/>
            </a:xfrm>
            <a:prstGeom prst="ellipse">
              <a:avLst/>
            </a:prstGeom>
            <a:grpFill/>
            <a:ln>
              <a:solidFill>
                <a:srgbClr val="00C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25" name="矩形 24"/>
          <p:cNvSpPr/>
          <p:nvPr/>
        </p:nvSpPr>
        <p:spPr>
          <a:xfrm>
            <a:off x="1527530" y="1364568"/>
            <a:ext cx="4644669" cy="1061829"/>
          </a:xfrm>
          <a:prstGeom prst="rect">
            <a:avLst/>
          </a:prstGeom>
        </p:spPr>
        <p:txBody>
          <a:bodyPr wrap="square">
            <a:spAutoFit/>
          </a:bodyPr>
          <a:lstStyle/>
          <a:p>
            <a:pPr>
              <a:lnSpc>
                <a:spcPct val="120000"/>
              </a:lnSpc>
            </a:pPr>
            <a:r>
              <a:rPr lang="zh-CN" altLang="en-US" sz="1050" b="1" dirty="0">
                <a:solidFill>
                  <a:schemeClr val="tx1">
                    <a:lumMod val="75000"/>
                    <a:lumOff val="25000"/>
                  </a:schemeClr>
                </a:solidFill>
                <a:latin typeface="微软雅黑" pitchFamily="34" charset="-122"/>
                <a:ea typeface="微软雅黑" pitchFamily="34" charset="-122"/>
              </a:rPr>
              <a:t>杜淑霞：</a:t>
            </a:r>
            <a:r>
              <a:rPr lang="zh-CN" altLang="en-US" sz="1050" dirty="0">
                <a:solidFill>
                  <a:schemeClr val="tx1">
                    <a:lumMod val="75000"/>
                    <a:lumOff val="25000"/>
                  </a:schemeClr>
                </a:solidFill>
                <a:latin typeface="微软雅黑" pitchFamily="34" charset="-122"/>
                <a:ea typeface="微软雅黑" pitchFamily="34" charset="-122"/>
              </a:rPr>
              <a:t>氟化学、推进剂实验室、先进材料中心</a:t>
            </a:r>
          </a:p>
          <a:p>
            <a:pPr>
              <a:lnSpc>
                <a:spcPct val="120000"/>
              </a:lnSpc>
            </a:pPr>
            <a:r>
              <a:rPr lang="zh-CN" altLang="en-US" sz="1050" b="1" dirty="0">
                <a:solidFill>
                  <a:schemeClr val="tx1">
                    <a:lumMod val="75000"/>
                    <a:lumOff val="25000"/>
                  </a:schemeClr>
                </a:solidFill>
                <a:latin typeface="微软雅黑" pitchFamily="34" charset="-122"/>
                <a:ea typeface="微软雅黑" pitchFamily="34" charset="-122"/>
              </a:rPr>
              <a:t>李好：</a:t>
            </a:r>
            <a:r>
              <a:rPr lang="zh-CN" altLang="en-US" sz="1050" dirty="0">
                <a:solidFill>
                  <a:schemeClr val="tx1">
                    <a:lumMod val="75000"/>
                    <a:lumOff val="25000"/>
                  </a:schemeClr>
                </a:solidFill>
                <a:latin typeface="微软雅黑" pitchFamily="34" charset="-122"/>
                <a:ea typeface="微软雅黑" pitchFamily="34" charset="-122"/>
              </a:rPr>
              <a:t>生命实验室、党办、人事、科研、监审、研究生部、基建、财务</a:t>
            </a:r>
          </a:p>
          <a:p>
            <a:pPr>
              <a:lnSpc>
                <a:spcPct val="120000"/>
              </a:lnSpc>
            </a:pPr>
            <a:r>
              <a:rPr lang="zh-CN" altLang="en-US" sz="1050" b="1" dirty="0">
                <a:solidFill>
                  <a:schemeClr val="tx1">
                    <a:lumMod val="75000"/>
                    <a:lumOff val="25000"/>
                  </a:schemeClr>
                </a:solidFill>
                <a:latin typeface="微软雅黑" pitchFamily="34" charset="-122"/>
                <a:ea typeface="微软雅黑" pitchFamily="34" charset="-122"/>
              </a:rPr>
              <a:t>郭磊：</a:t>
            </a:r>
            <a:r>
              <a:rPr lang="zh-CN" altLang="en-US" sz="1050" dirty="0">
                <a:solidFill>
                  <a:schemeClr val="tx1">
                    <a:lumMod val="75000"/>
                    <a:lumOff val="25000"/>
                  </a:schemeClr>
                </a:solidFill>
                <a:latin typeface="微软雅黑" pitchFamily="34" charset="-122"/>
                <a:ea typeface="微软雅黑" pitchFamily="34" charset="-122"/>
              </a:rPr>
              <a:t>金属、沪港实验室、综合服务管理部门</a:t>
            </a:r>
          </a:p>
          <a:p>
            <a:pPr>
              <a:lnSpc>
                <a:spcPct val="120000"/>
              </a:lnSpc>
            </a:pPr>
            <a:r>
              <a:rPr lang="zh-CN" altLang="en-US" sz="1050" b="1" dirty="0">
                <a:solidFill>
                  <a:schemeClr val="tx1">
                    <a:lumMod val="75000"/>
                    <a:lumOff val="25000"/>
                  </a:schemeClr>
                </a:solidFill>
                <a:latin typeface="微软雅黑" pitchFamily="34" charset="-122"/>
                <a:ea typeface="微软雅黑" pitchFamily="34" charset="-122"/>
              </a:rPr>
              <a:t>尹航：</a:t>
            </a:r>
            <a:r>
              <a:rPr lang="zh-CN" altLang="en-US" sz="1050" dirty="0">
                <a:solidFill>
                  <a:schemeClr val="tx1">
                    <a:lumMod val="75000"/>
                    <a:lumOff val="25000"/>
                  </a:schemeClr>
                </a:solidFill>
                <a:latin typeface="微软雅黑" pitchFamily="34" charset="-122"/>
                <a:ea typeface="微软雅黑" pitchFamily="34" charset="-122"/>
              </a:rPr>
              <a:t>有机功能、物理有机、计算化学实验室、公共技术服务中心、分析测试中心、学报、信息中心</a:t>
            </a:r>
          </a:p>
        </p:txBody>
      </p:sp>
      <p:sp>
        <p:nvSpPr>
          <p:cNvPr id="27" name="矩形 26"/>
          <p:cNvSpPr/>
          <p:nvPr/>
        </p:nvSpPr>
        <p:spPr>
          <a:xfrm>
            <a:off x="1520688" y="3051470"/>
            <a:ext cx="4420512" cy="674031"/>
          </a:xfrm>
          <a:prstGeom prst="rect">
            <a:avLst/>
          </a:prstGeom>
        </p:spPr>
        <p:txBody>
          <a:bodyPr wrap="square">
            <a:spAutoFit/>
          </a:bodyPr>
          <a:lstStyle/>
          <a:p>
            <a:pPr>
              <a:lnSpc>
                <a:spcPct val="120000"/>
              </a:lnSpc>
            </a:pPr>
            <a:r>
              <a:rPr lang="zh-CN" altLang="en-US" sz="1050" b="1" dirty="0">
                <a:solidFill>
                  <a:schemeClr val="tx1">
                    <a:lumMod val="75000"/>
                    <a:lumOff val="25000"/>
                  </a:schemeClr>
                </a:solidFill>
                <a:latin typeface="微软雅黑" pitchFamily="34" charset="-122"/>
                <a:ea typeface="微软雅黑" pitchFamily="34" charset="-122"/>
              </a:rPr>
              <a:t>许方齐：</a:t>
            </a:r>
            <a:r>
              <a:rPr lang="zh-CN" altLang="en-US" sz="1050" dirty="0">
                <a:solidFill>
                  <a:schemeClr val="tx1">
                    <a:lumMod val="75000"/>
                    <a:lumOff val="25000"/>
                  </a:schemeClr>
                </a:solidFill>
                <a:latin typeface="微软雅黑" pitchFamily="34" charset="-122"/>
                <a:ea typeface="微软雅黑" pitchFamily="34" charset="-122"/>
              </a:rPr>
              <a:t>天然产物实验室、物质供应中心</a:t>
            </a:r>
          </a:p>
          <a:p>
            <a:pPr>
              <a:lnSpc>
                <a:spcPct val="120000"/>
              </a:lnSpc>
            </a:pPr>
            <a:r>
              <a:rPr lang="zh-CN" altLang="en-US" sz="1050" b="1" dirty="0">
                <a:solidFill>
                  <a:schemeClr val="tx1">
                    <a:lumMod val="75000"/>
                    <a:lumOff val="25000"/>
                  </a:schemeClr>
                </a:solidFill>
                <a:latin typeface="微软雅黑" pitchFamily="34" charset="-122"/>
                <a:ea typeface="微软雅黑" pitchFamily="34" charset="-122"/>
              </a:rPr>
              <a:t>单军：</a:t>
            </a:r>
            <a:r>
              <a:rPr lang="zh-CN" altLang="en-US" sz="1050" dirty="0">
                <a:solidFill>
                  <a:schemeClr val="tx1">
                    <a:lumMod val="75000"/>
                    <a:lumOff val="25000"/>
                  </a:schemeClr>
                </a:solidFill>
                <a:latin typeface="微软雅黑" pitchFamily="34" charset="-122"/>
                <a:ea typeface="微软雅黑" pitchFamily="34" charset="-122"/>
              </a:rPr>
              <a:t>交叉中心（银行部分）</a:t>
            </a:r>
          </a:p>
          <a:p>
            <a:pPr>
              <a:lnSpc>
                <a:spcPct val="120000"/>
              </a:lnSpc>
            </a:pPr>
            <a:r>
              <a:rPr lang="zh-CN" altLang="en-US" sz="1050" b="1" dirty="0">
                <a:solidFill>
                  <a:schemeClr val="tx1">
                    <a:lumMod val="75000"/>
                    <a:lumOff val="25000"/>
                  </a:schemeClr>
                </a:solidFill>
                <a:latin typeface="微软雅黑" pitchFamily="34" charset="-122"/>
                <a:ea typeface="微软雅黑" pitchFamily="34" charset="-122"/>
              </a:rPr>
              <a:t>张欢：</a:t>
            </a:r>
            <a:r>
              <a:rPr lang="zh-CN" altLang="en-US" sz="1050" dirty="0">
                <a:solidFill>
                  <a:schemeClr val="tx1">
                    <a:lumMod val="75000"/>
                    <a:lumOff val="25000"/>
                  </a:schemeClr>
                </a:solidFill>
                <a:latin typeface="微软雅黑" pitchFamily="34" charset="-122"/>
                <a:ea typeface="微软雅黑" pitchFamily="34" charset="-122"/>
              </a:rPr>
              <a:t>交叉中心（现金部分）</a:t>
            </a:r>
          </a:p>
        </p:txBody>
      </p:sp>
      <p:pic>
        <p:nvPicPr>
          <p:cNvPr id="24" name="图片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3330" y="114549"/>
            <a:ext cx="1450728" cy="731460"/>
          </a:xfrm>
          <a:prstGeom prst="rect">
            <a:avLst/>
          </a:prstGeom>
        </p:spPr>
      </p:pic>
      <p:sp>
        <p:nvSpPr>
          <p:cNvPr id="26" name="TextBox 25"/>
          <p:cNvSpPr txBox="1"/>
          <p:nvPr/>
        </p:nvSpPr>
        <p:spPr>
          <a:xfrm>
            <a:off x="-47625" y="171450"/>
            <a:ext cx="1155948" cy="461665"/>
          </a:xfrm>
          <a:prstGeom prst="rect">
            <a:avLst/>
          </a:prstGeom>
          <a:noFill/>
        </p:spPr>
        <p:txBody>
          <a:bodyPr wrap="square" rtlCol="0">
            <a:spAutoFit/>
          </a:bodyPr>
          <a:lstStyle/>
          <a:p>
            <a:r>
              <a:rPr lang="zh-CN" altLang="en-US" sz="2400" b="1" dirty="0" smtClean="0">
                <a:latin typeface="黑体" panose="02010609060101010101" pitchFamily="49" charset="-122"/>
                <a:ea typeface="黑体" panose="02010609060101010101" pitchFamily="49" charset="-122"/>
              </a:rPr>
              <a:t> 其他</a:t>
            </a:r>
            <a:endParaRPr lang="zh-CN" altLang="en-US" sz="2400"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49498163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22" presetClass="entr" presetSubtype="2"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wipe(right)">
                                      <p:cBhvr>
                                        <p:cTn id="12" dur="500"/>
                                        <p:tgtEl>
                                          <p:spTgt spid="4"/>
                                        </p:tgtEl>
                                      </p:cBhvr>
                                    </p:animEffect>
                                  </p:childTnLst>
                                </p:cTn>
                              </p:par>
                              <p:par>
                                <p:cTn id="13" presetID="22" presetClass="entr" presetSubtype="2" fill="hold" grpId="0" nodeType="withEffect">
                                  <p:stCondLst>
                                    <p:cond delay="500"/>
                                  </p:stCondLst>
                                  <p:childTnLst>
                                    <p:set>
                                      <p:cBhvr>
                                        <p:cTn id="14" dur="1" fill="hold">
                                          <p:stCondLst>
                                            <p:cond delay="0"/>
                                          </p:stCondLst>
                                        </p:cTn>
                                        <p:tgtEl>
                                          <p:spTgt spid="5"/>
                                        </p:tgtEl>
                                        <p:attrNameLst>
                                          <p:attrName>style.visibility</p:attrName>
                                        </p:attrNameLst>
                                      </p:cBhvr>
                                      <p:to>
                                        <p:strVal val="visible"/>
                                      </p:to>
                                    </p:set>
                                    <p:animEffect transition="in" filter="wipe(right)">
                                      <p:cBhvr>
                                        <p:cTn id="15" dur="500"/>
                                        <p:tgtEl>
                                          <p:spTgt spid="5"/>
                                        </p:tgtEl>
                                      </p:cBhvr>
                                    </p:animEffect>
                                  </p:childTnLst>
                                </p:cTn>
                              </p:par>
                              <p:par>
                                <p:cTn id="16" presetID="22" presetClass="entr" presetSubtype="2" fill="hold" nodeType="withEffect">
                                  <p:stCondLst>
                                    <p:cond delay="500"/>
                                  </p:stCondLst>
                                  <p:childTnLst>
                                    <p:set>
                                      <p:cBhvr>
                                        <p:cTn id="17" dur="1" fill="hold">
                                          <p:stCondLst>
                                            <p:cond delay="0"/>
                                          </p:stCondLst>
                                        </p:cTn>
                                        <p:tgtEl>
                                          <p:spTgt spid="17"/>
                                        </p:tgtEl>
                                        <p:attrNameLst>
                                          <p:attrName>style.visibility</p:attrName>
                                        </p:attrNameLst>
                                      </p:cBhvr>
                                      <p:to>
                                        <p:strVal val="visible"/>
                                      </p:to>
                                    </p:set>
                                    <p:animEffect transition="in" filter="wipe(right)">
                                      <p:cBhvr>
                                        <p:cTn id="18" dur="500"/>
                                        <p:tgtEl>
                                          <p:spTgt spid="17"/>
                                        </p:tgtEl>
                                      </p:cBhvr>
                                    </p:animEffect>
                                  </p:childTnLst>
                                </p:cTn>
                              </p:par>
                              <p:par>
                                <p:cTn id="19" presetID="22" presetClass="entr" presetSubtype="2" fill="hold" nodeType="withEffect">
                                  <p:stCondLst>
                                    <p:cond delay="500"/>
                                  </p:stCondLst>
                                  <p:childTnLst>
                                    <p:set>
                                      <p:cBhvr>
                                        <p:cTn id="20" dur="1" fill="hold">
                                          <p:stCondLst>
                                            <p:cond delay="0"/>
                                          </p:stCondLst>
                                        </p:cTn>
                                        <p:tgtEl>
                                          <p:spTgt spid="20"/>
                                        </p:tgtEl>
                                        <p:attrNameLst>
                                          <p:attrName>style.visibility</p:attrName>
                                        </p:attrNameLst>
                                      </p:cBhvr>
                                      <p:to>
                                        <p:strVal val="visible"/>
                                      </p:to>
                                    </p:set>
                                    <p:animEffect transition="in" filter="wipe(right)">
                                      <p:cBhvr>
                                        <p:cTn id="21" dur="500"/>
                                        <p:tgtEl>
                                          <p:spTgt spid="20"/>
                                        </p:tgtEl>
                                      </p:cBhvr>
                                    </p:animEffect>
                                  </p:childTnLst>
                                </p:cTn>
                              </p:par>
                              <p:par>
                                <p:cTn id="22" presetID="22" presetClass="entr" presetSubtype="2" fill="hold" grpId="0" nodeType="withEffect">
                                  <p:stCondLst>
                                    <p:cond delay="1000"/>
                                  </p:stCondLst>
                                  <p:childTnLst>
                                    <p:set>
                                      <p:cBhvr>
                                        <p:cTn id="23" dur="1" fill="hold">
                                          <p:stCondLst>
                                            <p:cond delay="0"/>
                                          </p:stCondLst>
                                        </p:cTn>
                                        <p:tgtEl>
                                          <p:spTgt spid="15"/>
                                        </p:tgtEl>
                                        <p:attrNameLst>
                                          <p:attrName>style.visibility</p:attrName>
                                        </p:attrNameLst>
                                      </p:cBhvr>
                                      <p:to>
                                        <p:strVal val="visible"/>
                                      </p:to>
                                    </p:set>
                                    <p:animEffect transition="in" filter="wipe(right)">
                                      <p:cBhvr>
                                        <p:cTn id="24" dur="500"/>
                                        <p:tgtEl>
                                          <p:spTgt spid="15"/>
                                        </p:tgtEl>
                                      </p:cBhvr>
                                    </p:animEffect>
                                  </p:childTnLst>
                                </p:cTn>
                              </p:par>
                              <p:par>
                                <p:cTn id="25" presetID="22" presetClass="entr" presetSubtype="2" fill="hold" grpId="0" nodeType="withEffect">
                                  <p:stCondLst>
                                    <p:cond delay="1000"/>
                                  </p:stCondLst>
                                  <p:childTnLst>
                                    <p:set>
                                      <p:cBhvr>
                                        <p:cTn id="26" dur="1" fill="hold">
                                          <p:stCondLst>
                                            <p:cond delay="0"/>
                                          </p:stCondLst>
                                        </p:cTn>
                                        <p:tgtEl>
                                          <p:spTgt spid="16"/>
                                        </p:tgtEl>
                                        <p:attrNameLst>
                                          <p:attrName>style.visibility</p:attrName>
                                        </p:attrNameLst>
                                      </p:cBhvr>
                                      <p:to>
                                        <p:strVal val="visible"/>
                                      </p:to>
                                    </p:set>
                                    <p:animEffect transition="in" filter="wipe(right)">
                                      <p:cBhvr>
                                        <p:cTn id="27" dur="500"/>
                                        <p:tgtEl>
                                          <p:spTgt spid="16"/>
                                        </p:tgtEl>
                                      </p:cBhvr>
                                    </p:animEffect>
                                  </p:childTnLst>
                                </p:cTn>
                              </p:par>
                            </p:childTnLst>
                          </p:cTn>
                        </p:par>
                        <p:par>
                          <p:cTn id="28" fill="hold">
                            <p:stCondLst>
                              <p:cond delay="1500"/>
                            </p:stCondLst>
                            <p:childTnLst>
                              <p:par>
                                <p:cTn id="29" presetID="14" presetClass="entr" presetSubtype="10" fill="hold" grpId="0"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randombar(horizontal)">
                                      <p:cBhvr>
                                        <p:cTn id="31" dur="250"/>
                                        <p:tgtEl>
                                          <p:spTgt spid="25"/>
                                        </p:tgtEl>
                                      </p:cBhvr>
                                    </p:animEffect>
                                  </p:childTnLst>
                                </p:cTn>
                              </p:par>
                            </p:childTnLst>
                          </p:cTn>
                        </p:par>
                        <p:par>
                          <p:cTn id="32" fill="hold">
                            <p:stCondLst>
                              <p:cond delay="1750"/>
                            </p:stCondLst>
                            <p:childTnLst>
                              <p:par>
                                <p:cTn id="33" presetID="14" presetClass="entr" presetSubtype="10" fill="hold" grpId="0"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randombar(horizontal)">
                                      <p:cBhvr>
                                        <p:cTn id="35"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5" grpId="0" animBg="1"/>
      <p:bldP spid="16" grpId="0" animBg="1"/>
      <p:bldP spid="25" grpId="0"/>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圆角矩形 21"/>
          <p:cNvSpPr/>
          <p:nvPr/>
        </p:nvSpPr>
        <p:spPr>
          <a:xfrm>
            <a:off x="211860" y="442113"/>
            <a:ext cx="131039" cy="4320386"/>
          </a:xfrm>
          <a:prstGeom prst="roundRect">
            <a:avLst>
              <a:gd name="adj" fmla="val 50000"/>
            </a:avLst>
          </a:prstGeom>
          <a:gradFill flip="none" rotWithShape="1">
            <a:gsLst>
              <a:gs pos="100000">
                <a:srgbClr val="878787"/>
              </a:gs>
              <a:gs pos="0">
                <a:sysClr val="window" lastClr="FFFFFF">
                  <a:lumMod val="85000"/>
                  <a:shade val="30000"/>
                  <a:satMod val="115000"/>
                </a:sysClr>
              </a:gs>
              <a:gs pos="45000">
                <a:sysClr val="window" lastClr="FFFFFF">
                  <a:lumMod val="85000"/>
                  <a:shade val="67500"/>
                  <a:satMod val="115000"/>
                </a:sysClr>
              </a:gs>
              <a:gs pos="62000">
                <a:sysClr val="window" lastClr="FFFFFF">
                  <a:lumMod val="85000"/>
                  <a:shade val="100000"/>
                  <a:satMod val="115000"/>
                </a:sysClr>
              </a:gs>
            </a:gsLst>
            <a:lin ang="10800000" scaled="1"/>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矩形 24"/>
          <p:cNvSpPr/>
          <p:nvPr/>
        </p:nvSpPr>
        <p:spPr>
          <a:xfrm>
            <a:off x="0" y="4762499"/>
            <a:ext cx="9144000" cy="381719"/>
          </a:xfrm>
          <a:prstGeom prst="rect">
            <a:avLst/>
          </a:prstGeom>
          <a:gradFill flip="none" rotWithShape="1">
            <a:gsLst>
              <a:gs pos="48320">
                <a:srgbClr val="E6C29A"/>
              </a:gs>
              <a:gs pos="100000">
                <a:srgbClr val="8C6233"/>
              </a:gs>
              <a:gs pos="0">
                <a:srgbClr val="DEA464">
                  <a:shade val="30000"/>
                  <a:satMod val="115000"/>
                </a:srgbClr>
              </a:gs>
              <a:gs pos="8000">
                <a:srgbClr val="DEA464">
                  <a:shade val="67500"/>
                  <a:satMod val="115000"/>
                </a:srgbClr>
              </a:gs>
              <a:gs pos="92000">
                <a:srgbClr val="DEA464">
                  <a:shade val="100000"/>
                  <a:satMod val="115000"/>
                </a:srgbClr>
              </a:gs>
            </a:gsLst>
            <a:lin ang="0" scaled="1"/>
            <a:tileRect/>
          </a:gradFill>
          <a:ln w="25400" cap="flat" cmpd="sng" algn="ctr">
            <a:noFill/>
            <a:prstDash val="solid"/>
          </a:ln>
          <a:effectLst>
            <a:outerShdw blurRad="50800" dist="38100" dir="16200000"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圆角矩形 26"/>
          <p:cNvSpPr/>
          <p:nvPr/>
        </p:nvSpPr>
        <p:spPr>
          <a:xfrm>
            <a:off x="156915" y="9652"/>
            <a:ext cx="2251952" cy="432460"/>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圆角矩形 27"/>
          <p:cNvSpPr/>
          <p:nvPr/>
        </p:nvSpPr>
        <p:spPr>
          <a:xfrm>
            <a:off x="4658894" y="32163"/>
            <a:ext cx="2112808" cy="420430"/>
          </a:xfrm>
          <a:prstGeom prst="roundRect">
            <a:avLst/>
          </a:prstGeom>
          <a:gradFill flip="none" rotWithShape="1">
            <a:gsLst>
              <a:gs pos="100000">
                <a:srgbClr val="963F00"/>
              </a:gs>
              <a:gs pos="0">
                <a:srgbClr val="F79646">
                  <a:lumMod val="75000"/>
                  <a:shade val="30000"/>
                  <a:satMod val="115000"/>
                </a:srgbClr>
              </a:gs>
              <a:gs pos="6000">
                <a:srgbClr val="F79646">
                  <a:lumMod val="75000"/>
                  <a:shade val="67500"/>
                  <a:satMod val="115000"/>
                </a:srgbClr>
              </a:gs>
              <a:gs pos="89000">
                <a:srgbClr val="F79646">
                  <a:lumMod val="75000"/>
                  <a:shade val="100000"/>
                  <a:satMod val="115000"/>
                </a:srgbClr>
              </a:gs>
            </a:gsLst>
            <a:lin ang="10800000" scaled="1"/>
            <a:tileRect/>
          </a:gra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TextBox 28"/>
          <p:cNvSpPr txBox="1"/>
          <p:nvPr/>
        </p:nvSpPr>
        <p:spPr>
          <a:xfrm>
            <a:off x="5087298" y="114038"/>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职责要求</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35" name="TextBox 34"/>
          <p:cNvSpPr txBox="1"/>
          <p:nvPr/>
        </p:nvSpPr>
        <p:spPr>
          <a:xfrm>
            <a:off x="1781600" y="4667250"/>
            <a:ext cx="5318720" cy="492443"/>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itchFamily="34" charset="0"/>
                <a:ea typeface="微软雅黑" pitchFamily="34" charset="-122"/>
                <a:cs typeface="Calibri" pitchFamily="34" charset="0"/>
              </a:defRPr>
            </a:lvl1p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ysClr val="windowText" lastClr="000000">
                    <a:lumMod val="75000"/>
                    <a:lumOff val="25000"/>
                  </a:sysClr>
                </a:solidFill>
                <a:effectLst>
                  <a:outerShdw dist="38100" dir="5400000" algn="t" rotWithShape="0">
                    <a:sysClr val="window" lastClr="FFFFFF">
                      <a:alpha val="48000"/>
                    </a:sysClr>
                  </a:outerShdw>
                </a:effectLst>
                <a:uLnTx/>
                <a:uFillTx/>
                <a:latin typeface="Agency FB" pitchFamily="34" charset="0"/>
                <a:ea typeface="微软雅黑" pitchFamily="34" charset="-122"/>
                <a:cs typeface="Calibri" pitchFamily="34" charset="0"/>
              </a:rPr>
              <a:t>科研财务助理制度</a:t>
            </a:r>
            <a:endParaRPr kumimoji="0" lang="zh-CN" altLang="en-US" sz="2000" b="1" i="0" u="none" strike="noStrike" kern="0" cap="none" spc="0" normalizeH="0" baseline="0" noProof="0" dirty="0">
              <a:ln>
                <a:noFill/>
              </a:ln>
              <a:solidFill>
                <a:sysClr val="windowText" lastClr="000000">
                  <a:lumMod val="75000"/>
                  <a:lumOff val="25000"/>
                </a:sysClr>
              </a:solidFill>
              <a:effectLst>
                <a:outerShdw dist="38100" dir="5400000" algn="t" rotWithShape="0">
                  <a:sysClr val="window" lastClr="FFFFFF">
                    <a:alpha val="48000"/>
                  </a:sysClr>
                </a:outerShdw>
              </a:effectLst>
              <a:uLnTx/>
              <a:uFillTx/>
              <a:latin typeface="Agency FB" pitchFamily="34" charset="0"/>
              <a:ea typeface="微软雅黑" pitchFamily="34" charset="-122"/>
              <a:cs typeface="Calibri" pitchFamily="34" charset="0"/>
            </a:endParaRPr>
          </a:p>
        </p:txBody>
      </p:sp>
      <p:sp>
        <p:nvSpPr>
          <p:cNvPr id="36" name="圆角矩形 35"/>
          <p:cNvSpPr/>
          <p:nvPr/>
        </p:nvSpPr>
        <p:spPr>
          <a:xfrm>
            <a:off x="2408867" y="20006"/>
            <a:ext cx="2251952" cy="420431"/>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圆角矩形 36"/>
          <p:cNvSpPr/>
          <p:nvPr/>
        </p:nvSpPr>
        <p:spPr>
          <a:xfrm>
            <a:off x="6773627" y="28575"/>
            <a:ext cx="2251952" cy="423063"/>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TextBox 37"/>
          <p:cNvSpPr txBox="1"/>
          <p:nvPr/>
        </p:nvSpPr>
        <p:spPr>
          <a:xfrm>
            <a:off x="606293" y="103558"/>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设置要求</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39" name="TextBox 38"/>
          <p:cNvSpPr txBox="1"/>
          <p:nvPr/>
        </p:nvSpPr>
        <p:spPr>
          <a:xfrm>
            <a:off x="2858245" y="86986"/>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经费保障</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40" name="TextBox 39"/>
          <p:cNvSpPr txBox="1"/>
          <p:nvPr/>
        </p:nvSpPr>
        <p:spPr>
          <a:xfrm>
            <a:off x="7223005" y="96206"/>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激励机制</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2" name="TextBox 1"/>
          <p:cNvSpPr txBox="1"/>
          <p:nvPr/>
        </p:nvSpPr>
        <p:spPr>
          <a:xfrm>
            <a:off x="617275" y="998020"/>
            <a:ext cx="7909450" cy="2896947"/>
          </a:xfrm>
          <a:prstGeom prst="rect">
            <a:avLst/>
          </a:prstGeom>
          <a:noFill/>
        </p:spPr>
        <p:txBody>
          <a:bodyPr wrap="square" rtlCol="0">
            <a:spAutoFit/>
          </a:bodyPr>
          <a:lstStyle/>
          <a:p>
            <a:pPr marL="457200" indent="-457200" fontAlgn="auto">
              <a:lnSpc>
                <a:spcPct val="150000"/>
              </a:lnSpc>
              <a:spcBef>
                <a:spcPts val="0"/>
              </a:spcBef>
              <a:spcAft>
                <a:spcPts val="0"/>
              </a:spcAft>
              <a:buClr>
                <a:srgbClr val="ECFE02"/>
              </a:buClr>
              <a:buFont typeface="Wingdings" pitchFamily="2" charset="2"/>
              <a:buChar char="l"/>
              <a:defRPr/>
            </a:pPr>
            <a:r>
              <a:rPr lang="zh-CN" altLang="zh-CN" b="1" dirty="0">
                <a:ln w="3175">
                  <a:solidFill>
                    <a:schemeClr val="tx1"/>
                  </a:solidFill>
                </a:ln>
                <a:latin typeface="方正风雅宋简体" pitchFamily="2" charset="-122"/>
                <a:ea typeface="方正风雅宋简体" pitchFamily="2" charset="-122"/>
              </a:rPr>
              <a:t>宣传贯彻各项财经法律法规以及科研项目经费管理规章制度，按财务制度要求完成本课题组的相关经费审核和报销，做好课题组与财务部门、采购部门、资产管理部门的沟通和有关事项的落实工作</a:t>
            </a:r>
            <a:endParaRPr lang="en-US" altLang="zh-CN" b="1"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b="1" dirty="0">
                <a:ln w="3175">
                  <a:solidFill>
                    <a:schemeClr val="tx1"/>
                  </a:solidFill>
                </a:ln>
                <a:latin typeface="方正风雅宋简体" pitchFamily="2" charset="-122"/>
                <a:ea typeface="方正风雅宋简体" pitchFamily="2" charset="-122"/>
              </a:rPr>
              <a:t>编制科研项目经费预算、决算；根据年度预算执行及结转结余考核要求，</a:t>
            </a:r>
            <a:r>
              <a:rPr lang="zh-CN" altLang="zh-CN" b="1" u="sng" dirty="0">
                <a:ln w="3175">
                  <a:solidFill>
                    <a:schemeClr val="tx1"/>
                  </a:solidFill>
                </a:ln>
                <a:latin typeface="方正风雅宋简体" pitchFamily="2" charset="-122"/>
                <a:ea typeface="方正风雅宋简体" pitchFamily="2" charset="-122"/>
              </a:rPr>
              <a:t>按照时间节点推进科研项目经费预算执行</a:t>
            </a:r>
            <a:endParaRPr lang="en-US" altLang="zh-CN" b="1" u="sng"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b="1" dirty="0">
                <a:ln w="3175">
                  <a:solidFill>
                    <a:schemeClr val="tx1"/>
                  </a:solidFill>
                </a:ln>
                <a:latin typeface="方正风雅宋简体" pitchFamily="2" charset="-122"/>
                <a:ea typeface="方正风雅宋简体" pitchFamily="2" charset="-122"/>
              </a:rPr>
              <a:t>对科研项目预算</a:t>
            </a:r>
            <a:r>
              <a:rPr lang="en-US" altLang="zh-CN" b="1" dirty="0">
                <a:ln w="3175">
                  <a:solidFill>
                    <a:schemeClr val="tx1"/>
                  </a:solidFill>
                </a:ln>
                <a:latin typeface="方正风雅宋简体" pitchFamily="2" charset="-122"/>
                <a:ea typeface="方正风雅宋简体" pitchFamily="2" charset="-122"/>
              </a:rPr>
              <a:t>ARP</a:t>
            </a:r>
            <a:r>
              <a:rPr lang="zh-CN" altLang="zh-CN" b="1" dirty="0">
                <a:ln w="3175">
                  <a:solidFill>
                    <a:schemeClr val="tx1"/>
                  </a:solidFill>
                </a:ln>
                <a:latin typeface="方正风雅宋简体" pitchFamily="2" charset="-122"/>
                <a:ea typeface="方正风雅宋简体" pitchFamily="2" charset="-122"/>
              </a:rPr>
              <a:t>数据进行维护，</a:t>
            </a:r>
            <a:r>
              <a:rPr lang="zh-CN" altLang="zh-CN" b="1" u="sng" dirty="0">
                <a:ln w="3175">
                  <a:solidFill>
                    <a:schemeClr val="tx1"/>
                  </a:solidFill>
                </a:ln>
                <a:latin typeface="方正风雅宋简体" pitchFamily="2" charset="-122"/>
                <a:ea typeface="方正风雅宋简体" pitchFamily="2" charset="-122"/>
              </a:rPr>
              <a:t>定期对照预算分析科研项目经费的执行情况，提出科研项目预算调整建议</a:t>
            </a:r>
            <a:endParaRPr lang="en-US" altLang="zh-CN" b="1" u="sng" dirty="0">
              <a:ln w="3175">
                <a:solidFill>
                  <a:schemeClr val="tx1"/>
                </a:solidFill>
              </a:ln>
              <a:latin typeface="方正风雅宋简体" pitchFamily="2" charset="-122"/>
              <a:ea typeface="方正风雅宋简体" pitchFamily="2" charset="-122"/>
            </a:endParaRPr>
          </a:p>
          <a:p>
            <a:pPr marL="457200" indent="-457200" fontAlgn="auto">
              <a:lnSpc>
                <a:spcPct val="150000"/>
              </a:lnSpc>
              <a:spcBef>
                <a:spcPts val="0"/>
              </a:spcBef>
              <a:spcAft>
                <a:spcPts val="0"/>
              </a:spcAft>
              <a:buClr>
                <a:srgbClr val="ECFE02"/>
              </a:buClr>
              <a:buFont typeface="Wingdings" pitchFamily="2" charset="2"/>
              <a:buChar char="l"/>
              <a:defRPr/>
            </a:pPr>
            <a:r>
              <a:rPr lang="zh-CN" altLang="zh-CN" b="1" dirty="0">
                <a:ln w="3175">
                  <a:solidFill>
                    <a:schemeClr val="tx1"/>
                  </a:solidFill>
                </a:ln>
                <a:latin typeface="方正风雅宋简体" pitchFamily="2" charset="-122"/>
                <a:ea typeface="方正风雅宋简体" pitchFamily="2" charset="-122"/>
              </a:rPr>
              <a:t>配合科研项目经费专项审计、中期检查、结题财务审计与验收等各项监督检查，参与、配合研究所内部审计</a:t>
            </a:r>
            <a:endParaRPr lang="en-US" altLang="zh-CN" b="1" dirty="0">
              <a:ln w="3175">
                <a:solidFill>
                  <a:schemeClr val="tx1"/>
                </a:solidFill>
              </a:ln>
              <a:latin typeface="方正风雅宋简体" pitchFamily="2" charset="-122"/>
              <a:ea typeface="方正风雅宋简体" pitchFamily="2" charset="-122"/>
            </a:endParaRPr>
          </a:p>
        </p:txBody>
      </p:sp>
    </p:spTree>
    <p:extLst>
      <p:ext uri="{BB962C8B-B14F-4D97-AF65-F5344CB8AC3E}">
        <p14:creationId xmlns:p14="http://schemas.microsoft.com/office/powerpoint/2010/main" val="242953667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p:stCondLst>
                                    <p:cond delay="0"/>
                                  </p:stCondLst>
                                  <p:childTnLst>
                                    <p:animScale>
                                      <p:cBhvr>
                                        <p:cTn id="6" dur="2000" fill="hold"/>
                                        <p:tgtEl>
                                          <p:spTgt spid="29"/>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3"/>
          <p:cNvSpPr txBox="1"/>
          <p:nvPr/>
        </p:nvSpPr>
        <p:spPr>
          <a:xfrm>
            <a:off x="4129629" y="1557054"/>
            <a:ext cx="4327799" cy="1015663"/>
          </a:xfrm>
          <a:prstGeom prst="rect">
            <a:avLst/>
          </a:prstGeom>
          <a:noFill/>
          <a:effectLst/>
        </p:spPr>
        <p:txBody>
          <a:bodyPr wrap="square" rtlCol="0">
            <a:spAutoFit/>
          </a:bodyPr>
          <a:lstStyle/>
          <a:p>
            <a:pPr algn="ctr"/>
            <a:r>
              <a:rPr lang="zh-CN" altLang="en-US" sz="6000" b="1" dirty="0">
                <a:gradFill flip="none" rotWithShape="1">
                  <a:gsLst>
                    <a:gs pos="0">
                      <a:srgbClr val="04B5EC"/>
                    </a:gs>
                    <a:gs pos="100000">
                      <a:srgbClr val="00C88A"/>
                    </a:gs>
                  </a:gsLst>
                  <a:lin ang="0" scaled="1"/>
                  <a:tileRect/>
                </a:gradFill>
                <a:latin typeface="微软雅黑" pitchFamily="34" charset="-122"/>
                <a:ea typeface="微软雅黑" pitchFamily="34" charset="-122"/>
              </a:rPr>
              <a:t>谢谢聆听</a:t>
            </a:r>
          </a:p>
        </p:txBody>
      </p:sp>
      <p:cxnSp>
        <p:nvCxnSpPr>
          <p:cNvPr id="4" name="直接连接符 3"/>
          <p:cNvCxnSpPr/>
          <p:nvPr/>
        </p:nvCxnSpPr>
        <p:spPr>
          <a:xfrm>
            <a:off x="4615793" y="2575063"/>
            <a:ext cx="3348419" cy="0"/>
          </a:xfrm>
          <a:prstGeom prst="line">
            <a:avLst/>
          </a:prstGeom>
          <a:ln>
            <a:solidFill>
              <a:srgbClr val="00C88A"/>
            </a:solidFill>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a:off x="315609" y="-300805"/>
            <a:ext cx="0"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流程图: 决策 6"/>
          <p:cNvSpPr/>
          <p:nvPr/>
        </p:nvSpPr>
        <p:spPr>
          <a:xfrm>
            <a:off x="686872" y="850083"/>
            <a:ext cx="3030126" cy="2872870"/>
          </a:xfrm>
          <a:prstGeom prst="flowChartDecision">
            <a:avLst/>
          </a:prstGeom>
          <a:blipFill dpi="0" rotWithShape="1">
            <a:blip r:embed="rId3" cstate="print">
              <a:extLst>
                <a:ext uri="{28A0092B-C50C-407E-A947-70E740481C1C}">
                  <a14:useLocalDpi xmlns:a14="http://schemas.microsoft.com/office/drawing/2010/main" val="0"/>
                </a:ext>
              </a:extLst>
            </a:blip>
            <a:srcRect/>
            <a:stretch>
              <a:fillRect/>
            </a:stretch>
          </a:blipFill>
          <a:ln>
            <a:noFill/>
          </a:ln>
          <a:effectLst>
            <a:innerShdw blurRad="241300" dist="266700" dir="13500000">
              <a:prstClr val="black">
                <a:alpha val="3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8" name="流程图: 决策 7"/>
          <p:cNvSpPr/>
          <p:nvPr/>
        </p:nvSpPr>
        <p:spPr>
          <a:xfrm>
            <a:off x="2353166" y="-31311"/>
            <a:ext cx="1653636" cy="1567817"/>
          </a:xfrm>
          <a:prstGeom prst="flowChartDecision">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9" name="流程图: 决策 8"/>
          <p:cNvSpPr/>
          <p:nvPr/>
        </p:nvSpPr>
        <p:spPr>
          <a:xfrm>
            <a:off x="-866396" y="-557777"/>
            <a:ext cx="2848259" cy="2700440"/>
          </a:xfrm>
          <a:prstGeom prst="flowChartDecision">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0" name="直角三角形 9"/>
          <p:cNvSpPr/>
          <p:nvPr/>
        </p:nvSpPr>
        <p:spPr>
          <a:xfrm rot="4680755">
            <a:off x="2892734" y="3322669"/>
            <a:ext cx="425451" cy="425451"/>
          </a:xfrm>
          <a:prstGeom prst="rtTriangle">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 name="直角三角形 10"/>
          <p:cNvSpPr/>
          <p:nvPr/>
        </p:nvSpPr>
        <p:spPr>
          <a:xfrm rot="15485977">
            <a:off x="3309910" y="2928703"/>
            <a:ext cx="425451" cy="425451"/>
          </a:xfrm>
          <a:prstGeom prst="rtTriangle">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 name="流程图: 决策 11"/>
          <p:cNvSpPr/>
          <p:nvPr/>
        </p:nvSpPr>
        <p:spPr>
          <a:xfrm>
            <a:off x="-1199733" y="1751071"/>
            <a:ext cx="2223269" cy="2107886"/>
          </a:xfrm>
          <a:prstGeom prst="flowChartDecision">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 name="直角三角形 12"/>
          <p:cNvSpPr/>
          <p:nvPr/>
        </p:nvSpPr>
        <p:spPr>
          <a:xfrm rot="18571015">
            <a:off x="3126991" y="4351296"/>
            <a:ext cx="287248" cy="287248"/>
          </a:xfrm>
          <a:prstGeom prst="rtTriangle">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 name="直角三角形 13"/>
          <p:cNvSpPr/>
          <p:nvPr/>
        </p:nvSpPr>
        <p:spPr>
          <a:xfrm rot="18571015">
            <a:off x="3910947" y="1658205"/>
            <a:ext cx="287248" cy="287248"/>
          </a:xfrm>
          <a:prstGeom prst="rtTriangle">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5" name="文本框 45"/>
          <p:cNvSpPr txBox="1"/>
          <p:nvPr/>
        </p:nvSpPr>
        <p:spPr>
          <a:xfrm>
            <a:off x="4687972" y="3696914"/>
            <a:ext cx="3642996" cy="415498"/>
          </a:xfrm>
          <a:prstGeom prst="rect">
            <a:avLst/>
          </a:prstGeom>
          <a:noFill/>
        </p:spPr>
        <p:txBody>
          <a:bodyPr wrap="square" rtlCol="0">
            <a:spAutoFit/>
          </a:bodyPr>
          <a:lstStyle/>
          <a:p>
            <a:r>
              <a:rPr lang="en-US" altLang="zh-CN" sz="1050" dirty="0">
                <a:solidFill>
                  <a:schemeClr val="bg1">
                    <a:lumMod val="50000"/>
                  </a:schemeClr>
                </a:solidFill>
                <a:latin typeface="方正细圆简体" pitchFamily="2" charset="-122"/>
                <a:ea typeface="方正细圆简体" pitchFamily="2" charset="-122"/>
              </a:rPr>
              <a:t>Talents come from diligence, </a:t>
            </a:r>
          </a:p>
          <a:p>
            <a:r>
              <a:rPr lang="en-US" altLang="zh-CN" sz="1050" dirty="0">
                <a:solidFill>
                  <a:schemeClr val="bg1">
                    <a:lumMod val="50000"/>
                  </a:schemeClr>
                </a:solidFill>
                <a:latin typeface="方正细圆简体" pitchFamily="2" charset="-122"/>
                <a:ea typeface="方正细圆简体" pitchFamily="2" charset="-122"/>
              </a:rPr>
              <a:t>and knowledge is gained by accumulation.</a:t>
            </a:r>
            <a:endParaRPr lang="en-US" altLang="zh-CN" sz="1050" b="1" spc="450" dirty="0">
              <a:solidFill>
                <a:schemeClr val="bg1">
                  <a:lumMod val="50000"/>
                </a:schemeClr>
              </a:solidFill>
              <a:latin typeface="方正细圆简体" pitchFamily="2" charset="-122"/>
              <a:ea typeface="方正细圆简体" pitchFamily="2" charset="-122"/>
              <a:cs typeface="+mn-ea"/>
              <a:sym typeface="Arial" panose="020B0604020202020204" pitchFamily="34" charset="0"/>
            </a:endParaRPr>
          </a:p>
        </p:txBody>
      </p:sp>
      <p:sp>
        <p:nvSpPr>
          <p:cNvPr id="16" name="流程图: 决策 15"/>
          <p:cNvSpPr/>
          <p:nvPr/>
        </p:nvSpPr>
        <p:spPr>
          <a:xfrm>
            <a:off x="1323641" y="4029912"/>
            <a:ext cx="1872247" cy="1775082"/>
          </a:xfrm>
          <a:prstGeom prst="flowChartDecision">
            <a:avLst/>
          </a:prstGeom>
          <a:gradFill flip="none" rotWithShape="1">
            <a:gsLst>
              <a:gs pos="100000">
                <a:srgbClr val="00C898"/>
              </a:gs>
              <a:gs pos="0">
                <a:srgbClr val="04B5EC"/>
              </a:gs>
            </a:gsLst>
            <a:lin ang="0" scaled="1"/>
            <a:tileRect/>
          </a:gra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 name="流程图: 决策 16"/>
          <p:cNvSpPr/>
          <p:nvPr/>
        </p:nvSpPr>
        <p:spPr>
          <a:xfrm>
            <a:off x="127294" y="2976030"/>
            <a:ext cx="1976936" cy="1874338"/>
          </a:xfrm>
          <a:prstGeom prst="flowChartDecision">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a:effectLst>
            <a:innerShdw blurRad="241300" dist="266700" dir="13500000">
              <a:prstClr val="black">
                <a:alpha val="3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 name="文本框 3"/>
          <p:cNvSpPr txBox="1"/>
          <p:nvPr/>
        </p:nvSpPr>
        <p:spPr>
          <a:xfrm>
            <a:off x="4192081" y="2583168"/>
            <a:ext cx="4327799" cy="1015663"/>
          </a:xfrm>
          <a:prstGeom prst="rect">
            <a:avLst/>
          </a:prstGeom>
          <a:noFill/>
          <a:effectLst/>
        </p:spPr>
        <p:txBody>
          <a:bodyPr wrap="square" rtlCol="0">
            <a:spAutoFit/>
          </a:bodyPr>
          <a:lstStyle/>
          <a:p>
            <a:pPr algn="ctr"/>
            <a:r>
              <a:rPr lang="en-US" altLang="zh-CN" sz="6000" b="1" dirty="0">
                <a:gradFill flip="none" rotWithShape="1">
                  <a:gsLst>
                    <a:gs pos="0">
                      <a:srgbClr val="04B5EC"/>
                    </a:gs>
                    <a:gs pos="100000">
                      <a:srgbClr val="00C88A"/>
                    </a:gs>
                  </a:gsLst>
                  <a:lin ang="0" scaled="1"/>
                  <a:tileRect/>
                </a:gradFill>
                <a:latin typeface="微软雅黑" pitchFamily="34" charset="-122"/>
                <a:ea typeface="微软雅黑" pitchFamily="34" charset="-122"/>
              </a:rPr>
              <a:t>THANKS</a:t>
            </a:r>
            <a:endParaRPr lang="zh-CN" altLang="en-US" sz="6000" b="1" dirty="0">
              <a:gradFill flip="none" rotWithShape="1">
                <a:gsLst>
                  <a:gs pos="0">
                    <a:srgbClr val="04B5EC"/>
                  </a:gs>
                  <a:gs pos="100000">
                    <a:srgbClr val="00C88A"/>
                  </a:gs>
                </a:gsLst>
                <a:lin ang="0" scaled="1"/>
                <a:tileRect/>
              </a:gradFill>
              <a:latin typeface="微软雅黑" pitchFamily="34" charset="-122"/>
              <a:ea typeface="微软雅黑" pitchFamily="34" charset="-122"/>
            </a:endParaRPr>
          </a:p>
        </p:txBody>
      </p:sp>
    </p:spTree>
    <p:extLst>
      <p:ext uri="{BB962C8B-B14F-4D97-AF65-F5344CB8AC3E}">
        <p14:creationId xmlns:p14="http://schemas.microsoft.com/office/powerpoint/2010/main" val="101736443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14:presetBounceEnd="68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68000">
                                          <p:cBhvr additive="base">
                                            <p:cTn id="7" dur="4500" fill="hold"/>
                                            <p:tgtEl>
                                              <p:spTgt spid="9"/>
                                            </p:tgtEl>
                                            <p:attrNameLst>
                                              <p:attrName>ppt_x</p:attrName>
                                            </p:attrNameLst>
                                          </p:cBhvr>
                                          <p:tavLst>
                                            <p:tav tm="0">
                                              <p:val>
                                                <p:strVal val="0-#ppt_w/2"/>
                                              </p:val>
                                            </p:tav>
                                            <p:tav tm="100000">
                                              <p:val>
                                                <p:strVal val="#ppt_x"/>
                                              </p:val>
                                            </p:tav>
                                          </p:tavLst>
                                        </p:anim>
                                        <p:anim calcmode="lin" valueType="num" p14:bounceEnd="68000">
                                          <p:cBhvr additive="base">
                                            <p:cTn id="8" dur="4500" fill="hold"/>
                                            <p:tgtEl>
                                              <p:spTgt spid="9"/>
                                            </p:tgtEl>
                                            <p:attrNameLst>
                                              <p:attrName>ppt_y</p:attrName>
                                            </p:attrNameLst>
                                          </p:cBhvr>
                                          <p:tavLst>
                                            <p:tav tm="0">
                                              <p:val>
                                                <p:strVal val="0-#ppt_h/2"/>
                                              </p:val>
                                            </p:tav>
                                            <p:tav tm="100000">
                                              <p:val>
                                                <p:strVal val="#ppt_y"/>
                                              </p:val>
                                            </p:tav>
                                          </p:tavLst>
                                        </p:anim>
                                      </p:childTnLst>
                                    </p:cTn>
                                  </p:par>
                                  <p:par>
                                    <p:cTn id="9" presetID="2" presetClass="entr" presetSubtype="8" fill="hold" grpId="0" nodeType="withEffect" p14:presetBounceEnd="68000">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14:bounceEnd="68000">
                                          <p:cBhvr additive="base">
                                            <p:cTn id="11" dur="4500" fill="hold"/>
                                            <p:tgtEl>
                                              <p:spTgt spid="12"/>
                                            </p:tgtEl>
                                            <p:attrNameLst>
                                              <p:attrName>ppt_x</p:attrName>
                                            </p:attrNameLst>
                                          </p:cBhvr>
                                          <p:tavLst>
                                            <p:tav tm="0">
                                              <p:val>
                                                <p:strVal val="0-#ppt_w/2"/>
                                              </p:val>
                                            </p:tav>
                                            <p:tav tm="100000">
                                              <p:val>
                                                <p:strVal val="#ppt_x"/>
                                              </p:val>
                                            </p:tav>
                                          </p:tavLst>
                                        </p:anim>
                                        <p:anim calcmode="lin" valueType="num" p14:bounceEnd="68000">
                                          <p:cBhvr additive="base">
                                            <p:cTn id="12" dur="45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3" fill="hold" grpId="0" nodeType="withEffect" p14:presetBounceEnd="68000">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14:bounceEnd="68000">
                                          <p:cBhvr additive="base">
                                            <p:cTn id="15" dur="4500" fill="hold"/>
                                            <p:tgtEl>
                                              <p:spTgt spid="16"/>
                                            </p:tgtEl>
                                            <p:attrNameLst>
                                              <p:attrName>ppt_x</p:attrName>
                                            </p:attrNameLst>
                                          </p:cBhvr>
                                          <p:tavLst>
                                            <p:tav tm="0">
                                              <p:val>
                                                <p:strVal val="1+#ppt_w/2"/>
                                              </p:val>
                                            </p:tav>
                                            <p:tav tm="100000">
                                              <p:val>
                                                <p:strVal val="#ppt_x"/>
                                              </p:val>
                                            </p:tav>
                                          </p:tavLst>
                                        </p:anim>
                                        <p:anim calcmode="lin" valueType="num" p14:bounceEnd="68000">
                                          <p:cBhvr additive="base">
                                            <p:cTn id="16" dur="4500" fill="hold"/>
                                            <p:tgtEl>
                                              <p:spTgt spid="16"/>
                                            </p:tgtEl>
                                            <p:attrNameLst>
                                              <p:attrName>ppt_y</p:attrName>
                                            </p:attrNameLst>
                                          </p:cBhvr>
                                          <p:tavLst>
                                            <p:tav tm="0">
                                              <p:val>
                                                <p:strVal val="0-#ppt_h/2"/>
                                              </p:val>
                                            </p:tav>
                                            <p:tav tm="100000">
                                              <p:val>
                                                <p:strVal val="#ppt_y"/>
                                              </p:val>
                                            </p:tav>
                                          </p:tavLst>
                                        </p:anim>
                                      </p:childTnLst>
                                    </p:cTn>
                                  </p:par>
                                  <p:par>
                                    <p:cTn id="17" presetID="2" presetClass="entr" presetSubtype="6" fill="hold" grpId="0" nodeType="withEffect" p14:presetBounceEnd="68000">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14:bounceEnd="68000">
                                          <p:cBhvr additive="base">
                                            <p:cTn id="19" dur="4500" fill="hold"/>
                                            <p:tgtEl>
                                              <p:spTgt spid="8"/>
                                            </p:tgtEl>
                                            <p:attrNameLst>
                                              <p:attrName>ppt_x</p:attrName>
                                            </p:attrNameLst>
                                          </p:cBhvr>
                                          <p:tavLst>
                                            <p:tav tm="0">
                                              <p:val>
                                                <p:strVal val="1+#ppt_w/2"/>
                                              </p:val>
                                            </p:tav>
                                            <p:tav tm="100000">
                                              <p:val>
                                                <p:strVal val="#ppt_x"/>
                                              </p:val>
                                            </p:tav>
                                          </p:tavLst>
                                        </p:anim>
                                        <p:anim calcmode="lin" valueType="num" p14:bounceEnd="68000">
                                          <p:cBhvr additive="base">
                                            <p:cTn id="20" dur="4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14:presetBounceEnd="68000">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14:bounceEnd="68000">
                                          <p:cBhvr additive="base">
                                            <p:cTn id="23" dur="4500" fill="hold"/>
                                            <p:tgtEl>
                                              <p:spTgt spid="13"/>
                                            </p:tgtEl>
                                            <p:attrNameLst>
                                              <p:attrName>ppt_x</p:attrName>
                                            </p:attrNameLst>
                                          </p:cBhvr>
                                          <p:tavLst>
                                            <p:tav tm="0">
                                              <p:val>
                                                <p:strVal val="#ppt_x"/>
                                              </p:val>
                                            </p:tav>
                                            <p:tav tm="100000">
                                              <p:val>
                                                <p:strVal val="#ppt_x"/>
                                              </p:val>
                                            </p:tav>
                                          </p:tavLst>
                                        </p:anim>
                                        <p:anim calcmode="lin" valueType="num" p14:bounceEnd="68000">
                                          <p:cBhvr additive="base">
                                            <p:cTn id="24" dur="4500" fill="hold"/>
                                            <p:tgtEl>
                                              <p:spTgt spid="13"/>
                                            </p:tgtEl>
                                            <p:attrNameLst>
                                              <p:attrName>ppt_y</p:attrName>
                                            </p:attrNameLst>
                                          </p:cBhvr>
                                          <p:tavLst>
                                            <p:tav tm="0">
                                              <p:val>
                                                <p:strVal val="1+#ppt_h/2"/>
                                              </p:val>
                                            </p:tav>
                                            <p:tav tm="100000">
                                              <p:val>
                                                <p:strVal val="#ppt_y"/>
                                              </p:val>
                                            </p:tav>
                                          </p:tavLst>
                                        </p:anim>
                                      </p:childTnLst>
                                    </p:cTn>
                                  </p:par>
                                  <p:par>
                                    <p:cTn id="25" presetID="2" presetClass="entr" presetSubtype="2" fill="hold" grpId="0" nodeType="withEffect" p14:presetBounceEnd="68000">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14:bounceEnd="68000">
                                          <p:cBhvr additive="base">
                                            <p:cTn id="27" dur="4500" fill="hold"/>
                                            <p:tgtEl>
                                              <p:spTgt spid="11"/>
                                            </p:tgtEl>
                                            <p:attrNameLst>
                                              <p:attrName>ppt_x</p:attrName>
                                            </p:attrNameLst>
                                          </p:cBhvr>
                                          <p:tavLst>
                                            <p:tav tm="0">
                                              <p:val>
                                                <p:strVal val="1+#ppt_w/2"/>
                                              </p:val>
                                            </p:tav>
                                            <p:tav tm="100000">
                                              <p:val>
                                                <p:strVal val="#ppt_x"/>
                                              </p:val>
                                            </p:tav>
                                          </p:tavLst>
                                        </p:anim>
                                        <p:anim calcmode="lin" valueType="num" p14:bounceEnd="68000">
                                          <p:cBhvr additive="base">
                                            <p:cTn id="28" dur="4500" fill="hold"/>
                                            <p:tgtEl>
                                              <p:spTgt spid="11"/>
                                            </p:tgtEl>
                                            <p:attrNameLst>
                                              <p:attrName>ppt_y</p:attrName>
                                            </p:attrNameLst>
                                          </p:cBhvr>
                                          <p:tavLst>
                                            <p:tav tm="0">
                                              <p:val>
                                                <p:strVal val="#ppt_y"/>
                                              </p:val>
                                            </p:tav>
                                            <p:tav tm="100000">
                                              <p:val>
                                                <p:strVal val="#ppt_y"/>
                                              </p:val>
                                            </p:tav>
                                          </p:tavLst>
                                        </p:anim>
                                      </p:childTnLst>
                                    </p:cTn>
                                  </p:par>
                                  <p:par>
                                    <p:cTn id="29" presetID="2" presetClass="entr" presetSubtype="6" fill="hold" grpId="0" nodeType="withEffect" p14:presetBounceEnd="68000">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14:bounceEnd="68000">
                                          <p:cBhvr additive="base">
                                            <p:cTn id="31" dur="4500" fill="hold"/>
                                            <p:tgtEl>
                                              <p:spTgt spid="10"/>
                                            </p:tgtEl>
                                            <p:attrNameLst>
                                              <p:attrName>ppt_x</p:attrName>
                                            </p:attrNameLst>
                                          </p:cBhvr>
                                          <p:tavLst>
                                            <p:tav tm="0">
                                              <p:val>
                                                <p:strVal val="1+#ppt_w/2"/>
                                              </p:val>
                                            </p:tav>
                                            <p:tav tm="100000">
                                              <p:val>
                                                <p:strVal val="#ppt_x"/>
                                              </p:val>
                                            </p:tav>
                                          </p:tavLst>
                                        </p:anim>
                                        <p:anim calcmode="lin" valueType="num" p14:bounceEnd="68000">
                                          <p:cBhvr additive="base">
                                            <p:cTn id="32" dur="4500" fill="hold"/>
                                            <p:tgtEl>
                                              <p:spTgt spid="10"/>
                                            </p:tgtEl>
                                            <p:attrNameLst>
                                              <p:attrName>ppt_y</p:attrName>
                                            </p:attrNameLst>
                                          </p:cBhvr>
                                          <p:tavLst>
                                            <p:tav tm="0">
                                              <p:val>
                                                <p:strVal val="1+#ppt_h/2"/>
                                              </p:val>
                                            </p:tav>
                                            <p:tav tm="100000">
                                              <p:val>
                                                <p:strVal val="#ppt_y"/>
                                              </p:val>
                                            </p:tav>
                                          </p:tavLst>
                                        </p:anim>
                                      </p:childTnLst>
                                    </p:cTn>
                                  </p:par>
                                  <p:par>
                                    <p:cTn id="33" presetID="2" presetClass="entr" presetSubtype="3" fill="hold" grpId="0" nodeType="withEffect" p14:presetBounceEnd="68000">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14:bounceEnd="68000">
                                          <p:cBhvr additive="base">
                                            <p:cTn id="35" dur="4500" fill="hold"/>
                                            <p:tgtEl>
                                              <p:spTgt spid="14"/>
                                            </p:tgtEl>
                                            <p:attrNameLst>
                                              <p:attrName>ppt_x</p:attrName>
                                            </p:attrNameLst>
                                          </p:cBhvr>
                                          <p:tavLst>
                                            <p:tav tm="0">
                                              <p:val>
                                                <p:strVal val="1+#ppt_w/2"/>
                                              </p:val>
                                            </p:tav>
                                            <p:tav tm="100000">
                                              <p:val>
                                                <p:strVal val="#ppt_x"/>
                                              </p:val>
                                            </p:tav>
                                          </p:tavLst>
                                        </p:anim>
                                        <p:anim calcmode="lin" valueType="num" p14:bounceEnd="68000">
                                          <p:cBhvr additive="base">
                                            <p:cTn id="36" dur="4500" fill="hold"/>
                                            <p:tgtEl>
                                              <p:spTgt spid="1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14:presetBounceEnd="68000">
                                      <p:stCondLst>
                                        <p:cond delay="0"/>
                                      </p:stCondLst>
                                      <p:childTnLst>
                                        <p:set>
                                          <p:cBhvr>
                                            <p:cTn id="38" dur="1" fill="hold">
                                              <p:stCondLst>
                                                <p:cond delay="0"/>
                                              </p:stCondLst>
                                            </p:cTn>
                                            <p:tgtEl>
                                              <p:spTgt spid="7"/>
                                            </p:tgtEl>
                                            <p:attrNameLst>
                                              <p:attrName>style.visibility</p:attrName>
                                            </p:attrNameLst>
                                          </p:cBhvr>
                                          <p:to>
                                            <p:strVal val="visible"/>
                                          </p:to>
                                        </p:set>
                                        <p:anim calcmode="lin" valueType="num" p14:bounceEnd="68000">
                                          <p:cBhvr additive="base">
                                            <p:cTn id="39" dur="4500" fill="hold"/>
                                            <p:tgtEl>
                                              <p:spTgt spid="7"/>
                                            </p:tgtEl>
                                            <p:attrNameLst>
                                              <p:attrName>ppt_x</p:attrName>
                                            </p:attrNameLst>
                                          </p:cBhvr>
                                          <p:tavLst>
                                            <p:tav tm="0">
                                              <p:val>
                                                <p:strVal val="1+#ppt_w/2"/>
                                              </p:val>
                                            </p:tav>
                                            <p:tav tm="100000">
                                              <p:val>
                                                <p:strVal val="#ppt_x"/>
                                              </p:val>
                                            </p:tav>
                                          </p:tavLst>
                                        </p:anim>
                                        <p:anim calcmode="lin" valueType="num" p14:bounceEnd="68000">
                                          <p:cBhvr additive="base">
                                            <p:cTn id="40" dur="4500" fill="hold"/>
                                            <p:tgtEl>
                                              <p:spTgt spid="7"/>
                                            </p:tgtEl>
                                            <p:attrNameLst>
                                              <p:attrName>ppt_y</p:attrName>
                                            </p:attrNameLst>
                                          </p:cBhvr>
                                          <p:tavLst>
                                            <p:tav tm="0">
                                              <p:val>
                                                <p:strVal val="#ppt_y"/>
                                              </p:val>
                                            </p:tav>
                                            <p:tav tm="100000">
                                              <p:val>
                                                <p:strVal val="#ppt_y"/>
                                              </p:val>
                                            </p:tav>
                                          </p:tavLst>
                                        </p:anim>
                                      </p:childTnLst>
                                    </p:cTn>
                                  </p:par>
                                  <p:par>
                                    <p:cTn id="41" presetID="2" presetClass="entr" presetSubtype="12" fill="hold" grpId="0" nodeType="withEffect" p14:presetBounceEnd="68000">
                                      <p:stCondLst>
                                        <p:cond delay="0"/>
                                      </p:stCondLst>
                                      <p:childTnLst>
                                        <p:set>
                                          <p:cBhvr>
                                            <p:cTn id="42" dur="1" fill="hold">
                                              <p:stCondLst>
                                                <p:cond delay="0"/>
                                              </p:stCondLst>
                                            </p:cTn>
                                            <p:tgtEl>
                                              <p:spTgt spid="17"/>
                                            </p:tgtEl>
                                            <p:attrNameLst>
                                              <p:attrName>style.visibility</p:attrName>
                                            </p:attrNameLst>
                                          </p:cBhvr>
                                          <p:to>
                                            <p:strVal val="visible"/>
                                          </p:to>
                                        </p:set>
                                        <p:anim calcmode="lin" valueType="num" p14:bounceEnd="68000">
                                          <p:cBhvr additive="base">
                                            <p:cTn id="43" dur="4500" fill="hold"/>
                                            <p:tgtEl>
                                              <p:spTgt spid="17"/>
                                            </p:tgtEl>
                                            <p:attrNameLst>
                                              <p:attrName>ppt_x</p:attrName>
                                            </p:attrNameLst>
                                          </p:cBhvr>
                                          <p:tavLst>
                                            <p:tav tm="0">
                                              <p:val>
                                                <p:strVal val="0-#ppt_w/2"/>
                                              </p:val>
                                            </p:tav>
                                            <p:tav tm="100000">
                                              <p:val>
                                                <p:strVal val="#ppt_x"/>
                                              </p:val>
                                            </p:tav>
                                          </p:tavLst>
                                        </p:anim>
                                        <p:anim calcmode="lin" valueType="num" p14:bounceEnd="68000">
                                          <p:cBhvr additive="base">
                                            <p:cTn id="44" dur="4500" fill="hold"/>
                                            <p:tgtEl>
                                              <p:spTgt spid="17"/>
                                            </p:tgtEl>
                                            <p:attrNameLst>
                                              <p:attrName>ppt_y</p:attrName>
                                            </p:attrNameLst>
                                          </p:cBhvr>
                                          <p:tavLst>
                                            <p:tav tm="0">
                                              <p:val>
                                                <p:strVal val="1+#ppt_h/2"/>
                                              </p:val>
                                            </p:tav>
                                            <p:tav tm="100000">
                                              <p:val>
                                                <p:strVal val="#ppt_y"/>
                                              </p:val>
                                            </p:tav>
                                          </p:tavLst>
                                        </p:anim>
                                      </p:childTnLst>
                                    </p:cTn>
                                  </p:par>
                                </p:childTnLst>
                              </p:cTn>
                            </p:par>
                            <p:par>
                              <p:cTn id="45" fill="hold">
                                <p:stCondLst>
                                  <p:cond delay="4500"/>
                                </p:stCondLst>
                                <p:childTnLst>
                                  <p:par>
                                    <p:cTn id="46" presetID="23" presetClass="entr" presetSubtype="16" fill="hold" grpId="0" nodeType="afterEffect">
                                      <p:stCondLst>
                                        <p:cond delay="0"/>
                                      </p:stCondLst>
                                      <p:iterate type="lt">
                                        <p:tmPct val="10000"/>
                                      </p:iterate>
                                      <p:childTnLst>
                                        <p:set>
                                          <p:cBhvr>
                                            <p:cTn id="47" dur="1" fill="hold">
                                              <p:stCondLst>
                                                <p:cond delay="0"/>
                                              </p:stCondLst>
                                            </p:cTn>
                                            <p:tgtEl>
                                              <p:spTgt spid="2"/>
                                            </p:tgtEl>
                                            <p:attrNameLst>
                                              <p:attrName>style.visibility</p:attrName>
                                            </p:attrNameLst>
                                          </p:cBhvr>
                                          <p:to>
                                            <p:strVal val="visible"/>
                                          </p:to>
                                        </p:set>
                                        <p:anim calcmode="lin" valueType="num">
                                          <p:cBhvr>
                                            <p:cTn id="48" dur="750" fill="hold"/>
                                            <p:tgtEl>
                                              <p:spTgt spid="2"/>
                                            </p:tgtEl>
                                            <p:attrNameLst>
                                              <p:attrName>ppt_w</p:attrName>
                                            </p:attrNameLst>
                                          </p:cBhvr>
                                          <p:tavLst>
                                            <p:tav tm="0">
                                              <p:val>
                                                <p:fltVal val="0"/>
                                              </p:val>
                                            </p:tav>
                                            <p:tav tm="100000">
                                              <p:val>
                                                <p:strVal val="#ppt_w"/>
                                              </p:val>
                                            </p:tav>
                                          </p:tavLst>
                                        </p:anim>
                                        <p:anim calcmode="lin" valueType="num">
                                          <p:cBhvr>
                                            <p:cTn id="49" dur="750" fill="hold"/>
                                            <p:tgtEl>
                                              <p:spTgt spid="2"/>
                                            </p:tgtEl>
                                            <p:attrNameLst>
                                              <p:attrName>ppt_h</p:attrName>
                                            </p:attrNameLst>
                                          </p:cBhvr>
                                          <p:tavLst>
                                            <p:tav tm="0">
                                              <p:val>
                                                <p:fltVal val="0"/>
                                              </p:val>
                                            </p:tav>
                                            <p:tav tm="100000">
                                              <p:val>
                                                <p:strVal val="#ppt_h"/>
                                              </p:val>
                                            </p:tav>
                                          </p:tavLst>
                                        </p:anim>
                                      </p:childTnLst>
                                    </p:cTn>
                                  </p:par>
                                </p:childTnLst>
                              </p:cTn>
                            </p:par>
                            <p:par>
                              <p:cTn id="50" fill="hold">
                                <p:stCondLst>
                                  <p:cond delay="5475"/>
                                </p:stCondLst>
                                <p:childTnLst>
                                  <p:par>
                                    <p:cTn id="51" presetID="16" presetClass="entr" presetSubtype="21" fill="hold" nodeType="after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barn(inVertical)">
                                          <p:cBhvr>
                                            <p:cTn id="53" dur="500"/>
                                            <p:tgtEl>
                                              <p:spTgt spid="4"/>
                                            </p:tgtEl>
                                          </p:cBhvr>
                                        </p:animEffect>
                                      </p:childTnLst>
                                    </p:cTn>
                                  </p:par>
                                </p:childTnLst>
                              </p:cTn>
                            </p:par>
                            <p:par>
                              <p:cTn id="54" fill="hold">
                                <p:stCondLst>
                                  <p:cond delay="5975"/>
                                </p:stCondLst>
                                <p:childTnLst>
                                  <p:par>
                                    <p:cTn id="55" presetID="23" presetClass="entr" presetSubtype="16" fill="hold" grpId="0" nodeType="afterEffect">
                                      <p:stCondLst>
                                        <p:cond delay="0"/>
                                      </p:stCondLst>
                                      <p:iterate type="lt">
                                        <p:tmPct val="10000"/>
                                      </p:iterate>
                                      <p:childTnLst>
                                        <p:set>
                                          <p:cBhvr>
                                            <p:cTn id="56" dur="1" fill="hold">
                                              <p:stCondLst>
                                                <p:cond delay="0"/>
                                              </p:stCondLst>
                                            </p:cTn>
                                            <p:tgtEl>
                                              <p:spTgt spid="19"/>
                                            </p:tgtEl>
                                            <p:attrNameLst>
                                              <p:attrName>style.visibility</p:attrName>
                                            </p:attrNameLst>
                                          </p:cBhvr>
                                          <p:to>
                                            <p:strVal val="visible"/>
                                          </p:to>
                                        </p:set>
                                        <p:anim calcmode="lin" valueType="num">
                                          <p:cBhvr>
                                            <p:cTn id="57" dur="750" fill="hold"/>
                                            <p:tgtEl>
                                              <p:spTgt spid="19"/>
                                            </p:tgtEl>
                                            <p:attrNameLst>
                                              <p:attrName>ppt_w</p:attrName>
                                            </p:attrNameLst>
                                          </p:cBhvr>
                                          <p:tavLst>
                                            <p:tav tm="0">
                                              <p:val>
                                                <p:fltVal val="0"/>
                                              </p:val>
                                            </p:tav>
                                            <p:tav tm="100000">
                                              <p:val>
                                                <p:strVal val="#ppt_w"/>
                                              </p:val>
                                            </p:tav>
                                          </p:tavLst>
                                        </p:anim>
                                        <p:anim calcmode="lin" valueType="num">
                                          <p:cBhvr>
                                            <p:cTn id="58" dur="750" fill="hold"/>
                                            <p:tgtEl>
                                              <p:spTgt spid="19"/>
                                            </p:tgtEl>
                                            <p:attrNameLst>
                                              <p:attrName>ppt_h</p:attrName>
                                            </p:attrNameLst>
                                          </p:cBhvr>
                                          <p:tavLst>
                                            <p:tav tm="0">
                                              <p:val>
                                                <p:fltVal val="0"/>
                                              </p:val>
                                            </p:tav>
                                            <p:tav tm="100000">
                                              <p:val>
                                                <p:strVal val="#ppt_h"/>
                                              </p:val>
                                            </p:tav>
                                          </p:tavLst>
                                        </p:anim>
                                      </p:childTnLst>
                                    </p:cTn>
                                  </p:par>
                                </p:childTnLst>
                              </p:cTn>
                            </p:par>
                            <p:par>
                              <p:cTn id="59" fill="hold">
                                <p:stCondLst>
                                  <p:cond delay="7100"/>
                                </p:stCondLst>
                                <p:childTnLst>
                                  <p:par>
                                    <p:cTn id="60" presetID="41" presetClass="entr" presetSubtype="0" fill="hold" grpId="0" nodeType="afterEffect">
                                      <p:stCondLst>
                                        <p:cond delay="0"/>
                                      </p:stCondLst>
                                      <p:iterate type="lt">
                                        <p:tmPct val="10000"/>
                                      </p:iterate>
                                      <p:childTnLst>
                                        <p:set>
                                          <p:cBhvr>
                                            <p:cTn id="61" dur="1" fill="hold">
                                              <p:stCondLst>
                                                <p:cond delay="0"/>
                                              </p:stCondLst>
                                            </p:cTn>
                                            <p:tgtEl>
                                              <p:spTgt spid="15"/>
                                            </p:tgtEl>
                                            <p:attrNameLst>
                                              <p:attrName>style.visibility</p:attrName>
                                            </p:attrNameLst>
                                          </p:cBhvr>
                                          <p:to>
                                            <p:strVal val="visible"/>
                                          </p:to>
                                        </p:set>
                                        <p:anim calcmode="lin" valueType="num">
                                          <p:cBhvr>
                                            <p:cTn id="62" dur="250" fill="hold"/>
                                            <p:tgtEl>
                                              <p:spTgt spid="15"/>
                                            </p:tgtEl>
                                            <p:attrNameLst>
                                              <p:attrName>ppt_x</p:attrName>
                                            </p:attrNameLst>
                                          </p:cBhvr>
                                          <p:tavLst>
                                            <p:tav tm="0">
                                              <p:val>
                                                <p:strVal val="#ppt_x"/>
                                              </p:val>
                                            </p:tav>
                                            <p:tav tm="50000">
                                              <p:val>
                                                <p:strVal val="#ppt_x+.1"/>
                                              </p:val>
                                            </p:tav>
                                            <p:tav tm="100000">
                                              <p:val>
                                                <p:strVal val="#ppt_x"/>
                                              </p:val>
                                            </p:tav>
                                          </p:tavLst>
                                        </p:anim>
                                        <p:anim calcmode="lin" valueType="num">
                                          <p:cBhvr>
                                            <p:cTn id="63" dur="250" fill="hold"/>
                                            <p:tgtEl>
                                              <p:spTgt spid="15"/>
                                            </p:tgtEl>
                                            <p:attrNameLst>
                                              <p:attrName>ppt_y</p:attrName>
                                            </p:attrNameLst>
                                          </p:cBhvr>
                                          <p:tavLst>
                                            <p:tav tm="0">
                                              <p:val>
                                                <p:strVal val="#ppt_y"/>
                                              </p:val>
                                            </p:tav>
                                            <p:tav tm="100000">
                                              <p:val>
                                                <p:strVal val="#ppt_y"/>
                                              </p:val>
                                            </p:tav>
                                          </p:tavLst>
                                        </p:anim>
                                        <p:anim calcmode="lin" valueType="num">
                                          <p:cBhvr>
                                            <p:cTn id="64" dur="250" fill="hold"/>
                                            <p:tgtEl>
                                              <p:spTgt spid="15"/>
                                            </p:tgtEl>
                                            <p:attrNameLst>
                                              <p:attrName>ppt_h</p:attrName>
                                            </p:attrNameLst>
                                          </p:cBhvr>
                                          <p:tavLst>
                                            <p:tav tm="0">
                                              <p:val>
                                                <p:strVal val="#ppt_h/10"/>
                                              </p:val>
                                            </p:tav>
                                            <p:tav tm="50000">
                                              <p:val>
                                                <p:strVal val="#ppt_h+.01"/>
                                              </p:val>
                                            </p:tav>
                                            <p:tav tm="100000">
                                              <p:val>
                                                <p:strVal val="#ppt_h"/>
                                              </p:val>
                                            </p:tav>
                                          </p:tavLst>
                                        </p:anim>
                                        <p:anim calcmode="lin" valueType="num">
                                          <p:cBhvr>
                                            <p:cTn id="65" dur="250" fill="hold"/>
                                            <p:tgtEl>
                                              <p:spTgt spid="15"/>
                                            </p:tgtEl>
                                            <p:attrNameLst>
                                              <p:attrName>ppt_w</p:attrName>
                                            </p:attrNameLst>
                                          </p:cBhvr>
                                          <p:tavLst>
                                            <p:tav tm="0">
                                              <p:val>
                                                <p:strVal val="#ppt_w/10"/>
                                              </p:val>
                                            </p:tav>
                                            <p:tav tm="50000">
                                              <p:val>
                                                <p:strVal val="#ppt_w+.01"/>
                                              </p:val>
                                            </p:tav>
                                            <p:tav tm="100000">
                                              <p:val>
                                                <p:strVal val="#ppt_w"/>
                                              </p:val>
                                            </p:tav>
                                          </p:tavLst>
                                        </p:anim>
                                        <p:animEffect transition="in" filter="fade">
                                          <p:cBhvr>
                                            <p:cTn id="66" dur="250" tmFilter="0,0; .5, 1; 1, 1"/>
                                            <p:tgtEl>
                                              <p:spTgt spid="15"/>
                                            </p:tgtEl>
                                          </p:cBhvr>
                                        </p:animEffect>
                                      </p:childTnLst>
                                    </p:cTn>
                                  </p:par>
                                </p:childTnLst>
                              </p:cTn>
                            </p:par>
                            <p:par>
                              <p:cTn id="67" fill="hold">
                                <p:stCondLst>
                                  <p:cond delay="8825"/>
                                </p:stCondLst>
                                <p:childTnLst>
                                  <p:par>
                                    <p:cTn id="68" presetID="26" presetClass="emph" presetSubtype="0" fill="hold" grpId="1" nodeType="afterEffect">
                                      <p:stCondLst>
                                        <p:cond delay="0"/>
                                      </p:stCondLst>
                                      <p:childTnLst>
                                        <p:animEffect transition="out" filter="fade">
                                          <p:cBhvr>
                                            <p:cTn id="69" dur="500" tmFilter="0, 0; .2, .5; .8, .5; 1, 0"/>
                                            <p:tgtEl>
                                              <p:spTgt spid="7"/>
                                            </p:tgtEl>
                                          </p:cBhvr>
                                        </p:animEffect>
                                        <p:animScale>
                                          <p:cBhvr>
                                            <p:cTn id="70" dur="250" autoRev="1" fill="hold"/>
                                            <p:tgtEl>
                                              <p:spTgt spid="7"/>
                                            </p:tgtEl>
                                          </p:cBhvr>
                                          <p:by x="105000" y="105000"/>
                                        </p:animScale>
                                      </p:childTnLst>
                                    </p:cTn>
                                  </p:par>
                                </p:childTnLst>
                              </p:cTn>
                            </p:par>
                            <p:par>
                              <p:cTn id="71" fill="hold">
                                <p:stCondLst>
                                  <p:cond delay="9325"/>
                                </p:stCondLst>
                                <p:childTnLst>
                                  <p:par>
                                    <p:cTn id="72" presetID="26" presetClass="emph" presetSubtype="0" fill="hold" grpId="1" nodeType="afterEffect">
                                      <p:stCondLst>
                                        <p:cond delay="0"/>
                                      </p:stCondLst>
                                      <p:childTnLst>
                                        <p:animEffect transition="out" filter="fade">
                                          <p:cBhvr>
                                            <p:cTn id="73" dur="500" tmFilter="0, 0; .2, .5; .8, .5; 1, 0"/>
                                            <p:tgtEl>
                                              <p:spTgt spid="17"/>
                                            </p:tgtEl>
                                          </p:cBhvr>
                                        </p:animEffect>
                                        <p:animScale>
                                          <p:cBhvr>
                                            <p:cTn id="74" dur="250" autoRev="1" fill="hold"/>
                                            <p:tgtEl>
                                              <p:spTgt spid="17"/>
                                            </p:tgtEl>
                                          </p:cBhvr>
                                          <p:by x="105000" y="105000"/>
                                        </p:animScale>
                                      </p:childTnLst>
                                    </p:cTn>
                                  </p:par>
                                </p:childTnLst>
                              </p:cTn>
                            </p:par>
                            <p:par>
                              <p:cTn id="75" fill="hold">
                                <p:stCondLst>
                                  <p:cond delay="9825"/>
                                </p:stCondLst>
                                <p:childTnLst>
                                  <p:par>
                                    <p:cTn id="76" presetID="26" presetClass="emph" presetSubtype="0" fill="hold" grpId="2" nodeType="afterEffect">
                                      <p:stCondLst>
                                        <p:cond delay="0"/>
                                      </p:stCondLst>
                                      <p:childTnLst>
                                        <p:animEffect transition="out" filter="fade">
                                          <p:cBhvr>
                                            <p:cTn id="77" dur="500" tmFilter="0, 0; .2, .5; .8, .5; 1, 0"/>
                                            <p:tgtEl>
                                              <p:spTgt spid="7"/>
                                            </p:tgtEl>
                                          </p:cBhvr>
                                        </p:animEffect>
                                        <p:animScale>
                                          <p:cBhvr>
                                            <p:cTn id="78" dur="250" autoRev="1" fill="hold"/>
                                            <p:tgtEl>
                                              <p:spTgt spid="7"/>
                                            </p:tgtEl>
                                          </p:cBhvr>
                                          <p:by x="105000" y="105000"/>
                                        </p:animScale>
                                      </p:childTnLst>
                                    </p:cTn>
                                  </p:par>
                                </p:childTnLst>
                              </p:cTn>
                            </p:par>
                            <p:par>
                              <p:cTn id="79" fill="hold">
                                <p:stCondLst>
                                  <p:cond delay="10325"/>
                                </p:stCondLst>
                                <p:childTnLst>
                                  <p:par>
                                    <p:cTn id="80" presetID="26" presetClass="emph" presetSubtype="0" fill="hold" grpId="2" nodeType="afterEffect">
                                      <p:stCondLst>
                                        <p:cond delay="0"/>
                                      </p:stCondLst>
                                      <p:childTnLst>
                                        <p:animEffect transition="out" filter="fade">
                                          <p:cBhvr>
                                            <p:cTn id="81" dur="500" tmFilter="0, 0; .2, .5; .8, .5; 1, 0"/>
                                            <p:tgtEl>
                                              <p:spTgt spid="17"/>
                                            </p:tgtEl>
                                          </p:cBhvr>
                                        </p:animEffect>
                                        <p:animScale>
                                          <p:cBhvr>
                                            <p:cTn id="82" dur="250" autoRev="1" fill="hold"/>
                                            <p:tgtEl>
                                              <p:spTgt spid="1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animBg="1"/>
          <p:bldP spid="7" grpId="1" animBg="1"/>
          <p:bldP spid="7" grpId="2" animBg="1"/>
          <p:bldP spid="8" grpId="0" animBg="1"/>
          <p:bldP spid="9" grpId="0" animBg="1"/>
          <p:bldP spid="10" grpId="0" animBg="1"/>
          <p:bldP spid="11" grpId="0" animBg="1"/>
          <p:bldP spid="12" grpId="0" animBg="1"/>
          <p:bldP spid="13" grpId="0" animBg="1"/>
          <p:bldP spid="14" grpId="0" animBg="1"/>
          <p:bldP spid="15" grpId="0"/>
          <p:bldP spid="16" grpId="0" animBg="1"/>
          <p:bldP spid="17" grpId="0" animBg="1"/>
          <p:bldP spid="17" grpId="1" animBg="1"/>
          <p:bldP spid="17" grpId="2" animBg="1"/>
          <p:bldP spid="1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4500" fill="hold"/>
                                            <p:tgtEl>
                                              <p:spTgt spid="9"/>
                                            </p:tgtEl>
                                            <p:attrNameLst>
                                              <p:attrName>ppt_x</p:attrName>
                                            </p:attrNameLst>
                                          </p:cBhvr>
                                          <p:tavLst>
                                            <p:tav tm="0">
                                              <p:val>
                                                <p:strVal val="0-#ppt_w/2"/>
                                              </p:val>
                                            </p:tav>
                                            <p:tav tm="100000">
                                              <p:val>
                                                <p:strVal val="#ppt_x"/>
                                              </p:val>
                                            </p:tav>
                                          </p:tavLst>
                                        </p:anim>
                                        <p:anim calcmode="lin" valueType="num">
                                          <p:cBhvr additive="base">
                                            <p:cTn id="8" dur="4500" fill="hold"/>
                                            <p:tgtEl>
                                              <p:spTgt spid="9"/>
                                            </p:tgtEl>
                                            <p:attrNameLst>
                                              <p:attrName>ppt_y</p:attrName>
                                            </p:attrNameLst>
                                          </p:cBhvr>
                                          <p:tavLst>
                                            <p:tav tm="0">
                                              <p:val>
                                                <p:strVal val="0-#ppt_h/2"/>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4500" fill="hold"/>
                                            <p:tgtEl>
                                              <p:spTgt spid="12"/>
                                            </p:tgtEl>
                                            <p:attrNameLst>
                                              <p:attrName>ppt_x</p:attrName>
                                            </p:attrNameLst>
                                          </p:cBhvr>
                                          <p:tavLst>
                                            <p:tav tm="0">
                                              <p:val>
                                                <p:strVal val="0-#ppt_w/2"/>
                                              </p:val>
                                            </p:tav>
                                            <p:tav tm="100000">
                                              <p:val>
                                                <p:strVal val="#ppt_x"/>
                                              </p:val>
                                            </p:tav>
                                          </p:tavLst>
                                        </p:anim>
                                        <p:anim calcmode="lin" valueType="num">
                                          <p:cBhvr additive="base">
                                            <p:cTn id="12" dur="45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3"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4500" fill="hold"/>
                                            <p:tgtEl>
                                              <p:spTgt spid="16"/>
                                            </p:tgtEl>
                                            <p:attrNameLst>
                                              <p:attrName>ppt_x</p:attrName>
                                            </p:attrNameLst>
                                          </p:cBhvr>
                                          <p:tavLst>
                                            <p:tav tm="0">
                                              <p:val>
                                                <p:strVal val="1+#ppt_w/2"/>
                                              </p:val>
                                            </p:tav>
                                            <p:tav tm="100000">
                                              <p:val>
                                                <p:strVal val="#ppt_x"/>
                                              </p:val>
                                            </p:tav>
                                          </p:tavLst>
                                        </p:anim>
                                        <p:anim calcmode="lin" valueType="num">
                                          <p:cBhvr additive="base">
                                            <p:cTn id="16" dur="4500" fill="hold"/>
                                            <p:tgtEl>
                                              <p:spTgt spid="16"/>
                                            </p:tgtEl>
                                            <p:attrNameLst>
                                              <p:attrName>ppt_y</p:attrName>
                                            </p:attrNameLst>
                                          </p:cBhvr>
                                          <p:tavLst>
                                            <p:tav tm="0">
                                              <p:val>
                                                <p:strVal val="0-#ppt_h/2"/>
                                              </p:val>
                                            </p:tav>
                                            <p:tav tm="100000">
                                              <p:val>
                                                <p:strVal val="#ppt_y"/>
                                              </p:val>
                                            </p:tav>
                                          </p:tavLst>
                                        </p:anim>
                                      </p:childTnLst>
                                    </p:cTn>
                                  </p:par>
                                  <p:par>
                                    <p:cTn id="17" presetID="2" presetClass="entr" presetSubtype="6"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4500" fill="hold"/>
                                            <p:tgtEl>
                                              <p:spTgt spid="8"/>
                                            </p:tgtEl>
                                            <p:attrNameLst>
                                              <p:attrName>ppt_x</p:attrName>
                                            </p:attrNameLst>
                                          </p:cBhvr>
                                          <p:tavLst>
                                            <p:tav tm="0">
                                              <p:val>
                                                <p:strVal val="1+#ppt_w/2"/>
                                              </p:val>
                                            </p:tav>
                                            <p:tav tm="100000">
                                              <p:val>
                                                <p:strVal val="#ppt_x"/>
                                              </p:val>
                                            </p:tav>
                                          </p:tavLst>
                                        </p:anim>
                                        <p:anim calcmode="lin" valueType="num">
                                          <p:cBhvr additive="base">
                                            <p:cTn id="20" dur="4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4500" fill="hold"/>
                                            <p:tgtEl>
                                              <p:spTgt spid="13"/>
                                            </p:tgtEl>
                                            <p:attrNameLst>
                                              <p:attrName>ppt_x</p:attrName>
                                            </p:attrNameLst>
                                          </p:cBhvr>
                                          <p:tavLst>
                                            <p:tav tm="0">
                                              <p:val>
                                                <p:strVal val="#ppt_x"/>
                                              </p:val>
                                            </p:tav>
                                            <p:tav tm="100000">
                                              <p:val>
                                                <p:strVal val="#ppt_x"/>
                                              </p:val>
                                            </p:tav>
                                          </p:tavLst>
                                        </p:anim>
                                        <p:anim calcmode="lin" valueType="num">
                                          <p:cBhvr additive="base">
                                            <p:cTn id="24" dur="4500" fill="hold"/>
                                            <p:tgtEl>
                                              <p:spTgt spid="13"/>
                                            </p:tgtEl>
                                            <p:attrNameLst>
                                              <p:attrName>ppt_y</p:attrName>
                                            </p:attrNameLst>
                                          </p:cBhvr>
                                          <p:tavLst>
                                            <p:tav tm="0">
                                              <p:val>
                                                <p:strVal val="1+#ppt_h/2"/>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4500" fill="hold"/>
                                            <p:tgtEl>
                                              <p:spTgt spid="11"/>
                                            </p:tgtEl>
                                            <p:attrNameLst>
                                              <p:attrName>ppt_x</p:attrName>
                                            </p:attrNameLst>
                                          </p:cBhvr>
                                          <p:tavLst>
                                            <p:tav tm="0">
                                              <p:val>
                                                <p:strVal val="1+#ppt_w/2"/>
                                              </p:val>
                                            </p:tav>
                                            <p:tav tm="100000">
                                              <p:val>
                                                <p:strVal val="#ppt_x"/>
                                              </p:val>
                                            </p:tav>
                                          </p:tavLst>
                                        </p:anim>
                                        <p:anim calcmode="lin" valueType="num">
                                          <p:cBhvr additive="base">
                                            <p:cTn id="28" dur="4500" fill="hold"/>
                                            <p:tgtEl>
                                              <p:spTgt spid="11"/>
                                            </p:tgtEl>
                                            <p:attrNameLst>
                                              <p:attrName>ppt_y</p:attrName>
                                            </p:attrNameLst>
                                          </p:cBhvr>
                                          <p:tavLst>
                                            <p:tav tm="0">
                                              <p:val>
                                                <p:strVal val="#ppt_y"/>
                                              </p:val>
                                            </p:tav>
                                            <p:tav tm="100000">
                                              <p:val>
                                                <p:strVal val="#ppt_y"/>
                                              </p:val>
                                            </p:tav>
                                          </p:tavLst>
                                        </p:anim>
                                      </p:childTnLst>
                                    </p:cTn>
                                  </p:par>
                                  <p:par>
                                    <p:cTn id="29" presetID="2" presetClass="entr" presetSubtype="6"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4500" fill="hold"/>
                                            <p:tgtEl>
                                              <p:spTgt spid="10"/>
                                            </p:tgtEl>
                                            <p:attrNameLst>
                                              <p:attrName>ppt_x</p:attrName>
                                            </p:attrNameLst>
                                          </p:cBhvr>
                                          <p:tavLst>
                                            <p:tav tm="0">
                                              <p:val>
                                                <p:strVal val="1+#ppt_w/2"/>
                                              </p:val>
                                            </p:tav>
                                            <p:tav tm="100000">
                                              <p:val>
                                                <p:strVal val="#ppt_x"/>
                                              </p:val>
                                            </p:tav>
                                          </p:tavLst>
                                        </p:anim>
                                        <p:anim calcmode="lin" valueType="num">
                                          <p:cBhvr additive="base">
                                            <p:cTn id="32" dur="4500" fill="hold"/>
                                            <p:tgtEl>
                                              <p:spTgt spid="10"/>
                                            </p:tgtEl>
                                            <p:attrNameLst>
                                              <p:attrName>ppt_y</p:attrName>
                                            </p:attrNameLst>
                                          </p:cBhvr>
                                          <p:tavLst>
                                            <p:tav tm="0">
                                              <p:val>
                                                <p:strVal val="1+#ppt_h/2"/>
                                              </p:val>
                                            </p:tav>
                                            <p:tav tm="100000">
                                              <p:val>
                                                <p:strVal val="#ppt_y"/>
                                              </p:val>
                                            </p:tav>
                                          </p:tavLst>
                                        </p:anim>
                                      </p:childTnLst>
                                    </p:cTn>
                                  </p:par>
                                  <p:par>
                                    <p:cTn id="33" presetID="2" presetClass="entr" presetSubtype="3"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4500" fill="hold"/>
                                            <p:tgtEl>
                                              <p:spTgt spid="14"/>
                                            </p:tgtEl>
                                            <p:attrNameLst>
                                              <p:attrName>ppt_x</p:attrName>
                                            </p:attrNameLst>
                                          </p:cBhvr>
                                          <p:tavLst>
                                            <p:tav tm="0">
                                              <p:val>
                                                <p:strVal val="1+#ppt_w/2"/>
                                              </p:val>
                                            </p:tav>
                                            <p:tav tm="100000">
                                              <p:val>
                                                <p:strVal val="#ppt_x"/>
                                              </p:val>
                                            </p:tav>
                                          </p:tavLst>
                                        </p:anim>
                                        <p:anim calcmode="lin" valueType="num">
                                          <p:cBhvr additive="base">
                                            <p:cTn id="36" dur="4500" fill="hold"/>
                                            <p:tgtEl>
                                              <p:spTgt spid="1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7"/>
                                            </p:tgtEl>
                                            <p:attrNameLst>
                                              <p:attrName>style.visibility</p:attrName>
                                            </p:attrNameLst>
                                          </p:cBhvr>
                                          <p:to>
                                            <p:strVal val="visible"/>
                                          </p:to>
                                        </p:set>
                                        <p:anim calcmode="lin" valueType="num">
                                          <p:cBhvr additive="base">
                                            <p:cTn id="39" dur="4500" fill="hold"/>
                                            <p:tgtEl>
                                              <p:spTgt spid="7"/>
                                            </p:tgtEl>
                                            <p:attrNameLst>
                                              <p:attrName>ppt_x</p:attrName>
                                            </p:attrNameLst>
                                          </p:cBhvr>
                                          <p:tavLst>
                                            <p:tav tm="0">
                                              <p:val>
                                                <p:strVal val="1+#ppt_w/2"/>
                                              </p:val>
                                            </p:tav>
                                            <p:tav tm="100000">
                                              <p:val>
                                                <p:strVal val="#ppt_x"/>
                                              </p:val>
                                            </p:tav>
                                          </p:tavLst>
                                        </p:anim>
                                        <p:anim calcmode="lin" valueType="num">
                                          <p:cBhvr additive="base">
                                            <p:cTn id="40" dur="4500" fill="hold"/>
                                            <p:tgtEl>
                                              <p:spTgt spid="7"/>
                                            </p:tgtEl>
                                            <p:attrNameLst>
                                              <p:attrName>ppt_y</p:attrName>
                                            </p:attrNameLst>
                                          </p:cBhvr>
                                          <p:tavLst>
                                            <p:tav tm="0">
                                              <p:val>
                                                <p:strVal val="#ppt_y"/>
                                              </p:val>
                                            </p:tav>
                                            <p:tav tm="100000">
                                              <p:val>
                                                <p:strVal val="#ppt_y"/>
                                              </p:val>
                                            </p:tav>
                                          </p:tavLst>
                                        </p:anim>
                                      </p:childTnLst>
                                    </p:cTn>
                                  </p:par>
                                  <p:par>
                                    <p:cTn id="41" presetID="2" presetClass="entr" presetSubtype="12"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anim calcmode="lin" valueType="num">
                                          <p:cBhvr additive="base">
                                            <p:cTn id="43" dur="4500" fill="hold"/>
                                            <p:tgtEl>
                                              <p:spTgt spid="17"/>
                                            </p:tgtEl>
                                            <p:attrNameLst>
                                              <p:attrName>ppt_x</p:attrName>
                                            </p:attrNameLst>
                                          </p:cBhvr>
                                          <p:tavLst>
                                            <p:tav tm="0">
                                              <p:val>
                                                <p:strVal val="0-#ppt_w/2"/>
                                              </p:val>
                                            </p:tav>
                                            <p:tav tm="100000">
                                              <p:val>
                                                <p:strVal val="#ppt_x"/>
                                              </p:val>
                                            </p:tav>
                                          </p:tavLst>
                                        </p:anim>
                                        <p:anim calcmode="lin" valueType="num">
                                          <p:cBhvr additive="base">
                                            <p:cTn id="44" dur="4500" fill="hold"/>
                                            <p:tgtEl>
                                              <p:spTgt spid="17"/>
                                            </p:tgtEl>
                                            <p:attrNameLst>
                                              <p:attrName>ppt_y</p:attrName>
                                            </p:attrNameLst>
                                          </p:cBhvr>
                                          <p:tavLst>
                                            <p:tav tm="0">
                                              <p:val>
                                                <p:strVal val="1+#ppt_h/2"/>
                                              </p:val>
                                            </p:tav>
                                            <p:tav tm="100000">
                                              <p:val>
                                                <p:strVal val="#ppt_y"/>
                                              </p:val>
                                            </p:tav>
                                          </p:tavLst>
                                        </p:anim>
                                      </p:childTnLst>
                                    </p:cTn>
                                  </p:par>
                                </p:childTnLst>
                              </p:cTn>
                            </p:par>
                            <p:par>
                              <p:cTn id="45" fill="hold">
                                <p:stCondLst>
                                  <p:cond delay="4500"/>
                                </p:stCondLst>
                                <p:childTnLst>
                                  <p:par>
                                    <p:cTn id="46" presetID="23" presetClass="entr" presetSubtype="16" fill="hold" grpId="0" nodeType="afterEffect">
                                      <p:stCondLst>
                                        <p:cond delay="0"/>
                                      </p:stCondLst>
                                      <p:iterate type="lt">
                                        <p:tmPct val="10000"/>
                                      </p:iterate>
                                      <p:childTnLst>
                                        <p:set>
                                          <p:cBhvr>
                                            <p:cTn id="47" dur="1" fill="hold">
                                              <p:stCondLst>
                                                <p:cond delay="0"/>
                                              </p:stCondLst>
                                            </p:cTn>
                                            <p:tgtEl>
                                              <p:spTgt spid="2"/>
                                            </p:tgtEl>
                                            <p:attrNameLst>
                                              <p:attrName>style.visibility</p:attrName>
                                            </p:attrNameLst>
                                          </p:cBhvr>
                                          <p:to>
                                            <p:strVal val="visible"/>
                                          </p:to>
                                        </p:set>
                                        <p:anim calcmode="lin" valueType="num">
                                          <p:cBhvr>
                                            <p:cTn id="48" dur="750" fill="hold"/>
                                            <p:tgtEl>
                                              <p:spTgt spid="2"/>
                                            </p:tgtEl>
                                            <p:attrNameLst>
                                              <p:attrName>ppt_w</p:attrName>
                                            </p:attrNameLst>
                                          </p:cBhvr>
                                          <p:tavLst>
                                            <p:tav tm="0">
                                              <p:val>
                                                <p:fltVal val="0"/>
                                              </p:val>
                                            </p:tav>
                                            <p:tav tm="100000">
                                              <p:val>
                                                <p:strVal val="#ppt_w"/>
                                              </p:val>
                                            </p:tav>
                                          </p:tavLst>
                                        </p:anim>
                                        <p:anim calcmode="lin" valueType="num">
                                          <p:cBhvr>
                                            <p:cTn id="49" dur="750" fill="hold"/>
                                            <p:tgtEl>
                                              <p:spTgt spid="2"/>
                                            </p:tgtEl>
                                            <p:attrNameLst>
                                              <p:attrName>ppt_h</p:attrName>
                                            </p:attrNameLst>
                                          </p:cBhvr>
                                          <p:tavLst>
                                            <p:tav tm="0">
                                              <p:val>
                                                <p:fltVal val="0"/>
                                              </p:val>
                                            </p:tav>
                                            <p:tav tm="100000">
                                              <p:val>
                                                <p:strVal val="#ppt_h"/>
                                              </p:val>
                                            </p:tav>
                                          </p:tavLst>
                                        </p:anim>
                                      </p:childTnLst>
                                    </p:cTn>
                                  </p:par>
                                </p:childTnLst>
                              </p:cTn>
                            </p:par>
                            <p:par>
                              <p:cTn id="50" fill="hold">
                                <p:stCondLst>
                                  <p:cond delay="5475"/>
                                </p:stCondLst>
                                <p:childTnLst>
                                  <p:par>
                                    <p:cTn id="51" presetID="16" presetClass="entr" presetSubtype="21" fill="hold" nodeType="after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barn(inVertical)">
                                          <p:cBhvr>
                                            <p:cTn id="53" dur="500"/>
                                            <p:tgtEl>
                                              <p:spTgt spid="4"/>
                                            </p:tgtEl>
                                          </p:cBhvr>
                                        </p:animEffect>
                                      </p:childTnLst>
                                    </p:cTn>
                                  </p:par>
                                </p:childTnLst>
                              </p:cTn>
                            </p:par>
                            <p:par>
                              <p:cTn id="54" fill="hold">
                                <p:stCondLst>
                                  <p:cond delay="5975"/>
                                </p:stCondLst>
                                <p:childTnLst>
                                  <p:par>
                                    <p:cTn id="55" presetID="23" presetClass="entr" presetSubtype="16" fill="hold" grpId="0" nodeType="afterEffect">
                                      <p:stCondLst>
                                        <p:cond delay="0"/>
                                      </p:stCondLst>
                                      <p:iterate type="lt">
                                        <p:tmPct val="10000"/>
                                      </p:iterate>
                                      <p:childTnLst>
                                        <p:set>
                                          <p:cBhvr>
                                            <p:cTn id="56" dur="1" fill="hold">
                                              <p:stCondLst>
                                                <p:cond delay="0"/>
                                              </p:stCondLst>
                                            </p:cTn>
                                            <p:tgtEl>
                                              <p:spTgt spid="19"/>
                                            </p:tgtEl>
                                            <p:attrNameLst>
                                              <p:attrName>style.visibility</p:attrName>
                                            </p:attrNameLst>
                                          </p:cBhvr>
                                          <p:to>
                                            <p:strVal val="visible"/>
                                          </p:to>
                                        </p:set>
                                        <p:anim calcmode="lin" valueType="num">
                                          <p:cBhvr>
                                            <p:cTn id="57" dur="750" fill="hold"/>
                                            <p:tgtEl>
                                              <p:spTgt spid="19"/>
                                            </p:tgtEl>
                                            <p:attrNameLst>
                                              <p:attrName>ppt_w</p:attrName>
                                            </p:attrNameLst>
                                          </p:cBhvr>
                                          <p:tavLst>
                                            <p:tav tm="0">
                                              <p:val>
                                                <p:fltVal val="0"/>
                                              </p:val>
                                            </p:tav>
                                            <p:tav tm="100000">
                                              <p:val>
                                                <p:strVal val="#ppt_w"/>
                                              </p:val>
                                            </p:tav>
                                          </p:tavLst>
                                        </p:anim>
                                        <p:anim calcmode="lin" valueType="num">
                                          <p:cBhvr>
                                            <p:cTn id="58" dur="750" fill="hold"/>
                                            <p:tgtEl>
                                              <p:spTgt spid="19"/>
                                            </p:tgtEl>
                                            <p:attrNameLst>
                                              <p:attrName>ppt_h</p:attrName>
                                            </p:attrNameLst>
                                          </p:cBhvr>
                                          <p:tavLst>
                                            <p:tav tm="0">
                                              <p:val>
                                                <p:fltVal val="0"/>
                                              </p:val>
                                            </p:tav>
                                            <p:tav tm="100000">
                                              <p:val>
                                                <p:strVal val="#ppt_h"/>
                                              </p:val>
                                            </p:tav>
                                          </p:tavLst>
                                        </p:anim>
                                      </p:childTnLst>
                                    </p:cTn>
                                  </p:par>
                                </p:childTnLst>
                              </p:cTn>
                            </p:par>
                            <p:par>
                              <p:cTn id="59" fill="hold">
                                <p:stCondLst>
                                  <p:cond delay="7100"/>
                                </p:stCondLst>
                                <p:childTnLst>
                                  <p:par>
                                    <p:cTn id="60" presetID="41" presetClass="entr" presetSubtype="0" fill="hold" grpId="0" nodeType="afterEffect">
                                      <p:stCondLst>
                                        <p:cond delay="0"/>
                                      </p:stCondLst>
                                      <p:iterate type="lt">
                                        <p:tmPct val="10000"/>
                                      </p:iterate>
                                      <p:childTnLst>
                                        <p:set>
                                          <p:cBhvr>
                                            <p:cTn id="61" dur="1" fill="hold">
                                              <p:stCondLst>
                                                <p:cond delay="0"/>
                                              </p:stCondLst>
                                            </p:cTn>
                                            <p:tgtEl>
                                              <p:spTgt spid="15"/>
                                            </p:tgtEl>
                                            <p:attrNameLst>
                                              <p:attrName>style.visibility</p:attrName>
                                            </p:attrNameLst>
                                          </p:cBhvr>
                                          <p:to>
                                            <p:strVal val="visible"/>
                                          </p:to>
                                        </p:set>
                                        <p:anim calcmode="lin" valueType="num">
                                          <p:cBhvr>
                                            <p:cTn id="62" dur="250" fill="hold"/>
                                            <p:tgtEl>
                                              <p:spTgt spid="15"/>
                                            </p:tgtEl>
                                            <p:attrNameLst>
                                              <p:attrName>ppt_x</p:attrName>
                                            </p:attrNameLst>
                                          </p:cBhvr>
                                          <p:tavLst>
                                            <p:tav tm="0">
                                              <p:val>
                                                <p:strVal val="#ppt_x"/>
                                              </p:val>
                                            </p:tav>
                                            <p:tav tm="50000">
                                              <p:val>
                                                <p:strVal val="#ppt_x+.1"/>
                                              </p:val>
                                            </p:tav>
                                            <p:tav tm="100000">
                                              <p:val>
                                                <p:strVal val="#ppt_x"/>
                                              </p:val>
                                            </p:tav>
                                          </p:tavLst>
                                        </p:anim>
                                        <p:anim calcmode="lin" valueType="num">
                                          <p:cBhvr>
                                            <p:cTn id="63" dur="250" fill="hold"/>
                                            <p:tgtEl>
                                              <p:spTgt spid="15"/>
                                            </p:tgtEl>
                                            <p:attrNameLst>
                                              <p:attrName>ppt_y</p:attrName>
                                            </p:attrNameLst>
                                          </p:cBhvr>
                                          <p:tavLst>
                                            <p:tav tm="0">
                                              <p:val>
                                                <p:strVal val="#ppt_y"/>
                                              </p:val>
                                            </p:tav>
                                            <p:tav tm="100000">
                                              <p:val>
                                                <p:strVal val="#ppt_y"/>
                                              </p:val>
                                            </p:tav>
                                          </p:tavLst>
                                        </p:anim>
                                        <p:anim calcmode="lin" valueType="num">
                                          <p:cBhvr>
                                            <p:cTn id="64" dur="250" fill="hold"/>
                                            <p:tgtEl>
                                              <p:spTgt spid="15"/>
                                            </p:tgtEl>
                                            <p:attrNameLst>
                                              <p:attrName>ppt_h</p:attrName>
                                            </p:attrNameLst>
                                          </p:cBhvr>
                                          <p:tavLst>
                                            <p:tav tm="0">
                                              <p:val>
                                                <p:strVal val="#ppt_h/10"/>
                                              </p:val>
                                            </p:tav>
                                            <p:tav tm="50000">
                                              <p:val>
                                                <p:strVal val="#ppt_h+.01"/>
                                              </p:val>
                                            </p:tav>
                                            <p:tav tm="100000">
                                              <p:val>
                                                <p:strVal val="#ppt_h"/>
                                              </p:val>
                                            </p:tav>
                                          </p:tavLst>
                                        </p:anim>
                                        <p:anim calcmode="lin" valueType="num">
                                          <p:cBhvr>
                                            <p:cTn id="65" dur="250" fill="hold"/>
                                            <p:tgtEl>
                                              <p:spTgt spid="15"/>
                                            </p:tgtEl>
                                            <p:attrNameLst>
                                              <p:attrName>ppt_w</p:attrName>
                                            </p:attrNameLst>
                                          </p:cBhvr>
                                          <p:tavLst>
                                            <p:tav tm="0">
                                              <p:val>
                                                <p:strVal val="#ppt_w/10"/>
                                              </p:val>
                                            </p:tav>
                                            <p:tav tm="50000">
                                              <p:val>
                                                <p:strVal val="#ppt_w+.01"/>
                                              </p:val>
                                            </p:tav>
                                            <p:tav tm="100000">
                                              <p:val>
                                                <p:strVal val="#ppt_w"/>
                                              </p:val>
                                            </p:tav>
                                          </p:tavLst>
                                        </p:anim>
                                        <p:animEffect transition="in" filter="fade">
                                          <p:cBhvr>
                                            <p:cTn id="66" dur="250" tmFilter="0,0; .5, 1; 1, 1"/>
                                            <p:tgtEl>
                                              <p:spTgt spid="15"/>
                                            </p:tgtEl>
                                          </p:cBhvr>
                                        </p:animEffect>
                                      </p:childTnLst>
                                    </p:cTn>
                                  </p:par>
                                </p:childTnLst>
                              </p:cTn>
                            </p:par>
                            <p:par>
                              <p:cTn id="67" fill="hold">
                                <p:stCondLst>
                                  <p:cond delay="8825"/>
                                </p:stCondLst>
                                <p:childTnLst>
                                  <p:par>
                                    <p:cTn id="68" presetID="26" presetClass="emph" presetSubtype="0" fill="hold" grpId="1" nodeType="afterEffect">
                                      <p:stCondLst>
                                        <p:cond delay="0"/>
                                      </p:stCondLst>
                                      <p:childTnLst>
                                        <p:animEffect transition="out" filter="fade">
                                          <p:cBhvr>
                                            <p:cTn id="69" dur="500" tmFilter="0, 0; .2, .5; .8, .5; 1, 0"/>
                                            <p:tgtEl>
                                              <p:spTgt spid="7"/>
                                            </p:tgtEl>
                                          </p:cBhvr>
                                        </p:animEffect>
                                        <p:animScale>
                                          <p:cBhvr>
                                            <p:cTn id="70" dur="250" autoRev="1" fill="hold"/>
                                            <p:tgtEl>
                                              <p:spTgt spid="7"/>
                                            </p:tgtEl>
                                          </p:cBhvr>
                                          <p:by x="105000" y="105000"/>
                                        </p:animScale>
                                      </p:childTnLst>
                                    </p:cTn>
                                  </p:par>
                                </p:childTnLst>
                              </p:cTn>
                            </p:par>
                            <p:par>
                              <p:cTn id="71" fill="hold">
                                <p:stCondLst>
                                  <p:cond delay="9325"/>
                                </p:stCondLst>
                                <p:childTnLst>
                                  <p:par>
                                    <p:cTn id="72" presetID="26" presetClass="emph" presetSubtype="0" fill="hold" grpId="1" nodeType="afterEffect">
                                      <p:stCondLst>
                                        <p:cond delay="0"/>
                                      </p:stCondLst>
                                      <p:childTnLst>
                                        <p:animEffect transition="out" filter="fade">
                                          <p:cBhvr>
                                            <p:cTn id="73" dur="500" tmFilter="0, 0; .2, .5; .8, .5; 1, 0"/>
                                            <p:tgtEl>
                                              <p:spTgt spid="17"/>
                                            </p:tgtEl>
                                          </p:cBhvr>
                                        </p:animEffect>
                                        <p:animScale>
                                          <p:cBhvr>
                                            <p:cTn id="74" dur="250" autoRev="1" fill="hold"/>
                                            <p:tgtEl>
                                              <p:spTgt spid="17"/>
                                            </p:tgtEl>
                                          </p:cBhvr>
                                          <p:by x="105000" y="105000"/>
                                        </p:animScale>
                                      </p:childTnLst>
                                    </p:cTn>
                                  </p:par>
                                </p:childTnLst>
                              </p:cTn>
                            </p:par>
                            <p:par>
                              <p:cTn id="75" fill="hold">
                                <p:stCondLst>
                                  <p:cond delay="9825"/>
                                </p:stCondLst>
                                <p:childTnLst>
                                  <p:par>
                                    <p:cTn id="76" presetID="26" presetClass="emph" presetSubtype="0" fill="hold" grpId="2" nodeType="afterEffect">
                                      <p:stCondLst>
                                        <p:cond delay="0"/>
                                      </p:stCondLst>
                                      <p:childTnLst>
                                        <p:animEffect transition="out" filter="fade">
                                          <p:cBhvr>
                                            <p:cTn id="77" dur="500" tmFilter="0, 0; .2, .5; .8, .5; 1, 0"/>
                                            <p:tgtEl>
                                              <p:spTgt spid="7"/>
                                            </p:tgtEl>
                                          </p:cBhvr>
                                        </p:animEffect>
                                        <p:animScale>
                                          <p:cBhvr>
                                            <p:cTn id="78" dur="250" autoRev="1" fill="hold"/>
                                            <p:tgtEl>
                                              <p:spTgt spid="7"/>
                                            </p:tgtEl>
                                          </p:cBhvr>
                                          <p:by x="105000" y="105000"/>
                                        </p:animScale>
                                      </p:childTnLst>
                                    </p:cTn>
                                  </p:par>
                                </p:childTnLst>
                              </p:cTn>
                            </p:par>
                            <p:par>
                              <p:cTn id="79" fill="hold">
                                <p:stCondLst>
                                  <p:cond delay="10325"/>
                                </p:stCondLst>
                                <p:childTnLst>
                                  <p:par>
                                    <p:cTn id="80" presetID="26" presetClass="emph" presetSubtype="0" fill="hold" grpId="2" nodeType="afterEffect">
                                      <p:stCondLst>
                                        <p:cond delay="0"/>
                                      </p:stCondLst>
                                      <p:childTnLst>
                                        <p:animEffect transition="out" filter="fade">
                                          <p:cBhvr>
                                            <p:cTn id="81" dur="500" tmFilter="0, 0; .2, .5; .8, .5; 1, 0"/>
                                            <p:tgtEl>
                                              <p:spTgt spid="17"/>
                                            </p:tgtEl>
                                          </p:cBhvr>
                                        </p:animEffect>
                                        <p:animScale>
                                          <p:cBhvr>
                                            <p:cTn id="82" dur="250" autoRev="1" fill="hold"/>
                                            <p:tgtEl>
                                              <p:spTgt spid="1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animBg="1"/>
          <p:bldP spid="7" grpId="1" animBg="1"/>
          <p:bldP spid="7" grpId="2" animBg="1"/>
          <p:bldP spid="8" grpId="0" animBg="1"/>
          <p:bldP spid="9" grpId="0" animBg="1"/>
          <p:bldP spid="10" grpId="0" animBg="1"/>
          <p:bldP spid="11" grpId="0" animBg="1"/>
          <p:bldP spid="12" grpId="0" animBg="1"/>
          <p:bldP spid="13" grpId="0" animBg="1"/>
          <p:bldP spid="14" grpId="0" animBg="1"/>
          <p:bldP spid="15" grpId="0"/>
          <p:bldP spid="16" grpId="0" animBg="1"/>
          <p:bldP spid="17" grpId="0" animBg="1"/>
          <p:bldP spid="17" grpId="1" animBg="1"/>
          <p:bldP spid="17" grpId="2" animBg="1"/>
          <p:bldP spid="19" grpId="0"/>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圆角矩形 21"/>
          <p:cNvSpPr/>
          <p:nvPr/>
        </p:nvSpPr>
        <p:spPr>
          <a:xfrm>
            <a:off x="211860" y="442113"/>
            <a:ext cx="131039" cy="4320386"/>
          </a:xfrm>
          <a:prstGeom prst="roundRect">
            <a:avLst>
              <a:gd name="adj" fmla="val 50000"/>
            </a:avLst>
          </a:prstGeom>
          <a:gradFill flip="none" rotWithShape="1">
            <a:gsLst>
              <a:gs pos="100000">
                <a:srgbClr val="878787"/>
              </a:gs>
              <a:gs pos="0">
                <a:sysClr val="window" lastClr="FFFFFF">
                  <a:lumMod val="85000"/>
                  <a:shade val="30000"/>
                  <a:satMod val="115000"/>
                </a:sysClr>
              </a:gs>
              <a:gs pos="45000">
                <a:sysClr val="window" lastClr="FFFFFF">
                  <a:lumMod val="85000"/>
                  <a:shade val="67500"/>
                  <a:satMod val="115000"/>
                </a:sysClr>
              </a:gs>
              <a:gs pos="62000">
                <a:sysClr val="window" lastClr="FFFFFF">
                  <a:lumMod val="85000"/>
                  <a:shade val="100000"/>
                  <a:satMod val="115000"/>
                </a:sysClr>
              </a:gs>
            </a:gsLst>
            <a:lin ang="10800000" scaled="1"/>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矩形 24"/>
          <p:cNvSpPr/>
          <p:nvPr/>
        </p:nvSpPr>
        <p:spPr>
          <a:xfrm>
            <a:off x="0" y="4762499"/>
            <a:ext cx="9144000" cy="381719"/>
          </a:xfrm>
          <a:prstGeom prst="rect">
            <a:avLst/>
          </a:prstGeom>
          <a:gradFill flip="none" rotWithShape="1">
            <a:gsLst>
              <a:gs pos="48320">
                <a:srgbClr val="E6C29A"/>
              </a:gs>
              <a:gs pos="100000">
                <a:srgbClr val="8C6233"/>
              </a:gs>
              <a:gs pos="0">
                <a:srgbClr val="DEA464">
                  <a:shade val="30000"/>
                  <a:satMod val="115000"/>
                </a:srgbClr>
              </a:gs>
              <a:gs pos="8000">
                <a:srgbClr val="DEA464">
                  <a:shade val="67500"/>
                  <a:satMod val="115000"/>
                </a:srgbClr>
              </a:gs>
              <a:gs pos="92000">
                <a:srgbClr val="DEA464">
                  <a:shade val="100000"/>
                  <a:satMod val="115000"/>
                </a:srgbClr>
              </a:gs>
            </a:gsLst>
            <a:lin ang="0" scaled="1"/>
            <a:tileRect/>
          </a:gradFill>
          <a:ln w="25400" cap="flat" cmpd="sng" algn="ctr">
            <a:noFill/>
            <a:prstDash val="solid"/>
          </a:ln>
          <a:effectLst>
            <a:outerShdw blurRad="50800" dist="38100" dir="16200000"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圆角矩形 26"/>
          <p:cNvSpPr/>
          <p:nvPr/>
        </p:nvSpPr>
        <p:spPr>
          <a:xfrm>
            <a:off x="156915" y="9652"/>
            <a:ext cx="2251952" cy="432460"/>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圆角矩形 27"/>
          <p:cNvSpPr/>
          <p:nvPr/>
        </p:nvSpPr>
        <p:spPr>
          <a:xfrm>
            <a:off x="6899397" y="32290"/>
            <a:ext cx="2112808" cy="420430"/>
          </a:xfrm>
          <a:prstGeom prst="roundRect">
            <a:avLst/>
          </a:prstGeom>
          <a:gradFill flip="none" rotWithShape="1">
            <a:gsLst>
              <a:gs pos="100000">
                <a:srgbClr val="963F00"/>
              </a:gs>
              <a:gs pos="0">
                <a:srgbClr val="F79646">
                  <a:lumMod val="75000"/>
                  <a:shade val="30000"/>
                  <a:satMod val="115000"/>
                </a:srgbClr>
              </a:gs>
              <a:gs pos="6000">
                <a:srgbClr val="F79646">
                  <a:lumMod val="75000"/>
                  <a:shade val="67500"/>
                  <a:satMod val="115000"/>
                </a:srgbClr>
              </a:gs>
              <a:gs pos="89000">
                <a:srgbClr val="F79646">
                  <a:lumMod val="75000"/>
                  <a:shade val="100000"/>
                  <a:satMod val="115000"/>
                </a:srgbClr>
              </a:gs>
            </a:gsLst>
            <a:lin ang="10800000" scaled="1"/>
            <a:tileRect/>
          </a:gra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TextBox 28"/>
          <p:cNvSpPr txBox="1"/>
          <p:nvPr/>
        </p:nvSpPr>
        <p:spPr>
          <a:xfrm>
            <a:off x="7327801" y="114165"/>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激励机制</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35" name="TextBox 34"/>
          <p:cNvSpPr txBox="1"/>
          <p:nvPr/>
        </p:nvSpPr>
        <p:spPr>
          <a:xfrm>
            <a:off x="1781600" y="4667250"/>
            <a:ext cx="5318720" cy="492443"/>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itchFamily="34" charset="0"/>
                <a:ea typeface="微软雅黑" pitchFamily="34" charset="-122"/>
                <a:cs typeface="Calibri" pitchFamily="34" charset="0"/>
              </a:defRPr>
            </a:lvl1p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ysClr val="windowText" lastClr="000000">
                    <a:lumMod val="75000"/>
                    <a:lumOff val="25000"/>
                  </a:sysClr>
                </a:solidFill>
                <a:effectLst>
                  <a:outerShdw dist="38100" dir="5400000" algn="t" rotWithShape="0">
                    <a:sysClr val="window" lastClr="FFFFFF">
                      <a:alpha val="48000"/>
                    </a:sysClr>
                  </a:outerShdw>
                </a:effectLst>
                <a:uLnTx/>
                <a:uFillTx/>
                <a:latin typeface="Agency FB" pitchFamily="34" charset="0"/>
                <a:ea typeface="微软雅黑" pitchFamily="34" charset="-122"/>
                <a:cs typeface="Calibri" pitchFamily="34" charset="0"/>
              </a:rPr>
              <a:t>科研财务助理制度</a:t>
            </a:r>
            <a:endParaRPr kumimoji="0" lang="zh-CN" altLang="en-US" sz="2000" b="1" i="0" u="none" strike="noStrike" kern="0" cap="none" spc="0" normalizeH="0" baseline="0" noProof="0" dirty="0">
              <a:ln>
                <a:noFill/>
              </a:ln>
              <a:solidFill>
                <a:sysClr val="windowText" lastClr="000000">
                  <a:lumMod val="75000"/>
                  <a:lumOff val="25000"/>
                </a:sysClr>
              </a:solidFill>
              <a:effectLst>
                <a:outerShdw dist="38100" dir="5400000" algn="t" rotWithShape="0">
                  <a:sysClr val="window" lastClr="FFFFFF">
                    <a:alpha val="48000"/>
                  </a:sysClr>
                </a:outerShdw>
              </a:effectLst>
              <a:uLnTx/>
              <a:uFillTx/>
              <a:latin typeface="Agency FB" pitchFamily="34" charset="0"/>
              <a:ea typeface="微软雅黑" pitchFamily="34" charset="-122"/>
              <a:cs typeface="Calibri" pitchFamily="34" charset="0"/>
            </a:endParaRPr>
          </a:p>
        </p:txBody>
      </p:sp>
      <p:sp>
        <p:nvSpPr>
          <p:cNvPr id="36" name="圆角矩形 35"/>
          <p:cNvSpPr/>
          <p:nvPr/>
        </p:nvSpPr>
        <p:spPr>
          <a:xfrm>
            <a:off x="2408867" y="20006"/>
            <a:ext cx="2251952" cy="420431"/>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圆角矩形 36"/>
          <p:cNvSpPr/>
          <p:nvPr/>
        </p:nvSpPr>
        <p:spPr>
          <a:xfrm>
            <a:off x="4647445" y="28575"/>
            <a:ext cx="2251952" cy="423063"/>
          </a:xfrm>
          <a:prstGeom prst="roundRect">
            <a:avLst/>
          </a:prstGeom>
          <a:solidFill>
            <a:schemeClr val="bg2"/>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TextBox 37"/>
          <p:cNvSpPr txBox="1"/>
          <p:nvPr/>
        </p:nvSpPr>
        <p:spPr>
          <a:xfrm>
            <a:off x="606293" y="103558"/>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设置要求</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39" name="TextBox 38"/>
          <p:cNvSpPr txBox="1"/>
          <p:nvPr/>
        </p:nvSpPr>
        <p:spPr>
          <a:xfrm>
            <a:off x="2858245" y="86986"/>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经费保障</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40" name="TextBox 39"/>
          <p:cNvSpPr txBox="1"/>
          <p:nvPr/>
        </p:nvSpPr>
        <p:spPr>
          <a:xfrm>
            <a:off x="5096823" y="96206"/>
            <a:ext cx="1353195" cy="33855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effectLst>
                  <a:outerShdw blurRad="50800" dist="38100" dir="5400000" algn="t" rotWithShape="0">
                    <a:prstClr val="black">
                      <a:alpha val="40000"/>
                    </a:prstClr>
                  </a:outerShdw>
                </a:effectLst>
                <a:uLnTx/>
                <a:uFillTx/>
                <a:latin typeface="Agency FB" pitchFamily="34" charset="0"/>
                <a:ea typeface="微软雅黑" pitchFamily="34" charset="-122"/>
              </a:rPr>
              <a:t>职责要求</a:t>
            </a:r>
            <a:endParaRPr kumimoji="0" lang="zh-CN" altLang="en-US" sz="2000" b="1" i="0" u="none" strike="noStrike" kern="0" cap="none" spc="0" normalizeH="0" baseline="0" noProof="0" dirty="0">
              <a:ln>
                <a:noFill/>
              </a:ln>
              <a:effectLst>
                <a:outerShdw blurRad="50800" dist="38100" dir="5400000" algn="t" rotWithShape="0">
                  <a:prstClr val="black">
                    <a:alpha val="40000"/>
                  </a:prstClr>
                </a:outerShdw>
              </a:effectLst>
              <a:uLnTx/>
              <a:uFillTx/>
              <a:latin typeface="Agency FB" pitchFamily="34" charset="0"/>
              <a:ea typeface="微软雅黑" pitchFamily="34" charset="-122"/>
            </a:endParaRPr>
          </a:p>
        </p:txBody>
      </p:sp>
      <p:sp>
        <p:nvSpPr>
          <p:cNvPr id="2" name="TextBox 1"/>
          <p:cNvSpPr txBox="1"/>
          <p:nvPr/>
        </p:nvSpPr>
        <p:spPr>
          <a:xfrm>
            <a:off x="617275" y="998020"/>
            <a:ext cx="7909450" cy="1264192"/>
          </a:xfrm>
          <a:prstGeom prst="rect">
            <a:avLst/>
          </a:prstGeom>
          <a:noFill/>
        </p:spPr>
        <p:txBody>
          <a:bodyPr wrap="square" rtlCol="0">
            <a:spAutoFit/>
          </a:bodyPr>
          <a:lstStyle/>
          <a:p>
            <a:pPr marL="457200" indent="-457200" fontAlgn="auto">
              <a:lnSpc>
                <a:spcPct val="200000"/>
              </a:lnSpc>
              <a:spcBef>
                <a:spcPts val="0"/>
              </a:spcBef>
              <a:spcAft>
                <a:spcPts val="0"/>
              </a:spcAft>
              <a:buClr>
                <a:srgbClr val="ECFE02"/>
              </a:buClr>
              <a:buFont typeface="Wingdings" pitchFamily="2" charset="2"/>
              <a:buChar char="l"/>
              <a:defRPr/>
            </a:pPr>
            <a:r>
              <a:rPr lang="zh-CN" altLang="zh-CN" b="1" dirty="0">
                <a:ln w="3175">
                  <a:solidFill>
                    <a:schemeClr val="tx1"/>
                  </a:solidFill>
                </a:ln>
                <a:latin typeface="方正风雅宋简体" pitchFamily="2" charset="-122"/>
                <a:ea typeface="方正风雅宋简体" pitchFamily="2" charset="-122"/>
              </a:rPr>
              <a:t>所设立科研财务助理</a:t>
            </a:r>
            <a:r>
              <a:rPr lang="zh-CN" altLang="zh-CN" b="1" u="sng" dirty="0">
                <a:ln w="3175">
                  <a:solidFill>
                    <a:schemeClr val="tx1"/>
                  </a:solidFill>
                </a:ln>
                <a:latin typeface="方正风雅宋简体" pitchFamily="2" charset="-122"/>
                <a:ea typeface="方正风雅宋简体" pitchFamily="2" charset="-122"/>
              </a:rPr>
              <a:t>岗位津贴</a:t>
            </a:r>
            <a:r>
              <a:rPr lang="zh-CN" altLang="zh-CN" b="1" dirty="0">
                <a:ln w="3175">
                  <a:solidFill>
                    <a:schemeClr val="tx1"/>
                  </a:solidFill>
                </a:ln>
                <a:latin typeface="方正风雅宋简体" pitchFamily="2" charset="-122"/>
                <a:ea typeface="方正风雅宋简体" pitchFamily="2" charset="-122"/>
              </a:rPr>
              <a:t>和队伍建设</a:t>
            </a:r>
            <a:r>
              <a:rPr lang="zh-CN" altLang="zh-CN" b="1" u="sng" dirty="0">
                <a:ln w="3175">
                  <a:solidFill>
                    <a:schemeClr val="tx1"/>
                  </a:solidFill>
                </a:ln>
                <a:latin typeface="方正风雅宋简体" pitchFamily="2" charset="-122"/>
                <a:ea typeface="方正风雅宋简体" pitchFamily="2" charset="-122"/>
              </a:rPr>
              <a:t>专项奖励资金</a:t>
            </a:r>
            <a:r>
              <a:rPr lang="zh-CN" altLang="zh-CN" b="1" dirty="0">
                <a:ln w="3175">
                  <a:solidFill>
                    <a:schemeClr val="tx1"/>
                  </a:solidFill>
                </a:ln>
                <a:latin typeface="方正风雅宋简体" pitchFamily="2" charset="-122"/>
                <a:ea typeface="方正风雅宋简体" pitchFamily="2" charset="-122"/>
              </a:rPr>
              <a:t>，对业务优秀的科研财务助理人员进行奖励，年度奖励金额和名单由资产财务处会同科研管理处、人力资源处提出，报所务会审议通过后执行</a:t>
            </a:r>
            <a:endParaRPr lang="en-US" altLang="zh-CN" b="1" dirty="0">
              <a:ln w="3175">
                <a:solidFill>
                  <a:schemeClr val="tx1"/>
                </a:solidFill>
              </a:ln>
              <a:latin typeface="方正风雅宋简体" pitchFamily="2" charset="-122"/>
              <a:ea typeface="方正风雅宋简体" pitchFamily="2" charset="-122"/>
            </a:endParaRPr>
          </a:p>
        </p:txBody>
      </p:sp>
    </p:spTree>
    <p:extLst>
      <p:ext uri="{BB962C8B-B14F-4D97-AF65-F5344CB8AC3E}">
        <p14:creationId xmlns:p14="http://schemas.microsoft.com/office/powerpoint/2010/main" val="410330590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p:stCondLst>
                                    <p:cond delay="0"/>
                                  </p:stCondLst>
                                  <p:childTnLst>
                                    <p:animScale>
                                      <p:cBhvr>
                                        <p:cTn id="6" dur="2000" fill="hold"/>
                                        <p:tgtEl>
                                          <p:spTgt spid="29"/>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e84e8dc862de54724eab335d209fe66cbf842096"/>
  <p:tag name="ISPRING_PRESENTATION_TITLE" val="sw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897</TotalTime>
  <Words>8912</Words>
  <Application>Microsoft Office PowerPoint</Application>
  <PresentationFormat>全屏显示(16:9)</PresentationFormat>
  <Paragraphs>1308</Paragraphs>
  <Slides>80</Slides>
  <Notes>50</Notes>
  <HiddenSlides>0</HiddenSlides>
  <MMClips>0</MMClips>
  <ScaleCrop>false</ScaleCrop>
  <HeadingPairs>
    <vt:vector size="4" baseType="variant">
      <vt:variant>
        <vt:lpstr>主题</vt:lpstr>
      </vt:variant>
      <vt:variant>
        <vt:i4>1</vt:i4>
      </vt:variant>
      <vt:variant>
        <vt:lpstr>幻灯片标题</vt:lpstr>
      </vt:variant>
      <vt:variant>
        <vt:i4>80</vt:i4>
      </vt:variant>
    </vt:vector>
  </HeadingPairs>
  <TitlesOfParts>
    <vt:vector size="81" baseType="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P R 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wf</dc:title>
  <dc:creator>China</dc:creator>
  <cp:lastModifiedBy>Administrator</cp:lastModifiedBy>
  <cp:revision>210</cp:revision>
  <dcterms:created xsi:type="dcterms:W3CDTF">2017-03-27T12:11:26Z</dcterms:created>
  <dcterms:modified xsi:type="dcterms:W3CDTF">2017-11-21T08:52:04Z</dcterms:modified>
</cp:coreProperties>
</file>